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4">
  <p:sldMasterIdLst>
    <p:sldMasterId id="2147483704" r:id="rId1"/>
    <p:sldMasterId id="2147483814" r:id="rId2"/>
    <p:sldMasterId id="2147483827" r:id="rId3"/>
  </p:sldMasterIdLst>
  <p:notesMasterIdLst>
    <p:notesMasterId r:id="rId20"/>
  </p:notesMasterIdLst>
  <p:sldIdLst>
    <p:sldId id="259" r:id="rId4"/>
    <p:sldId id="2147473596" r:id="rId5"/>
    <p:sldId id="263" r:id="rId6"/>
    <p:sldId id="2147473587" r:id="rId7"/>
    <p:sldId id="2147473591" r:id="rId8"/>
    <p:sldId id="2147473588" r:id="rId9"/>
    <p:sldId id="2147473589" r:id="rId10"/>
    <p:sldId id="2147473590" r:id="rId11"/>
    <p:sldId id="2147473592" r:id="rId12"/>
    <p:sldId id="2147473594" r:id="rId13"/>
    <p:sldId id="2147473593" r:id="rId14"/>
    <p:sldId id="3430" r:id="rId15"/>
    <p:sldId id="362" r:id="rId16"/>
    <p:sldId id="2147473575" r:id="rId17"/>
    <p:sldId id="2147473595" r:id="rId18"/>
    <p:sldId id="270"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75D2142-A40A-C382-DD32-CD53D1B00E23}" name="Julia Matevosyan" initials="JM" userId="35275da4e72cfe02" providerId="Windows Liv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5A35"/>
    <a:srgbClr val="F25F39"/>
    <a:srgbClr val="F36F4D"/>
    <a:srgbClr val="FF6600"/>
    <a:srgbClr val="1B8ACB"/>
    <a:srgbClr val="F15934"/>
    <a:srgbClr val="595959"/>
    <a:srgbClr val="4297CB"/>
    <a:srgbClr val="204C82"/>
    <a:srgbClr val="E4E5E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82741BC-C871-4990-8327-0F6BB36AC83A}" v="60" dt="2025-06-19T19:43:41.36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725" autoAdjust="0"/>
    <p:restoredTop sz="68803" autoAdjust="0"/>
  </p:normalViewPr>
  <p:slideViewPr>
    <p:cSldViewPr snapToGrid="0" snapToObjects="1">
      <p:cViewPr varScale="1">
        <p:scale>
          <a:sx n="97" d="100"/>
          <a:sy n="97" d="100"/>
        </p:scale>
        <p:origin x="2700" y="30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microsoft.com/office/2015/10/relationships/revisionInfo" Target="revisionInfo.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microsoft.com/office/2016/11/relationships/changesInfo" Target="changesInfos/changesInfo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viewProps" Target="viewProps.xml"/><Relationship Id="rId27"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ulia Matevosyan" userId="35275da4e72cfe02" providerId="LiveId" clId="{482741BC-C871-4990-8327-0F6BB36AC83A}"/>
    <pc:docChg chg="undo redo custSel addSld delSld modSld">
      <pc:chgData name="Julia Matevosyan" userId="35275da4e72cfe02" providerId="LiveId" clId="{482741BC-C871-4990-8327-0F6BB36AC83A}" dt="2025-06-19T19:49:58.934" v="4947" actId="14100"/>
      <pc:docMkLst>
        <pc:docMk/>
      </pc:docMkLst>
      <pc:sldChg chg="modSp mod">
        <pc:chgData name="Julia Matevosyan" userId="35275da4e72cfe02" providerId="LiveId" clId="{482741BC-C871-4990-8327-0F6BB36AC83A}" dt="2025-06-19T19:45:05.427" v="4920" actId="20577"/>
        <pc:sldMkLst>
          <pc:docMk/>
          <pc:sldMk cId="1090285184" sldId="259"/>
        </pc:sldMkLst>
        <pc:spChg chg="mod">
          <ac:chgData name="Julia Matevosyan" userId="35275da4e72cfe02" providerId="LiveId" clId="{482741BC-C871-4990-8327-0F6BB36AC83A}" dt="2025-06-19T00:16:48.561" v="1619" actId="5793"/>
          <ac:spMkLst>
            <pc:docMk/>
            <pc:sldMk cId="1090285184" sldId="259"/>
            <ac:spMk id="2" creationId="{16518127-824C-414A-AD4E-4AB486C046E1}"/>
          </ac:spMkLst>
        </pc:spChg>
        <pc:spChg chg="mod">
          <ac:chgData name="Julia Matevosyan" userId="35275da4e72cfe02" providerId="LiveId" clId="{482741BC-C871-4990-8327-0F6BB36AC83A}" dt="2025-06-19T19:45:05.427" v="4920" actId="20577"/>
          <ac:spMkLst>
            <pc:docMk/>
            <pc:sldMk cId="1090285184" sldId="259"/>
            <ac:spMk id="4" creationId="{C0409F88-523A-4B84-ACFF-C7E2DC74CF3D}"/>
          </ac:spMkLst>
        </pc:spChg>
      </pc:sldChg>
      <pc:sldChg chg="modSp add mod">
        <pc:chgData name="Julia Matevosyan" userId="35275da4e72cfe02" providerId="LiveId" clId="{482741BC-C871-4990-8327-0F6BB36AC83A}" dt="2025-06-19T19:45:28.095" v="4921" actId="113"/>
        <pc:sldMkLst>
          <pc:docMk/>
          <pc:sldMk cId="0" sldId="263"/>
        </pc:sldMkLst>
        <pc:spChg chg="mod">
          <ac:chgData name="Julia Matevosyan" userId="35275da4e72cfe02" providerId="LiveId" clId="{482741BC-C871-4990-8327-0F6BB36AC83A}" dt="2025-06-19T19:45:28.095" v="4921" actId="113"/>
          <ac:spMkLst>
            <pc:docMk/>
            <pc:sldMk cId="0" sldId="263"/>
            <ac:spMk id="261" creationId="{00000000-0000-0000-0000-000000000000}"/>
          </ac:spMkLst>
        </pc:spChg>
        <pc:picChg chg="mod">
          <ac:chgData name="Julia Matevosyan" userId="35275da4e72cfe02" providerId="LiveId" clId="{482741BC-C871-4990-8327-0F6BB36AC83A}" dt="2025-06-19T00:02:53.713" v="1351" actId="1076"/>
          <ac:picMkLst>
            <pc:docMk/>
            <pc:sldMk cId="0" sldId="263"/>
            <ac:picMk id="4" creationId="{6E430F11-1957-4793-3049-BE23B5956BF7}"/>
          </ac:picMkLst>
        </pc:picChg>
      </pc:sldChg>
      <pc:sldChg chg="modSp add del mod">
        <pc:chgData name="Julia Matevosyan" userId="35275da4e72cfe02" providerId="LiveId" clId="{482741BC-C871-4990-8327-0F6BB36AC83A}" dt="2025-06-19T19:41:00.959" v="4881" actId="47"/>
        <pc:sldMkLst>
          <pc:docMk/>
          <pc:sldMk cId="3279804656" sldId="290"/>
        </pc:sldMkLst>
        <pc:spChg chg="mod">
          <ac:chgData name="Julia Matevosyan" userId="35275da4e72cfe02" providerId="LiveId" clId="{482741BC-C871-4990-8327-0F6BB36AC83A}" dt="2025-06-18T23:32:27.242" v="139"/>
          <ac:spMkLst>
            <pc:docMk/>
            <pc:sldMk cId="3279804656" sldId="290"/>
            <ac:spMk id="512" creationId="{05BF9060-E136-A943-8EFA-B04BF746FDD3}"/>
          </ac:spMkLst>
        </pc:spChg>
        <pc:spChg chg="mod">
          <ac:chgData name="Julia Matevosyan" userId="35275da4e72cfe02" providerId="LiveId" clId="{482741BC-C871-4990-8327-0F6BB36AC83A}" dt="2025-06-19T19:36:33.461" v="4824" actId="948"/>
          <ac:spMkLst>
            <pc:docMk/>
            <pc:sldMk cId="3279804656" sldId="290"/>
            <ac:spMk id="513" creationId="{1C9E8479-1D5D-E37C-9FE3-7DED64091270}"/>
          </ac:spMkLst>
        </pc:spChg>
      </pc:sldChg>
      <pc:sldChg chg="add">
        <pc:chgData name="Julia Matevosyan" userId="35275da4e72cfe02" providerId="LiveId" clId="{482741BC-C871-4990-8327-0F6BB36AC83A}" dt="2025-06-19T14:03:36.244" v="2088"/>
        <pc:sldMkLst>
          <pc:docMk/>
          <pc:sldMk cId="3874815762" sldId="362"/>
        </pc:sldMkLst>
      </pc:sldChg>
      <pc:sldChg chg="add">
        <pc:chgData name="Julia Matevosyan" userId="35275da4e72cfe02" providerId="LiveId" clId="{482741BC-C871-4990-8327-0F6BB36AC83A}" dt="2025-06-19T18:52:49.888" v="4347"/>
        <pc:sldMkLst>
          <pc:docMk/>
          <pc:sldMk cId="1321612127" sldId="3430"/>
        </pc:sldMkLst>
      </pc:sldChg>
      <pc:sldChg chg="del">
        <pc:chgData name="Julia Matevosyan" userId="35275da4e72cfe02" providerId="LiveId" clId="{482741BC-C871-4990-8327-0F6BB36AC83A}" dt="2025-06-19T00:28:17.971" v="1845" actId="47"/>
        <pc:sldMkLst>
          <pc:docMk/>
          <pc:sldMk cId="2534588961" sldId="2147473574"/>
        </pc:sldMkLst>
      </pc:sldChg>
      <pc:sldChg chg="addSp delSp modSp add del mod">
        <pc:chgData name="Julia Matevosyan" userId="35275da4e72cfe02" providerId="LiveId" clId="{482741BC-C871-4990-8327-0F6BB36AC83A}" dt="2025-06-19T19:47:49.083" v="4937" actId="179"/>
        <pc:sldMkLst>
          <pc:docMk/>
          <pc:sldMk cId="1701047770" sldId="2147473575"/>
        </pc:sldMkLst>
        <pc:spChg chg="mod">
          <ac:chgData name="Julia Matevosyan" userId="35275da4e72cfe02" providerId="LiveId" clId="{482741BC-C871-4990-8327-0F6BB36AC83A}" dt="2025-06-19T18:55:01.342" v="4374" actId="6549"/>
          <ac:spMkLst>
            <pc:docMk/>
            <pc:sldMk cId="1701047770" sldId="2147473575"/>
            <ac:spMk id="2" creationId="{487D9240-8F04-87A1-21C6-D9B752A909C8}"/>
          </ac:spMkLst>
        </pc:spChg>
        <pc:spChg chg="mod">
          <ac:chgData name="Julia Matevosyan" userId="35275da4e72cfe02" providerId="LiveId" clId="{482741BC-C871-4990-8327-0F6BB36AC83A}" dt="2025-06-19T19:47:49.083" v="4937" actId="179"/>
          <ac:spMkLst>
            <pc:docMk/>
            <pc:sldMk cId="1701047770" sldId="2147473575"/>
            <ac:spMk id="3" creationId="{66DADAE8-B366-FA79-3BC1-F72AD84F3D73}"/>
          </ac:spMkLst>
        </pc:spChg>
        <pc:spChg chg="mod">
          <ac:chgData name="Julia Matevosyan" userId="35275da4e72cfe02" providerId="LiveId" clId="{482741BC-C871-4990-8327-0F6BB36AC83A}" dt="2025-06-19T18:54:53.725" v="4373" actId="20577"/>
          <ac:spMkLst>
            <pc:docMk/>
            <pc:sldMk cId="1701047770" sldId="2147473575"/>
            <ac:spMk id="5" creationId="{07F5AA4D-420F-D21F-2874-BE57D90812D6}"/>
          </ac:spMkLst>
        </pc:spChg>
        <pc:spChg chg="add del mod">
          <ac:chgData name="Julia Matevosyan" userId="35275da4e72cfe02" providerId="LiveId" clId="{482741BC-C871-4990-8327-0F6BB36AC83A}" dt="2025-06-19T18:54:37.809" v="4368" actId="478"/>
          <ac:spMkLst>
            <pc:docMk/>
            <pc:sldMk cId="1701047770" sldId="2147473575"/>
            <ac:spMk id="7" creationId="{8285FD4F-04F6-5F80-83BC-08643A88F6D3}"/>
          </ac:spMkLst>
        </pc:spChg>
        <pc:spChg chg="add del mod">
          <ac:chgData name="Julia Matevosyan" userId="35275da4e72cfe02" providerId="LiveId" clId="{482741BC-C871-4990-8327-0F6BB36AC83A}" dt="2025-06-19T19:10:31.075" v="4642" actId="478"/>
          <ac:spMkLst>
            <pc:docMk/>
            <pc:sldMk cId="1701047770" sldId="2147473575"/>
            <ac:spMk id="8" creationId="{BC9D0072-6509-9879-2639-85133A3BF375}"/>
          </ac:spMkLst>
        </pc:spChg>
        <pc:spChg chg="add del">
          <ac:chgData name="Julia Matevosyan" userId="35275da4e72cfe02" providerId="LiveId" clId="{482741BC-C871-4990-8327-0F6BB36AC83A}" dt="2025-06-19T19:14:39.865" v="4667" actId="22"/>
          <ac:spMkLst>
            <pc:docMk/>
            <pc:sldMk cId="1701047770" sldId="2147473575"/>
            <ac:spMk id="10" creationId="{62C31717-ADAF-23D3-48F0-7BCE458552AA}"/>
          </ac:spMkLst>
        </pc:spChg>
        <pc:picChg chg="add del">
          <ac:chgData name="Julia Matevosyan" userId="35275da4e72cfe02" providerId="LiveId" clId="{482741BC-C871-4990-8327-0F6BB36AC83A}" dt="2025-06-19T19:15:37.300" v="4671" actId="478"/>
          <ac:picMkLst>
            <pc:docMk/>
            <pc:sldMk cId="1701047770" sldId="2147473575"/>
            <ac:picMk id="12" creationId="{72C249F8-BA56-F6B4-C058-A606804442ED}"/>
          </ac:picMkLst>
        </pc:picChg>
        <pc:picChg chg="add mod">
          <ac:chgData name="Julia Matevosyan" userId="35275da4e72cfe02" providerId="LiveId" clId="{482741BC-C871-4990-8327-0F6BB36AC83A}" dt="2025-06-19T19:16:07.401" v="4680" actId="692"/>
          <ac:picMkLst>
            <pc:docMk/>
            <pc:sldMk cId="1701047770" sldId="2147473575"/>
            <ac:picMk id="14" creationId="{3EA775ED-9F4C-9B9D-B574-9E974660FAE3}"/>
          </ac:picMkLst>
        </pc:picChg>
      </pc:sldChg>
      <pc:sldChg chg="del">
        <pc:chgData name="Julia Matevosyan" userId="35275da4e72cfe02" providerId="LiveId" clId="{482741BC-C871-4990-8327-0F6BB36AC83A}" dt="2025-06-19T00:28:19.549" v="1846" actId="47"/>
        <pc:sldMkLst>
          <pc:docMk/>
          <pc:sldMk cId="2979438853" sldId="2147473577"/>
        </pc:sldMkLst>
      </pc:sldChg>
      <pc:sldChg chg="del">
        <pc:chgData name="Julia Matevosyan" userId="35275da4e72cfe02" providerId="LiveId" clId="{482741BC-C871-4990-8327-0F6BB36AC83A}" dt="2025-06-19T00:28:20.319" v="1847" actId="47"/>
        <pc:sldMkLst>
          <pc:docMk/>
          <pc:sldMk cId="1884415716" sldId="2147473578"/>
        </pc:sldMkLst>
      </pc:sldChg>
      <pc:sldChg chg="del">
        <pc:chgData name="Julia Matevosyan" userId="35275da4e72cfe02" providerId="LiveId" clId="{482741BC-C871-4990-8327-0F6BB36AC83A}" dt="2025-06-19T00:28:16.317" v="1844" actId="47"/>
        <pc:sldMkLst>
          <pc:docMk/>
          <pc:sldMk cId="811526378" sldId="2147473579"/>
        </pc:sldMkLst>
      </pc:sldChg>
      <pc:sldChg chg="del">
        <pc:chgData name="Julia Matevosyan" userId="35275da4e72cfe02" providerId="LiveId" clId="{482741BC-C871-4990-8327-0F6BB36AC83A}" dt="2025-06-19T00:28:21.152" v="1848" actId="47"/>
        <pc:sldMkLst>
          <pc:docMk/>
          <pc:sldMk cId="1273573925" sldId="2147473580"/>
        </pc:sldMkLst>
      </pc:sldChg>
      <pc:sldChg chg="del">
        <pc:chgData name="Julia Matevosyan" userId="35275da4e72cfe02" providerId="LiveId" clId="{482741BC-C871-4990-8327-0F6BB36AC83A}" dt="2025-06-19T19:13:09.199" v="4651" actId="47"/>
        <pc:sldMkLst>
          <pc:docMk/>
          <pc:sldMk cId="961395" sldId="2147473581"/>
        </pc:sldMkLst>
      </pc:sldChg>
      <pc:sldChg chg="del">
        <pc:chgData name="Julia Matevosyan" userId="35275da4e72cfe02" providerId="LiveId" clId="{482741BC-C871-4990-8327-0F6BB36AC83A}" dt="2025-06-19T19:13:10.601" v="4652" actId="47"/>
        <pc:sldMkLst>
          <pc:docMk/>
          <pc:sldMk cId="3036054085" sldId="2147473582"/>
        </pc:sldMkLst>
      </pc:sldChg>
      <pc:sldChg chg="del">
        <pc:chgData name="Julia Matevosyan" userId="35275da4e72cfe02" providerId="LiveId" clId="{482741BC-C871-4990-8327-0F6BB36AC83A}" dt="2025-06-19T19:13:05.335" v="4650" actId="47"/>
        <pc:sldMkLst>
          <pc:docMk/>
          <pc:sldMk cId="132763005" sldId="2147473584"/>
        </pc:sldMkLst>
      </pc:sldChg>
      <pc:sldChg chg="del">
        <pc:chgData name="Julia Matevosyan" userId="35275da4e72cfe02" providerId="LiveId" clId="{482741BC-C871-4990-8327-0F6BB36AC83A}" dt="2025-06-19T19:41:05.942" v="4882" actId="47"/>
        <pc:sldMkLst>
          <pc:docMk/>
          <pc:sldMk cId="590493171" sldId="2147473585"/>
        </pc:sldMkLst>
      </pc:sldChg>
      <pc:sldChg chg="addSp delSp modSp new del mod">
        <pc:chgData name="Julia Matevosyan" userId="35275da4e72cfe02" providerId="LiveId" clId="{482741BC-C871-4990-8327-0F6BB36AC83A}" dt="2025-06-18T23:54:17.942" v="1075" actId="47"/>
        <pc:sldMkLst>
          <pc:docMk/>
          <pc:sldMk cId="4788375" sldId="2147473586"/>
        </pc:sldMkLst>
        <pc:spChg chg="mod">
          <ac:chgData name="Julia Matevosyan" userId="35275da4e72cfe02" providerId="LiveId" clId="{482741BC-C871-4990-8327-0F6BB36AC83A}" dt="2025-06-18T23:04:29.541" v="130" actId="20577"/>
          <ac:spMkLst>
            <pc:docMk/>
            <pc:sldMk cId="4788375" sldId="2147473586"/>
            <ac:spMk id="2" creationId="{6EB9CD9C-B9EA-19D4-6732-2EE322A582BF}"/>
          </ac:spMkLst>
        </pc:spChg>
        <pc:spChg chg="add del">
          <ac:chgData name="Julia Matevosyan" userId="35275da4e72cfe02" providerId="LiveId" clId="{482741BC-C871-4990-8327-0F6BB36AC83A}" dt="2025-06-18T23:30:20.379" v="136" actId="22"/>
          <ac:spMkLst>
            <pc:docMk/>
            <pc:sldMk cId="4788375" sldId="2147473586"/>
            <ac:spMk id="5" creationId="{D41ABE4B-1036-49E6-B259-8F551AC90BBF}"/>
          </ac:spMkLst>
        </pc:spChg>
      </pc:sldChg>
      <pc:sldChg chg="modSp new mod">
        <pc:chgData name="Julia Matevosyan" userId="35275da4e72cfe02" providerId="LiveId" clId="{482741BC-C871-4990-8327-0F6BB36AC83A}" dt="2025-06-19T19:49:20.642" v="4943" actId="948"/>
        <pc:sldMkLst>
          <pc:docMk/>
          <pc:sldMk cId="1370816986" sldId="2147473587"/>
        </pc:sldMkLst>
        <pc:spChg chg="mod">
          <ac:chgData name="Julia Matevosyan" userId="35275da4e72cfe02" providerId="LiveId" clId="{482741BC-C871-4990-8327-0F6BB36AC83A}" dt="2025-06-19T19:45:51.292" v="4932" actId="20577"/>
          <ac:spMkLst>
            <pc:docMk/>
            <pc:sldMk cId="1370816986" sldId="2147473587"/>
            <ac:spMk id="2" creationId="{73EF5E01-4D62-E95F-8101-95139E563AFF}"/>
          </ac:spMkLst>
        </pc:spChg>
        <pc:spChg chg="mod">
          <ac:chgData name="Julia Matevosyan" userId="35275da4e72cfe02" providerId="LiveId" clId="{482741BC-C871-4990-8327-0F6BB36AC83A}" dt="2025-06-19T19:49:20.642" v="4943" actId="948"/>
          <ac:spMkLst>
            <pc:docMk/>
            <pc:sldMk cId="1370816986" sldId="2147473587"/>
            <ac:spMk id="3" creationId="{13F15E5B-F58A-B90F-470A-04F4C9258006}"/>
          </ac:spMkLst>
        </pc:spChg>
      </pc:sldChg>
      <pc:sldChg chg="addSp delSp modSp new mod">
        <pc:chgData name="Julia Matevosyan" userId="35275da4e72cfe02" providerId="LiveId" clId="{482741BC-C871-4990-8327-0F6BB36AC83A}" dt="2025-06-19T19:49:58.934" v="4947" actId="14100"/>
        <pc:sldMkLst>
          <pc:docMk/>
          <pc:sldMk cId="1685774373" sldId="2147473588"/>
        </pc:sldMkLst>
        <pc:spChg chg="mod">
          <ac:chgData name="Julia Matevosyan" userId="35275da4e72cfe02" providerId="LiveId" clId="{482741BC-C871-4990-8327-0F6BB36AC83A}" dt="2025-06-18T23:49:03.883" v="761" actId="20577"/>
          <ac:spMkLst>
            <pc:docMk/>
            <pc:sldMk cId="1685774373" sldId="2147473588"/>
            <ac:spMk id="2" creationId="{70A25923-6BDA-45E6-EA73-2D7B85F922B5}"/>
          </ac:spMkLst>
        </pc:spChg>
        <pc:spChg chg="del">
          <ac:chgData name="Julia Matevosyan" userId="35275da4e72cfe02" providerId="LiveId" clId="{482741BC-C871-4990-8327-0F6BB36AC83A}" dt="2025-06-18T23:47:00" v="697" actId="478"/>
          <ac:spMkLst>
            <pc:docMk/>
            <pc:sldMk cId="1685774373" sldId="2147473588"/>
            <ac:spMk id="3" creationId="{F6A16E1B-E75D-8B13-6F13-AC3F55BB68ED}"/>
          </ac:spMkLst>
        </pc:spChg>
        <pc:spChg chg="add mod">
          <ac:chgData name="Julia Matevosyan" userId="35275da4e72cfe02" providerId="LiveId" clId="{482741BC-C871-4990-8327-0F6BB36AC83A}" dt="2025-06-18T23:50:45.741" v="889" actId="2711"/>
          <ac:spMkLst>
            <pc:docMk/>
            <pc:sldMk cId="1685774373" sldId="2147473588"/>
            <ac:spMk id="7" creationId="{3F4D59BB-AD5E-06E2-B66B-F40B66429DF3}"/>
          </ac:spMkLst>
        </pc:spChg>
        <pc:spChg chg="add mod">
          <ac:chgData name="Julia Matevosyan" userId="35275da4e72cfe02" providerId="LiveId" clId="{482741BC-C871-4990-8327-0F6BB36AC83A}" dt="2025-06-19T19:49:58.934" v="4947" actId="14100"/>
          <ac:spMkLst>
            <pc:docMk/>
            <pc:sldMk cId="1685774373" sldId="2147473588"/>
            <ac:spMk id="9" creationId="{685BDC9C-6C17-7EF8-1CB7-A9A544DFA192}"/>
          </ac:spMkLst>
        </pc:spChg>
        <pc:picChg chg="add mod">
          <ac:chgData name="Julia Matevosyan" userId="35275da4e72cfe02" providerId="LiveId" clId="{482741BC-C871-4990-8327-0F6BB36AC83A}" dt="2025-06-18T23:47:51.252" v="745" actId="1076"/>
          <ac:picMkLst>
            <pc:docMk/>
            <pc:sldMk cId="1685774373" sldId="2147473588"/>
            <ac:picMk id="5" creationId="{5C965442-CDFC-7B69-72F3-040B6771F607}"/>
          </ac:picMkLst>
        </pc:picChg>
      </pc:sldChg>
      <pc:sldChg chg="new del">
        <pc:chgData name="Julia Matevosyan" userId="35275da4e72cfe02" providerId="LiveId" clId="{482741BC-C871-4990-8327-0F6BB36AC83A}" dt="2025-06-18T23:37:15.925" v="347" actId="680"/>
        <pc:sldMkLst>
          <pc:docMk/>
          <pc:sldMk cId="3073830226" sldId="2147473588"/>
        </pc:sldMkLst>
      </pc:sldChg>
      <pc:sldChg chg="modSp new mod modNotesTx">
        <pc:chgData name="Julia Matevosyan" userId="35275da4e72cfe02" providerId="LiveId" clId="{482741BC-C871-4990-8327-0F6BB36AC83A}" dt="2025-06-19T19:30:03.879" v="4735" actId="20577"/>
        <pc:sldMkLst>
          <pc:docMk/>
          <pc:sldMk cId="1211981710" sldId="2147473589"/>
        </pc:sldMkLst>
        <pc:spChg chg="mod">
          <ac:chgData name="Julia Matevosyan" userId="35275da4e72cfe02" providerId="LiveId" clId="{482741BC-C871-4990-8327-0F6BB36AC83A}" dt="2025-06-18T23:55:23.726" v="1142" actId="20577"/>
          <ac:spMkLst>
            <pc:docMk/>
            <pc:sldMk cId="1211981710" sldId="2147473589"/>
            <ac:spMk id="2" creationId="{A8C273DF-0480-6D14-C501-1EDC1433E41C}"/>
          </ac:spMkLst>
        </pc:spChg>
        <pc:spChg chg="mod">
          <ac:chgData name="Julia Matevosyan" userId="35275da4e72cfe02" providerId="LiveId" clId="{482741BC-C871-4990-8327-0F6BB36AC83A}" dt="2025-06-19T19:30:03.879" v="4735" actId="20577"/>
          <ac:spMkLst>
            <pc:docMk/>
            <pc:sldMk cId="1211981710" sldId="2147473589"/>
            <ac:spMk id="3" creationId="{45C54078-C4A0-9D50-A456-4F4567E2B1DA}"/>
          </ac:spMkLst>
        </pc:spChg>
      </pc:sldChg>
      <pc:sldChg chg="modSp new mod modNotesTx">
        <pc:chgData name="Julia Matevosyan" userId="35275da4e72cfe02" providerId="LiveId" clId="{482741BC-C871-4990-8327-0F6BB36AC83A}" dt="2025-06-19T19:29:12.871" v="4731" actId="179"/>
        <pc:sldMkLst>
          <pc:docMk/>
          <pc:sldMk cId="3937778481" sldId="2147473590"/>
        </pc:sldMkLst>
        <pc:spChg chg="mod">
          <ac:chgData name="Julia Matevosyan" userId="35275da4e72cfe02" providerId="LiveId" clId="{482741BC-C871-4990-8327-0F6BB36AC83A}" dt="2025-06-19T00:02:41.512" v="1349"/>
          <ac:spMkLst>
            <pc:docMk/>
            <pc:sldMk cId="3937778481" sldId="2147473590"/>
            <ac:spMk id="2" creationId="{6BDDCAB2-9262-ED61-03BE-2BFBBCD0F293}"/>
          </ac:spMkLst>
        </pc:spChg>
        <pc:spChg chg="mod">
          <ac:chgData name="Julia Matevosyan" userId="35275da4e72cfe02" providerId="LiveId" clId="{482741BC-C871-4990-8327-0F6BB36AC83A}" dt="2025-06-19T19:29:12.871" v="4731" actId="179"/>
          <ac:spMkLst>
            <pc:docMk/>
            <pc:sldMk cId="3937778481" sldId="2147473590"/>
            <ac:spMk id="3" creationId="{7E186DA1-5CA6-2435-BF42-925C6C637E27}"/>
          </ac:spMkLst>
        </pc:spChg>
      </pc:sldChg>
      <pc:sldChg chg="addSp modSp new mod">
        <pc:chgData name="Julia Matevosyan" userId="35275da4e72cfe02" providerId="LiveId" clId="{482741BC-C871-4990-8327-0F6BB36AC83A}" dt="2025-06-19T19:49:43.813" v="4946" actId="1076"/>
        <pc:sldMkLst>
          <pc:docMk/>
          <pc:sldMk cId="1173699901" sldId="2147473591"/>
        </pc:sldMkLst>
        <pc:spChg chg="mod">
          <ac:chgData name="Julia Matevosyan" userId="35275da4e72cfe02" providerId="LiveId" clId="{482741BC-C871-4990-8327-0F6BB36AC83A}" dt="2025-06-19T00:19:18.826" v="1683" actId="20577"/>
          <ac:spMkLst>
            <pc:docMk/>
            <pc:sldMk cId="1173699901" sldId="2147473591"/>
            <ac:spMk id="2" creationId="{F3DDC770-3427-A5EE-E7C8-8F269BFE7FE2}"/>
          </ac:spMkLst>
        </pc:spChg>
        <pc:spChg chg="mod">
          <ac:chgData name="Julia Matevosyan" userId="35275da4e72cfe02" providerId="LiveId" clId="{482741BC-C871-4990-8327-0F6BB36AC83A}" dt="2025-06-19T19:35:30.559" v="4820" actId="20577"/>
          <ac:spMkLst>
            <pc:docMk/>
            <pc:sldMk cId="1173699901" sldId="2147473591"/>
            <ac:spMk id="3" creationId="{44B21226-8A13-8705-D41C-EDF70D636C72}"/>
          </ac:spMkLst>
        </pc:spChg>
        <pc:spChg chg="add mod">
          <ac:chgData name="Julia Matevosyan" userId="35275da4e72cfe02" providerId="LiveId" clId="{482741BC-C871-4990-8327-0F6BB36AC83A}" dt="2025-06-19T19:49:43.813" v="4946" actId="1076"/>
          <ac:spMkLst>
            <pc:docMk/>
            <pc:sldMk cId="1173699901" sldId="2147473591"/>
            <ac:spMk id="5" creationId="{B887D581-B70F-E214-8436-0B3986BAF4B6}"/>
          </ac:spMkLst>
        </pc:spChg>
      </pc:sldChg>
      <pc:sldChg chg="addSp modSp new mod modNotesTx">
        <pc:chgData name="Julia Matevosyan" userId="35275da4e72cfe02" providerId="LiveId" clId="{482741BC-C871-4990-8327-0F6BB36AC83A}" dt="2025-06-19T19:24:23.601" v="4719" actId="14100"/>
        <pc:sldMkLst>
          <pc:docMk/>
          <pc:sldMk cId="1728110306" sldId="2147473592"/>
        </pc:sldMkLst>
        <pc:spChg chg="mod">
          <ac:chgData name="Julia Matevosyan" userId="35275da4e72cfe02" providerId="LiveId" clId="{482741BC-C871-4990-8327-0F6BB36AC83A}" dt="2025-06-19T14:22:32.114" v="2100" actId="20577"/>
          <ac:spMkLst>
            <pc:docMk/>
            <pc:sldMk cId="1728110306" sldId="2147473592"/>
            <ac:spMk id="2" creationId="{6206492B-B4DC-75B5-8123-45C49FA2EF85}"/>
          </ac:spMkLst>
        </pc:spChg>
        <pc:spChg chg="mod">
          <ac:chgData name="Julia Matevosyan" userId="35275da4e72cfe02" providerId="LiveId" clId="{482741BC-C871-4990-8327-0F6BB36AC83A}" dt="2025-06-19T19:24:23.601" v="4719" actId="14100"/>
          <ac:spMkLst>
            <pc:docMk/>
            <pc:sldMk cId="1728110306" sldId="2147473592"/>
            <ac:spMk id="3" creationId="{043F8932-09F7-4A23-34CB-65E5C2C1E27D}"/>
          </ac:spMkLst>
        </pc:spChg>
        <pc:picChg chg="add mod">
          <ac:chgData name="Julia Matevosyan" userId="35275da4e72cfe02" providerId="LiveId" clId="{482741BC-C871-4990-8327-0F6BB36AC83A}" dt="2025-06-19T15:55:38.628" v="3901" actId="14100"/>
          <ac:picMkLst>
            <pc:docMk/>
            <pc:sldMk cId="1728110306" sldId="2147473592"/>
            <ac:picMk id="5" creationId="{3315D479-F89D-809B-41D2-C09B8C80A93A}"/>
          </ac:picMkLst>
        </pc:picChg>
        <pc:picChg chg="add mod ord">
          <ac:chgData name="Julia Matevosyan" userId="35275da4e72cfe02" providerId="LiveId" clId="{482741BC-C871-4990-8327-0F6BB36AC83A}" dt="2025-06-19T15:56:11.554" v="3917"/>
          <ac:picMkLst>
            <pc:docMk/>
            <pc:sldMk cId="1728110306" sldId="2147473592"/>
            <ac:picMk id="7" creationId="{6D660AD1-D735-E616-3BF8-1F0E778FC79C}"/>
          </ac:picMkLst>
        </pc:picChg>
      </pc:sldChg>
      <pc:sldChg chg="addSp modSp new mod">
        <pc:chgData name="Julia Matevosyan" userId="35275da4e72cfe02" providerId="LiveId" clId="{482741BC-C871-4990-8327-0F6BB36AC83A}" dt="2025-06-19T19:23:23.625" v="4706" actId="179"/>
        <pc:sldMkLst>
          <pc:docMk/>
          <pc:sldMk cId="845811709" sldId="2147473593"/>
        </pc:sldMkLst>
        <pc:spChg chg="mod">
          <ac:chgData name="Julia Matevosyan" userId="35275da4e72cfe02" providerId="LiveId" clId="{482741BC-C871-4990-8327-0F6BB36AC83A}" dt="2025-06-19T14:01:40.957" v="2087" actId="20577"/>
          <ac:spMkLst>
            <pc:docMk/>
            <pc:sldMk cId="845811709" sldId="2147473593"/>
            <ac:spMk id="2" creationId="{DC86B101-1F81-39BF-D7DA-4D18BC97C18E}"/>
          </ac:spMkLst>
        </pc:spChg>
        <pc:spChg chg="mod">
          <ac:chgData name="Julia Matevosyan" userId="35275da4e72cfe02" providerId="LiveId" clId="{482741BC-C871-4990-8327-0F6BB36AC83A}" dt="2025-06-19T19:23:23.625" v="4706" actId="179"/>
          <ac:spMkLst>
            <pc:docMk/>
            <pc:sldMk cId="845811709" sldId="2147473593"/>
            <ac:spMk id="3" creationId="{3C07FC98-B24E-A855-E93C-EA80BDE7B8B5}"/>
          </ac:spMkLst>
        </pc:spChg>
        <pc:spChg chg="add mod">
          <ac:chgData name="Julia Matevosyan" userId="35275da4e72cfe02" providerId="LiveId" clId="{482741BC-C871-4990-8327-0F6BB36AC83A}" dt="2025-06-19T13:54:01.894" v="1898" actId="1076"/>
          <ac:spMkLst>
            <pc:docMk/>
            <pc:sldMk cId="845811709" sldId="2147473593"/>
            <ac:spMk id="5" creationId="{1DEE4777-A7E9-96FF-B318-FB9D7E53C198}"/>
          </ac:spMkLst>
        </pc:spChg>
        <pc:picChg chg="add mod">
          <ac:chgData name="Julia Matevosyan" userId="35275da4e72cfe02" providerId="LiveId" clId="{482741BC-C871-4990-8327-0F6BB36AC83A}" dt="2025-06-19T14:01:24.601" v="2043" actId="1076"/>
          <ac:picMkLst>
            <pc:docMk/>
            <pc:sldMk cId="845811709" sldId="2147473593"/>
            <ac:picMk id="7" creationId="{F205F271-6660-C608-6522-FB3E9C8671B2}"/>
          </ac:picMkLst>
        </pc:picChg>
      </pc:sldChg>
      <pc:sldChg chg="addSp delSp modSp new mod modNotesTx">
        <pc:chgData name="Julia Matevosyan" userId="35275da4e72cfe02" providerId="LiveId" clId="{482741BC-C871-4990-8327-0F6BB36AC83A}" dt="2025-06-19T19:23:43.603" v="4716" actId="1035"/>
        <pc:sldMkLst>
          <pc:docMk/>
          <pc:sldMk cId="2798948746" sldId="2147473594"/>
        </pc:sldMkLst>
        <pc:spChg chg="mod">
          <ac:chgData name="Julia Matevosyan" userId="35275da4e72cfe02" providerId="LiveId" clId="{482741BC-C871-4990-8327-0F6BB36AC83A}" dt="2025-06-19T14:36:43.062" v="3121"/>
          <ac:spMkLst>
            <pc:docMk/>
            <pc:sldMk cId="2798948746" sldId="2147473594"/>
            <ac:spMk id="2" creationId="{A63493B8-2447-154D-DE74-D82E24B80FA4}"/>
          </ac:spMkLst>
        </pc:spChg>
        <pc:spChg chg="del mod">
          <ac:chgData name="Julia Matevosyan" userId="35275da4e72cfe02" providerId="LiveId" clId="{482741BC-C871-4990-8327-0F6BB36AC83A}" dt="2025-06-19T16:00:03.114" v="4099" actId="478"/>
          <ac:spMkLst>
            <pc:docMk/>
            <pc:sldMk cId="2798948746" sldId="2147473594"/>
            <ac:spMk id="3" creationId="{76105162-7344-7C3C-9C26-7AE46C8182A6}"/>
          </ac:spMkLst>
        </pc:spChg>
        <pc:spChg chg="add mod topLvl">
          <ac:chgData name="Julia Matevosyan" userId="35275da4e72cfe02" providerId="LiveId" clId="{482741BC-C871-4990-8327-0F6BB36AC83A}" dt="2025-06-19T16:25:32.783" v="4278" actId="164"/>
          <ac:spMkLst>
            <pc:docMk/>
            <pc:sldMk cId="2798948746" sldId="2147473594"/>
            <ac:spMk id="6" creationId="{81747C12-896C-318C-150C-8DD02EEE2EB1}"/>
          </ac:spMkLst>
        </pc:spChg>
        <pc:spChg chg="add del mod ord">
          <ac:chgData name="Julia Matevosyan" userId="35275da4e72cfe02" providerId="LiveId" clId="{482741BC-C871-4990-8327-0F6BB36AC83A}" dt="2025-06-19T16:49:11.961" v="4344"/>
          <ac:spMkLst>
            <pc:docMk/>
            <pc:sldMk cId="2798948746" sldId="2147473594"/>
            <ac:spMk id="9" creationId="{AE0175CF-9ABD-6AC8-6284-5525ED7EDFAA}"/>
          </ac:spMkLst>
        </pc:spChg>
        <pc:grpChg chg="add del mod">
          <ac:chgData name="Julia Matevosyan" userId="35275da4e72cfe02" providerId="LiveId" clId="{482741BC-C871-4990-8327-0F6BB36AC83A}" dt="2025-06-19T16:25:15.776" v="4276" actId="165"/>
          <ac:grpSpMkLst>
            <pc:docMk/>
            <pc:sldMk cId="2798948746" sldId="2147473594"/>
            <ac:grpSpMk id="7" creationId="{01919002-DC88-5BD2-3230-1947C9E86C4E}"/>
          </ac:grpSpMkLst>
        </pc:grpChg>
        <pc:grpChg chg="add mod">
          <ac:chgData name="Julia Matevosyan" userId="35275da4e72cfe02" providerId="LiveId" clId="{482741BC-C871-4990-8327-0F6BB36AC83A}" dt="2025-06-19T19:23:43.603" v="4716" actId="1035"/>
          <ac:grpSpMkLst>
            <pc:docMk/>
            <pc:sldMk cId="2798948746" sldId="2147473594"/>
            <ac:grpSpMk id="12" creationId="{5E0B8812-F91F-1652-0F2B-D9278DA4D8E8}"/>
          </ac:grpSpMkLst>
        </pc:grpChg>
        <pc:picChg chg="add mod topLvl modCrop">
          <ac:chgData name="Julia Matevosyan" userId="35275da4e72cfe02" providerId="LiveId" clId="{482741BC-C871-4990-8327-0F6BB36AC83A}" dt="2025-06-19T16:25:32.783" v="4278" actId="164"/>
          <ac:picMkLst>
            <pc:docMk/>
            <pc:sldMk cId="2798948746" sldId="2147473594"/>
            <ac:picMk id="5" creationId="{F9661ED5-8B79-024E-CC8B-8177CA330F42}"/>
          </ac:picMkLst>
        </pc:picChg>
        <pc:picChg chg="add del mod modCrop">
          <ac:chgData name="Julia Matevosyan" userId="35275da4e72cfe02" providerId="LiveId" clId="{482741BC-C871-4990-8327-0F6BB36AC83A}" dt="2025-06-19T16:49:11.945" v="4342" actId="478"/>
          <ac:picMkLst>
            <pc:docMk/>
            <pc:sldMk cId="2798948746" sldId="2147473594"/>
            <ac:picMk id="11" creationId="{10F6ACEE-7053-6595-D48B-06FCAECB066F}"/>
          </ac:picMkLst>
        </pc:picChg>
      </pc:sldChg>
      <pc:sldChg chg="addSp delSp modSp add mod">
        <pc:chgData name="Julia Matevosyan" userId="35275da4e72cfe02" providerId="LiveId" clId="{482741BC-C871-4990-8327-0F6BB36AC83A}" dt="2025-06-19T19:22:06.801" v="4704" actId="179"/>
        <pc:sldMkLst>
          <pc:docMk/>
          <pc:sldMk cId="4268159191" sldId="2147473595"/>
        </pc:sldMkLst>
        <pc:spChg chg="mod">
          <ac:chgData name="Julia Matevosyan" userId="35275da4e72cfe02" providerId="LiveId" clId="{482741BC-C871-4990-8327-0F6BB36AC83A}" dt="2025-06-19T19:13:45.966" v="4665" actId="20577"/>
          <ac:spMkLst>
            <pc:docMk/>
            <pc:sldMk cId="4268159191" sldId="2147473595"/>
            <ac:spMk id="2" creationId="{912CBE06-14BA-F856-B8A4-D79EDDE95AD5}"/>
          </ac:spMkLst>
        </pc:spChg>
        <pc:spChg chg="del">
          <ac:chgData name="Julia Matevosyan" userId="35275da4e72cfe02" providerId="LiveId" clId="{482741BC-C871-4990-8327-0F6BB36AC83A}" dt="2025-06-19T19:12:19.309" v="4645" actId="478"/>
          <ac:spMkLst>
            <pc:docMk/>
            <pc:sldMk cId="4268159191" sldId="2147473595"/>
            <ac:spMk id="3" creationId="{505C6D99-245F-3B3D-3A5F-B53C87F17D12}"/>
          </ac:spMkLst>
        </pc:spChg>
        <pc:spChg chg="del">
          <ac:chgData name="Julia Matevosyan" userId="35275da4e72cfe02" providerId="LiveId" clId="{482741BC-C871-4990-8327-0F6BB36AC83A}" dt="2025-06-19T19:10:37.550" v="4643" actId="478"/>
          <ac:spMkLst>
            <pc:docMk/>
            <pc:sldMk cId="4268159191" sldId="2147473595"/>
            <ac:spMk id="5" creationId="{A1714312-116F-9A50-FFF5-0409679E5811}"/>
          </ac:spMkLst>
        </pc:spChg>
        <pc:spChg chg="add mod">
          <ac:chgData name="Julia Matevosyan" userId="35275da4e72cfe02" providerId="LiveId" clId="{482741BC-C871-4990-8327-0F6BB36AC83A}" dt="2025-06-19T19:22:06.801" v="4704" actId="179"/>
          <ac:spMkLst>
            <pc:docMk/>
            <pc:sldMk cId="4268159191" sldId="2147473595"/>
            <ac:spMk id="7" creationId="{7718BCD2-9D61-CF2B-BE49-6D8E74B87689}"/>
          </ac:spMkLst>
        </pc:spChg>
        <pc:spChg chg="del mod">
          <ac:chgData name="Julia Matevosyan" userId="35275da4e72cfe02" providerId="LiveId" clId="{482741BC-C871-4990-8327-0F6BB36AC83A}" dt="2025-06-19T19:12:31.383" v="4648" actId="478"/>
          <ac:spMkLst>
            <pc:docMk/>
            <pc:sldMk cId="4268159191" sldId="2147473595"/>
            <ac:spMk id="8" creationId="{8FC8280F-AC66-8C7C-F948-07B4813CCF03}"/>
          </ac:spMkLst>
        </pc:spChg>
        <pc:picChg chg="mod">
          <ac:chgData name="Julia Matevosyan" userId="35275da4e72cfe02" providerId="LiveId" clId="{482741BC-C871-4990-8327-0F6BB36AC83A}" dt="2025-06-19T19:12:36.392" v="4649" actId="1076"/>
          <ac:picMkLst>
            <pc:docMk/>
            <pc:sldMk cId="4268159191" sldId="2147473595"/>
            <ac:picMk id="4" creationId="{D8D798DA-3F05-E9A8-090D-5F90F4795909}"/>
          </ac:picMkLst>
        </pc:picChg>
      </pc:sldChg>
      <pc:sldChg chg="addSp modSp new mod">
        <pc:chgData name="Julia Matevosyan" userId="35275da4e72cfe02" providerId="LiveId" clId="{482741BC-C871-4990-8327-0F6BB36AC83A}" dt="2025-06-19T19:44:54.536" v="4914" actId="2711"/>
        <pc:sldMkLst>
          <pc:docMk/>
          <pc:sldMk cId="3742081817" sldId="2147473596"/>
        </pc:sldMkLst>
        <pc:spChg chg="mod">
          <ac:chgData name="Julia Matevosyan" userId="35275da4e72cfe02" providerId="LiveId" clId="{482741BC-C871-4990-8327-0F6BB36AC83A}" dt="2025-06-19T19:40:57.328" v="4880"/>
          <ac:spMkLst>
            <pc:docMk/>
            <pc:sldMk cId="3742081817" sldId="2147473596"/>
            <ac:spMk id="2" creationId="{2B8D3FF9-A27B-7596-223B-34D53A7C7CDD}"/>
          </ac:spMkLst>
        </pc:spChg>
        <pc:spChg chg="mod">
          <ac:chgData name="Julia Matevosyan" userId="35275da4e72cfe02" providerId="LiveId" clId="{482741BC-C871-4990-8327-0F6BB36AC83A}" dt="2025-06-19T19:44:54.536" v="4914" actId="2711"/>
          <ac:spMkLst>
            <pc:docMk/>
            <pc:sldMk cId="3742081817" sldId="2147473596"/>
            <ac:spMk id="3" creationId="{D7B81A46-F755-27F4-FDDF-FEBBF2D6DDD3}"/>
          </ac:spMkLst>
        </pc:spChg>
        <pc:spChg chg="add mod">
          <ac:chgData name="Julia Matevosyan" userId="35275da4e72cfe02" providerId="LiveId" clId="{482741BC-C871-4990-8327-0F6BB36AC83A}" dt="2025-06-19T19:44:07.834" v="4911" actId="948"/>
          <ac:spMkLst>
            <pc:docMk/>
            <pc:sldMk cId="3742081817" sldId="2147473596"/>
            <ac:spMk id="5" creationId="{D2B09774-B1EE-6439-F8EF-4D80BCD734F8}"/>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32" tIns="45716" rIns="91432" bIns="45716"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32" tIns="45716" rIns="91432" bIns="45716" rtlCol="0"/>
          <a:lstStyle>
            <a:lvl1pPr algn="r">
              <a:defRPr sz="1200"/>
            </a:lvl1pPr>
          </a:lstStyle>
          <a:p>
            <a:fld id="{DD71BD72-1C83-ED40-BB6A-FD8BA7F03885}" type="datetimeFigureOut">
              <a:rPr lang="en-US" smtClean="0"/>
              <a:t>6/17/2025</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32" tIns="45716" rIns="91432" bIns="45716"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32" tIns="45716" rIns="91432" bIns="45716"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32" tIns="45716" rIns="91432" bIns="45716"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32" tIns="45716" rIns="91432" bIns="45716" rtlCol="0" anchor="b"/>
          <a:lstStyle>
            <a:lvl1pPr algn="r">
              <a:defRPr sz="1200"/>
            </a:lvl1pPr>
          </a:lstStyle>
          <a:p>
            <a:fld id="{72D5566E-B3BE-1F4D-A66D-8BD8451EA378}" type="slidenum">
              <a:rPr lang="en-US" smtClean="0"/>
              <a:t>‹#›</a:t>
            </a:fld>
            <a:endParaRPr lang="en-US" dirty="0"/>
          </a:p>
        </p:txBody>
      </p:sp>
    </p:spTree>
    <p:extLst>
      <p:ext uri="{BB962C8B-B14F-4D97-AF65-F5344CB8AC3E}">
        <p14:creationId xmlns:p14="http://schemas.microsoft.com/office/powerpoint/2010/main" val="34407656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7"/>
        <p:cNvGrpSpPr/>
        <p:nvPr/>
      </p:nvGrpSpPr>
      <p:grpSpPr>
        <a:xfrm>
          <a:off x="0" y="0"/>
          <a:ext cx="0" cy="0"/>
          <a:chOff x="0" y="0"/>
          <a:chExt cx="0" cy="0"/>
        </a:xfrm>
      </p:grpSpPr>
      <p:sp>
        <p:nvSpPr>
          <p:cNvPr id="258" name="Google Shape;258;p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59" name="Google Shape;259;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2D5566E-B3BE-1F4D-A66D-8BD8451EA378}" type="slidenum">
              <a:rPr lang="en-US" smtClean="0"/>
              <a:t>5</a:t>
            </a:fld>
            <a:endParaRPr lang="en-US" dirty="0"/>
          </a:p>
        </p:txBody>
      </p:sp>
    </p:spTree>
    <p:extLst>
      <p:ext uri="{BB962C8B-B14F-4D97-AF65-F5344CB8AC3E}">
        <p14:creationId xmlns:p14="http://schemas.microsoft.com/office/powerpoint/2010/main" val="6910248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omment from Mark on PRC-029 comments: one entity is concerned about DC chopper circuits which have thermal limitations for long duration events and would like the standard to be rewritten to accommodate them, instead of seeking hardware exclusions – I don’t think we have any of these in ERCOT, most are associated with offshore wind.</a:t>
            </a:r>
          </a:p>
          <a:p>
            <a:endParaRPr lang="en-US" dirty="0"/>
          </a:p>
        </p:txBody>
      </p:sp>
      <p:sp>
        <p:nvSpPr>
          <p:cNvPr id="4" name="Slide Number Placeholder 3"/>
          <p:cNvSpPr>
            <a:spLocks noGrp="1"/>
          </p:cNvSpPr>
          <p:nvPr>
            <p:ph type="sldNum" sz="quarter" idx="5"/>
          </p:nvPr>
        </p:nvSpPr>
        <p:spPr/>
        <p:txBody>
          <a:bodyPr/>
          <a:lstStyle/>
          <a:p>
            <a:fld id="{72D5566E-B3BE-1F4D-A66D-8BD8451EA378}" type="slidenum">
              <a:rPr lang="en-US" smtClean="0"/>
              <a:t>7</a:t>
            </a:fld>
            <a:endParaRPr lang="en-US" dirty="0"/>
          </a:p>
        </p:txBody>
      </p:sp>
    </p:spTree>
    <p:extLst>
      <p:ext uri="{BB962C8B-B14F-4D97-AF65-F5344CB8AC3E}">
        <p14:creationId xmlns:p14="http://schemas.microsoft.com/office/powerpoint/2010/main" val="41328856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of 6/18 EMTWG paper have not yet been posted for industry comment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first EMTWG White paper is on: Case Study on Adoption of EMT Modeling and Studies in Interconnection and Planning Studies for BPS-connected IB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ssessment of The Need for EMT Modeling and Simulation in Offline Operation Studies and Requiremen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fld id="{72D5566E-B3BE-1F4D-A66D-8BD8451EA378}" type="slidenum">
              <a:rPr lang="en-US" smtClean="0"/>
              <a:t>8</a:t>
            </a:fld>
            <a:endParaRPr lang="en-US" dirty="0"/>
          </a:p>
        </p:txBody>
      </p:sp>
    </p:spTree>
    <p:extLst>
      <p:ext uri="{BB962C8B-B14F-4D97-AF65-F5344CB8AC3E}">
        <p14:creationId xmlns:p14="http://schemas.microsoft.com/office/powerpoint/2010/main" val="38318248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65% of energy annually in Denmark comes from wind and solar, number of HVDC interconnectors between two parts of Denmark and other countries (</a:t>
            </a:r>
            <a:r>
              <a:rPr lang="en-US" sz="1200" b="0" i="0" kern="1200" dirty="0">
                <a:solidFill>
                  <a:schemeClr val="tx1"/>
                </a:solidFill>
                <a:effectLst/>
                <a:latin typeface="+mn-lt"/>
                <a:ea typeface="+mn-ea"/>
                <a:cs typeface="+mn-cs"/>
              </a:rPr>
              <a:t>UK, Germany, and Norway)</a:t>
            </a:r>
            <a:r>
              <a:rPr lang="en-US" dirty="0"/>
              <a:t>. </a:t>
            </a:r>
          </a:p>
          <a:p>
            <a:r>
              <a:rPr lang="en-US" dirty="0"/>
              <a:t>Existing and future weak grid issues and local high </a:t>
            </a:r>
            <a:r>
              <a:rPr lang="en-US" dirty="0" err="1"/>
              <a:t>RoCoF</a:t>
            </a:r>
            <a:r>
              <a:rPr lang="en-US" dirty="0"/>
              <a:t> issues is what they are trying to address by GFM </a:t>
            </a:r>
          </a:p>
          <a:p>
            <a:r>
              <a:rPr lang="en-US" sz="1200" dirty="0"/>
              <a:t>Available to download : https://en.energinet.dk/about-our-reports/reports/towards-astable-and-sustainable-future-with-grid-forming-technologies/ </a:t>
            </a:r>
            <a:endParaRPr lang="en-US" dirty="0"/>
          </a:p>
        </p:txBody>
      </p:sp>
      <p:sp>
        <p:nvSpPr>
          <p:cNvPr id="4" name="Slide Number Placeholder 3"/>
          <p:cNvSpPr>
            <a:spLocks noGrp="1"/>
          </p:cNvSpPr>
          <p:nvPr>
            <p:ph type="sldNum" sz="quarter" idx="5"/>
          </p:nvPr>
        </p:nvSpPr>
        <p:spPr/>
        <p:txBody>
          <a:bodyPr/>
          <a:lstStyle/>
          <a:p>
            <a:fld id="{72D5566E-B3BE-1F4D-A66D-8BD8451EA378}" type="slidenum">
              <a:rPr lang="en-US" smtClean="0"/>
              <a:t>9</a:t>
            </a:fld>
            <a:endParaRPr lang="en-US" dirty="0"/>
          </a:p>
        </p:txBody>
      </p:sp>
    </p:spTree>
    <p:extLst>
      <p:ext uri="{BB962C8B-B14F-4D97-AF65-F5344CB8AC3E}">
        <p14:creationId xmlns:p14="http://schemas.microsoft.com/office/powerpoint/2010/main" val="17635006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108000"/>
              </a:lnSpc>
              <a:spcBef>
                <a:spcPts val="600"/>
              </a:spcBef>
              <a:buFont typeface="Arial" panose="020B0604020202020204" pitchFamily="34" charset="0"/>
              <a:buChar char="•"/>
            </a:pPr>
            <a:endParaRPr lang="en-US"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72D5566E-B3BE-1F4D-A66D-8BD8451EA378}" type="slidenum">
              <a:rPr lang="en-US" smtClean="0"/>
              <a:t>10</a:t>
            </a:fld>
            <a:endParaRPr lang="en-US" dirty="0"/>
          </a:p>
        </p:txBody>
      </p:sp>
    </p:spTree>
    <p:extLst>
      <p:ext uri="{BB962C8B-B14F-4D97-AF65-F5344CB8AC3E}">
        <p14:creationId xmlns:p14="http://schemas.microsoft.com/office/powerpoint/2010/main" val="42836708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2D5566E-B3BE-1F4D-A66D-8BD8451EA37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5606570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oleObject" Target="../embeddings/oleObject2.bin"/><Relationship Id="rId7" Type="http://schemas.openxmlformats.org/officeDocument/2006/relationships/image" Target="../media/image11.png"/><Relationship Id="rId2" Type="http://schemas.openxmlformats.org/officeDocument/2006/relationships/slideMaster" Target="../slideMasters/slideMaster3.xml"/><Relationship Id="rId1" Type="http://schemas.openxmlformats.org/officeDocument/2006/relationships/tags" Target="../tags/tag2.xml"/><Relationship Id="rId6" Type="http://schemas.openxmlformats.org/officeDocument/2006/relationships/image" Target="../media/image10.png"/><Relationship Id="rId5" Type="http://schemas.openxmlformats.org/officeDocument/2006/relationships/image" Target="../media/image8.png"/><Relationship Id="rId4" Type="http://schemas.openxmlformats.org/officeDocument/2006/relationships/image" Target="../media/image9.emf"/><Relationship Id="rId9" Type="http://schemas.openxmlformats.org/officeDocument/2006/relationships/image" Target="../media/image13.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3.xml"/><Relationship Id="rId4" Type="http://schemas.openxmlformats.org/officeDocument/2006/relationships/image" Target="../media/image9.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4.xml"/><Relationship Id="rId4" Type="http://schemas.openxmlformats.org/officeDocument/2006/relationships/image" Target="../media/image9.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5.xml"/><Relationship Id="rId4" Type="http://schemas.openxmlformats.org/officeDocument/2006/relationships/image" Target="../media/image9.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6.xml"/><Relationship Id="rId4" Type="http://schemas.openxmlformats.org/officeDocument/2006/relationships/image" Target="../media/image9.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9.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8.xml"/><Relationship Id="rId4" Type="http://schemas.openxmlformats.org/officeDocument/2006/relationships/image" Target="../media/image9.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9.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9.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9.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9.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3.xml"/><Relationship Id="rId5" Type="http://schemas.openxmlformats.org/officeDocument/2006/relationships/image" Target="../media/image15.png"/><Relationship Id="rId4" Type="http://schemas.openxmlformats.org/officeDocument/2006/relationships/image" Target="../media/image14.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9.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14.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14.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9.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18.xml"/><Relationship Id="rId4" Type="http://schemas.openxmlformats.org/officeDocument/2006/relationships/image" Target="../media/image9.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19.xml"/><Relationship Id="rId4" Type="http://schemas.openxmlformats.org/officeDocument/2006/relationships/image" Target="../media/image9.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20.xml"/><Relationship Id="rId4" Type="http://schemas.openxmlformats.org/officeDocument/2006/relationships/image" Target="../media/image9.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3.xml"/><Relationship Id="rId1" Type="http://schemas.openxmlformats.org/officeDocument/2006/relationships/tags" Target="../tags/tag21.xml"/><Relationship Id="rId4" Type="http://schemas.openxmlformats.org/officeDocument/2006/relationships/image" Target="../media/image9.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3.xml"/><Relationship Id="rId1" Type="http://schemas.openxmlformats.org/officeDocument/2006/relationships/tags" Target="../tags/tag22.xml"/><Relationship Id="rId4" Type="http://schemas.openxmlformats.org/officeDocument/2006/relationships/image" Target="../media/image9.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3.xml"/><Relationship Id="rId1" Type="http://schemas.openxmlformats.org/officeDocument/2006/relationships/tags" Target="../tags/tag23.xml"/><Relationship Id="rId4" Type="http://schemas.openxmlformats.org/officeDocument/2006/relationships/image" Target="../media/image9.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Solar Wind Transmission 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4EF037E-1515-D44E-A5DB-0BE68F0BA7E9}"/>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87FA361-B9CF-AA44-9A7F-8877060D9205}"/>
              </a:ext>
            </a:extLst>
          </p:cNvPr>
          <p:cNvSpPr/>
          <p:nvPr userDrawn="1"/>
        </p:nvSpPr>
        <p:spPr>
          <a:xfrm>
            <a:off x="0" y="1627632"/>
            <a:ext cx="7059168" cy="2286000"/>
          </a:xfrm>
          <a:prstGeom prst="rect">
            <a:avLst/>
          </a:prstGeom>
          <a:solidFill>
            <a:srgbClr val="F15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1">
            <a:extLst>
              <a:ext uri="{FF2B5EF4-FFF2-40B4-BE49-F238E27FC236}">
                <a16:creationId xmlns:a16="http://schemas.microsoft.com/office/drawing/2014/main" id="{0B0BD53B-63A9-494A-95A4-00F2B3AF84AB}"/>
              </a:ext>
            </a:extLst>
          </p:cNvPr>
          <p:cNvSpPr>
            <a:spLocks noGrp="1"/>
          </p:cNvSpPr>
          <p:nvPr>
            <p:ph type="title"/>
          </p:nvPr>
        </p:nvSpPr>
        <p:spPr>
          <a:xfrm>
            <a:off x="762000" y="1624307"/>
            <a:ext cx="5940552" cy="2289325"/>
          </a:xfrm>
          <a:prstGeom prst="rect">
            <a:avLst/>
          </a:prstGeom>
        </p:spPr>
        <p:txBody>
          <a:bodyPr lIns="0" anchor="ctr"/>
          <a:lstStyle>
            <a:lvl1pPr>
              <a:defRPr b="0" i="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6" name="Picture 5">
            <a:extLst>
              <a:ext uri="{FF2B5EF4-FFF2-40B4-BE49-F238E27FC236}">
                <a16:creationId xmlns:a16="http://schemas.microsoft.com/office/drawing/2014/main" id="{3AF1AF86-4775-4B49-9184-091E9128735F}"/>
              </a:ext>
            </a:extLst>
          </p:cNvPr>
          <p:cNvPicPr>
            <a:picLocks noChangeAspect="1"/>
          </p:cNvPicPr>
          <p:nvPr userDrawn="1"/>
        </p:nvPicPr>
        <p:blipFill>
          <a:blip r:embed="rId3"/>
          <a:stretch>
            <a:fillRect/>
          </a:stretch>
        </p:blipFill>
        <p:spPr>
          <a:xfrm>
            <a:off x="490728" y="4123944"/>
            <a:ext cx="1711757" cy="2139696"/>
          </a:xfrm>
          <a:prstGeom prst="rect">
            <a:avLst/>
          </a:prstGeom>
        </p:spPr>
      </p:pic>
      <p:sp>
        <p:nvSpPr>
          <p:cNvPr id="11" name="Rectangle 10">
            <a:extLst>
              <a:ext uri="{FF2B5EF4-FFF2-40B4-BE49-F238E27FC236}">
                <a16:creationId xmlns:a16="http://schemas.microsoft.com/office/drawing/2014/main" id="{A7F1C996-3C78-604E-8E86-C9A00628EBA6}"/>
              </a:ext>
            </a:extLst>
          </p:cNvPr>
          <p:cNvSpPr/>
          <p:nvPr userDrawn="1"/>
        </p:nvSpPr>
        <p:spPr>
          <a:xfrm>
            <a:off x="10157021" y="6384051"/>
            <a:ext cx="1808508" cy="215444"/>
          </a:xfrm>
          <a:prstGeom prst="rect">
            <a:avLst/>
          </a:prstGeom>
        </p:spPr>
        <p:txBody>
          <a:bodyPr wrap="none">
            <a:spAutoFit/>
          </a:bodyPr>
          <a:lstStyle/>
          <a:p>
            <a:pPr algn="r"/>
            <a:r>
              <a:rPr lang="en-US" sz="800" b="0" dirty="0">
                <a:solidFill>
                  <a:schemeClr val="bg1"/>
                </a:solidFill>
                <a:effectLst/>
                <a:latin typeface="Montserrat" pitchFamily="2" charset="77"/>
              </a:rPr>
              <a:t>©2022 ESIG. All rights Reserved.</a:t>
            </a:r>
            <a:endParaRPr lang="en-US" sz="800" b="0" dirty="0">
              <a:solidFill>
                <a:schemeClr val="bg1"/>
              </a:solidFill>
              <a:effectLst/>
              <a:latin typeface="Montserrat SemiBold" pitchFamily="2" charset="77"/>
            </a:endParaRPr>
          </a:p>
        </p:txBody>
      </p:sp>
      <p:sp>
        <p:nvSpPr>
          <p:cNvPr id="10" name="Text Placeholder 9">
            <a:extLst>
              <a:ext uri="{FF2B5EF4-FFF2-40B4-BE49-F238E27FC236}">
                <a16:creationId xmlns:a16="http://schemas.microsoft.com/office/drawing/2014/main" id="{0460FF1C-9402-E445-BD47-14385E4B9F4B}"/>
              </a:ext>
            </a:extLst>
          </p:cNvPr>
          <p:cNvSpPr>
            <a:spLocks noGrp="1"/>
          </p:cNvSpPr>
          <p:nvPr>
            <p:ph type="body" sz="quarter" idx="10" hasCustomPrompt="1"/>
          </p:nvPr>
        </p:nvSpPr>
        <p:spPr>
          <a:xfrm>
            <a:off x="2240406" y="4398328"/>
            <a:ext cx="3319145" cy="329120"/>
          </a:xfrm>
          <a:prstGeom prst="rect">
            <a:avLst/>
          </a:prstGeom>
        </p:spPr>
        <p:txBody>
          <a:bodyPr/>
          <a:lstStyle>
            <a:lvl1pPr marL="0" indent="0">
              <a:buNone/>
              <a:defRPr sz="2000" b="0" i="0">
                <a:latin typeface="Arial" panose="020B0604020202020204" pitchFamily="34" charset="0"/>
                <a:cs typeface="Arial" panose="020B0604020202020204" pitchFamily="34" charset="0"/>
              </a:defRPr>
            </a:lvl1pPr>
            <a:lvl2pPr marL="285750" indent="0">
              <a:buNone/>
              <a:defRPr b="1" i="0">
                <a:latin typeface="Montserrat SemiBold" pitchFamily="2" charset="77"/>
              </a:defRPr>
            </a:lvl2pPr>
            <a:lvl3pPr marL="682625" indent="0">
              <a:buNone/>
              <a:defRPr b="1" i="0">
                <a:latin typeface="Montserrat SemiBold" pitchFamily="2" charset="77"/>
              </a:defRPr>
            </a:lvl3pPr>
            <a:lvl4pPr marL="1092200" indent="0">
              <a:buNone/>
              <a:defRPr b="1" i="0">
                <a:latin typeface="Montserrat SemiBold" pitchFamily="2" charset="77"/>
              </a:defRPr>
            </a:lvl4pPr>
            <a:lvl5pPr marL="1377950" indent="0">
              <a:buNone/>
              <a:defRPr b="1" i="0">
                <a:latin typeface="Montserrat SemiBold" pitchFamily="2" charset="77"/>
              </a:defRPr>
            </a:lvl5pPr>
          </a:lstStyle>
          <a:p>
            <a:pPr lvl="0"/>
            <a:r>
              <a:rPr lang="en-US" dirty="0"/>
              <a:t>Author</a:t>
            </a:r>
          </a:p>
        </p:txBody>
      </p:sp>
      <p:sp>
        <p:nvSpPr>
          <p:cNvPr id="16" name="Text Placeholder 9">
            <a:extLst>
              <a:ext uri="{FF2B5EF4-FFF2-40B4-BE49-F238E27FC236}">
                <a16:creationId xmlns:a16="http://schemas.microsoft.com/office/drawing/2014/main" id="{9BD7D460-B1F8-C645-9A81-CE89457E5765}"/>
              </a:ext>
            </a:extLst>
          </p:cNvPr>
          <p:cNvSpPr>
            <a:spLocks noGrp="1"/>
          </p:cNvSpPr>
          <p:nvPr>
            <p:ph type="body" sz="quarter" idx="11" hasCustomPrompt="1"/>
          </p:nvPr>
        </p:nvSpPr>
        <p:spPr>
          <a:xfrm>
            <a:off x="2240406" y="5769864"/>
            <a:ext cx="3319145" cy="313880"/>
          </a:xfrm>
          <a:prstGeom prst="rect">
            <a:avLst/>
          </a:prstGeom>
        </p:spPr>
        <p:txBody>
          <a:bodyPr bIns="0" anchor="b"/>
          <a:lstStyle>
            <a:lvl1pPr marL="0" indent="0">
              <a:buNone/>
              <a:defRPr sz="1600" b="0" i="0">
                <a:latin typeface="Arial" panose="020B0604020202020204" pitchFamily="34" charset="0"/>
                <a:cs typeface="Arial" panose="020B0604020202020204" pitchFamily="34" charset="0"/>
              </a:defRPr>
            </a:lvl1pPr>
            <a:lvl2pPr marL="285750" indent="0">
              <a:buNone/>
              <a:defRPr b="1" i="0">
                <a:latin typeface="Montserrat SemiBold" pitchFamily="2" charset="77"/>
              </a:defRPr>
            </a:lvl2pPr>
            <a:lvl3pPr marL="682625" indent="0">
              <a:buNone/>
              <a:defRPr b="1" i="0">
                <a:latin typeface="Montserrat SemiBold" pitchFamily="2" charset="77"/>
              </a:defRPr>
            </a:lvl3pPr>
            <a:lvl4pPr marL="1092200" indent="0">
              <a:buNone/>
              <a:defRPr b="1" i="0">
                <a:latin typeface="Montserrat SemiBold" pitchFamily="2" charset="77"/>
              </a:defRPr>
            </a:lvl4pPr>
            <a:lvl5pPr marL="1377950" indent="0">
              <a:buNone/>
              <a:defRPr b="1" i="0">
                <a:latin typeface="Montserrat SemiBold" pitchFamily="2" charset="77"/>
              </a:defRPr>
            </a:lvl5pPr>
          </a:lstStyle>
          <a:p>
            <a:pPr lvl="0"/>
            <a:r>
              <a:rPr lang="en-US" dirty="0"/>
              <a:t>DATE</a:t>
            </a:r>
          </a:p>
        </p:txBody>
      </p:sp>
      <p:sp>
        <p:nvSpPr>
          <p:cNvPr id="17" name="Text Placeholder 9">
            <a:extLst>
              <a:ext uri="{FF2B5EF4-FFF2-40B4-BE49-F238E27FC236}">
                <a16:creationId xmlns:a16="http://schemas.microsoft.com/office/drawing/2014/main" id="{DD562705-0365-624A-A976-0B0D5BCFC314}"/>
              </a:ext>
            </a:extLst>
          </p:cNvPr>
          <p:cNvSpPr>
            <a:spLocks noGrp="1"/>
          </p:cNvSpPr>
          <p:nvPr>
            <p:ph type="body" sz="quarter" idx="12" hasCustomPrompt="1"/>
          </p:nvPr>
        </p:nvSpPr>
        <p:spPr>
          <a:xfrm>
            <a:off x="2240406" y="4800600"/>
            <a:ext cx="3319145" cy="877824"/>
          </a:xfrm>
          <a:prstGeom prst="rect">
            <a:avLst/>
          </a:prstGeom>
        </p:spPr>
        <p:txBody>
          <a:bodyPr/>
          <a:lstStyle>
            <a:lvl1pPr marL="0" indent="0">
              <a:buNone/>
              <a:defRPr sz="1500" b="0" i="0">
                <a:latin typeface="Arial" panose="020B0604020202020204" pitchFamily="34" charset="0"/>
                <a:cs typeface="Arial" panose="020B0604020202020204" pitchFamily="34" charset="0"/>
              </a:defRPr>
            </a:lvl1pPr>
            <a:lvl2pPr marL="285750" indent="0">
              <a:buNone/>
              <a:defRPr b="1" i="0">
                <a:latin typeface="Montserrat SemiBold" pitchFamily="2" charset="77"/>
              </a:defRPr>
            </a:lvl2pPr>
            <a:lvl3pPr marL="682625" indent="0">
              <a:buNone/>
              <a:defRPr b="1" i="0">
                <a:latin typeface="Montserrat SemiBold" pitchFamily="2" charset="77"/>
              </a:defRPr>
            </a:lvl3pPr>
            <a:lvl4pPr marL="1092200" indent="0">
              <a:buNone/>
              <a:defRPr b="1" i="0">
                <a:latin typeface="Montserrat SemiBold" pitchFamily="2" charset="77"/>
              </a:defRPr>
            </a:lvl4pPr>
            <a:lvl5pPr marL="1377950" indent="0">
              <a:buNone/>
              <a:defRPr b="1" i="0">
                <a:latin typeface="Montserrat SemiBold" pitchFamily="2" charset="77"/>
              </a:defRPr>
            </a:lvl5pPr>
          </a:lstStyle>
          <a:p>
            <a:pPr lvl="0"/>
            <a:r>
              <a:rPr lang="en-US" dirty="0"/>
              <a:t>Author title</a:t>
            </a:r>
          </a:p>
        </p:txBody>
      </p:sp>
    </p:spTree>
    <p:extLst>
      <p:ext uri="{BB962C8B-B14F-4D97-AF65-F5344CB8AC3E}">
        <p14:creationId xmlns:p14="http://schemas.microsoft.com/office/powerpoint/2010/main" val="11311344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FCC18CFF-3ACC-124D-A5D8-85C3268CCE61}"/>
              </a:ext>
            </a:extLst>
          </p:cNvPr>
          <p:cNvSpPr>
            <a:spLocks noGrp="1"/>
          </p:cNvSpPr>
          <p:nvPr>
            <p:ph type="pic" sz="quarter" idx="11"/>
          </p:nvPr>
        </p:nvSpPr>
        <p:spPr>
          <a:xfrm>
            <a:off x="6546850" y="0"/>
            <a:ext cx="5645150" cy="6858000"/>
          </a:xfrm>
          <a:prstGeom prst="rect">
            <a:avLst/>
          </a:prstGeom>
        </p:spPr>
        <p:txBody>
          <a:bodyPr/>
          <a:lstStyle/>
          <a:p>
            <a:r>
              <a:rPr lang="en-US"/>
              <a:t>Click icon to add picture</a:t>
            </a:r>
            <a:endParaRPr lang="en-US" dirty="0"/>
          </a:p>
        </p:txBody>
      </p:sp>
      <p:sp>
        <p:nvSpPr>
          <p:cNvPr id="3" name="TextBox 2">
            <a:extLst>
              <a:ext uri="{FF2B5EF4-FFF2-40B4-BE49-F238E27FC236}">
                <a16:creationId xmlns:a16="http://schemas.microsoft.com/office/drawing/2014/main" id="{D3201DCF-858F-4B4F-AEB0-9FE083ACDFE5}"/>
              </a:ext>
            </a:extLst>
          </p:cNvPr>
          <p:cNvSpPr txBox="1"/>
          <p:nvPr userDrawn="1"/>
        </p:nvSpPr>
        <p:spPr>
          <a:xfrm>
            <a:off x="11311128" y="6108192"/>
            <a:ext cx="521208" cy="276999"/>
          </a:xfrm>
          <a:prstGeom prst="rect">
            <a:avLst/>
          </a:prstGeom>
          <a:noFill/>
        </p:spPr>
        <p:txBody>
          <a:bodyPr wrap="square" rtlCol="0">
            <a:spAutoFit/>
          </a:bodyPr>
          <a:lstStyle/>
          <a:p>
            <a:pPr algn="r"/>
            <a:fld id="{90F21B5F-06DF-1840-B2F7-3636C65A51F9}" type="slidenum">
              <a:rPr lang="en-US" sz="1200" b="0" i="0" smtClean="0">
                <a:solidFill>
                  <a:schemeClr val="bg1">
                    <a:lumMod val="65000"/>
                  </a:schemeClr>
                </a:solidFill>
                <a:latin typeface="Montserrat Medium" pitchFamily="2" charset="77"/>
              </a:rPr>
              <a:pPr algn="r"/>
              <a:t>‹#›</a:t>
            </a:fld>
            <a:endParaRPr lang="en-US" sz="1200" b="0" i="0" dirty="0">
              <a:solidFill>
                <a:schemeClr val="bg1">
                  <a:lumMod val="65000"/>
                </a:schemeClr>
              </a:solidFill>
              <a:latin typeface="Montserrat Medium" pitchFamily="2" charset="77"/>
            </a:endParaRPr>
          </a:p>
        </p:txBody>
      </p:sp>
      <p:sp>
        <p:nvSpPr>
          <p:cNvPr id="4" name="Content Placeholder 2">
            <a:extLst>
              <a:ext uri="{FF2B5EF4-FFF2-40B4-BE49-F238E27FC236}">
                <a16:creationId xmlns:a16="http://schemas.microsoft.com/office/drawing/2014/main" id="{AB526064-51DA-114D-B6D1-B01DD7DBDDC1}"/>
              </a:ext>
            </a:extLst>
          </p:cNvPr>
          <p:cNvSpPr>
            <a:spLocks noGrp="1"/>
          </p:cNvSpPr>
          <p:nvPr>
            <p:ph sz="quarter" idx="10"/>
          </p:nvPr>
        </p:nvSpPr>
        <p:spPr>
          <a:xfrm>
            <a:off x="762000" y="804673"/>
            <a:ext cx="5026152" cy="5321807"/>
          </a:xfrm>
          <a:prstGeom prst="rect">
            <a:avLst/>
          </a:prstGeom>
        </p:spPr>
        <p:txBody>
          <a:bodyPr/>
          <a:lstStyle>
            <a:lvl1pPr marL="117475" indent="-117475">
              <a:buClr>
                <a:srgbClr val="F15934"/>
              </a:buClr>
              <a:buSzPct val="60000"/>
              <a:tabLst/>
              <a:defRPr sz="2000" b="0" i="0">
                <a:solidFill>
                  <a:schemeClr val="tx1"/>
                </a:solidFill>
                <a:latin typeface="Arial" panose="020B0604020202020204" pitchFamily="34" charset="0"/>
                <a:cs typeface="Arial" panose="020B0604020202020204" pitchFamily="34" charset="0"/>
              </a:defRPr>
            </a:lvl1pPr>
            <a:lvl2pPr>
              <a:buClr>
                <a:srgbClr val="F15934"/>
              </a:buClr>
              <a:buSzPct val="60000"/>
              <a:defRPr sz="2000" b="0" i="0">
                <a:solidFill>
                  <a:schemeClr val="tx1"/>
                </a:solidFill>
                <a:latin typeface="Arial" panose="020B0604020202020204" pitchFamily="34" charset="0"/>
                <a:cs typeface="Arial" panose="020B0604020202020204" pitchFamily="34" charset="0"/>
              </a:defRPr>
            </a:lvl2pPr>
            <a:lvl3pPr>
              <a:buClr>
                <a:srgbClr val="F15934"/>
              </a:buClr>
              <a:buSzPct val="60000"/>
              <a:defRPr sz="2000" b="0" i="0">
                <a:solidFill>
                  <a:schemeClr val="tx1"/>
                </a:solidFill>
                <a:latin typeface="Arial" panose="020B0604020202020204" pitchFamily="34" charset="0"/>
                <a:cs typeface="Arial" panose="020B0604020202020204" pitchFamily="34" charset="0"/>
              </a:defRPr>
            </a:lvl3pPr>
            <a:lvl4pPr>
              <a:buClr>
                <a:srgbClr val="F15934"/>
              </a:buClr>
              <a:buSzPct val="60000"/>
              <a:defRPr sz="2000" b="0" i="0">
                <a:solidFill>
                  <a:schemeClr val="tx1"/>
                </a:solidFill>
                <a:latin typeface="Arial" panose="020B0604020202020204" pitchFamily="34" charset="0"/>
                <a:cs typeface="Arial" panose="020B0604020202020204" pitchFamily="34" charset="0"/>
              </a:defRPr>
            </a:lvl4pPr>
            <a:lvl5pPr>
              <a:buClr>
                <a:srgbClr val="F15934"/>
              </a:buClr>
              <a:buSzPct val="60000"/>
              <a:defRPr sz="2000" b="0" i="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a:extLst>
              <a:ext uri="{FF2B5EF4-FFF2-40B4-BE49-F238E27FC236}">
                <a16:creationId xmlns:a16="http://schemas.microsoft.com/office/drawing/2014/main" id="{6105BCA0-4929-8544-B288-C74A4899E1CD}"/>
              </a:ext>
            </a:extLst>
          </p:cNvPr>
          <p:cNvSpPr/>
          <p:nvPr userDrawn="1"/>
        </p:nvSpPr>
        <p:spPr>
          <a:xfrm>
            <a:off x="10157021" y="6374907"/>
            <a:ext cx="1808508" cy="215444"/>
          </a:xfrm>
          <a:prstGeom prst="rect">
            <a:avLst/>
          </a:prstGeom>
        </p:spPr>
        <p:txBody>
          <a:bodyPr wrap="none">
            <a:spAutoFit/>
          </a:bodyPr>
          <a:lstStyle/>
          <a:p>
            <a:r>
              <a:rPr lang="en-US" sz="800" b="0" dirty="0">
                <a:solidFill>
                  <a:schemeClr val="bg1">
                    <a:lumMod val="75000"/>
                  </a:schemeClr>
                </a:solidFill>
                <a:effectLst/>
                <a:latin typeface="Montserrat" pitchFamily="2" charset="77"/>
              </a:rPr>
              <a:t>©2022 ESIG. All rights Reserved.</a:t>
            </a:r>
            <a:endParaRPr lang="en-US" sz="800" b="0" dirty="0">
              <a:solidFill>
                <a:schemeClr val="bg1">
                  <a:lumMod val="75000"/>
                </a:schemeClr>
              </a:solidFill>
              <a:effectLst/>
              <a:latin typeface="Montserrat SemiBold" pitchFamily="2" charset="77"/>
            </a:endParaRPr>
          </a:p>
        </p:txBody>
      </p:sp>
    </p:spTree>
    <p:extLst>
      <p:ext uri="{BB962C8B-B14F-4D97-AF65-F5344CB8AC3E}">
        <p14:creationId xmlns:p14="http://schemas.microsoft.com/office/powerpoint/2010/main" val="28257610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D0E8738-52F8-3B4D-8F30-939ADE9ADA94}"/>
              </a:ext>
            </a:extLst>
          </p:cNvPr>
          <p:cNvPicPr>
            <a:picLocks noChangeAspect="1"/>
          </p:cNvPicPr>
          <p:nvPr userDrawn="1"/>
        </p:nvPicPr>
        <p:blipFill>
          <a:blip r:embed="rId2"/>
          <a:stretch>
            <a:fillRect/>
          </a:stretch>
        </p:blipFill>
        <p:spPr>
          <a:xfrm>
            <a:off x="0" y="0"/>
            <a:ext cx="5842000" cy="6858000"/>
          </a:xfrm>
          <a:prstGeom prst="rect">
            <a:avLst/>
          </a:prstGeom>
        </p:spPr>
      </p:pic>
      <p:pic>
        <p:nvPicPr>
          <p:cNvPr id="6" name="Picture 5">
            <a:extLst>
              <a:ext uri="{FF2B5EF4-FFF2-40B4-BE49-F238E27FC236}">
                <a16:creationId xmlns:a16="http://schemas.microsoft.com/office/drawing/2014/main" id="{3AF1AF86-4775-4B49-9184-091E9128735F}"/>
              </a:ext>
            </a:extLst>
          </p:cNvPr>
          <p:cNvPicPr>
            <a:picLocks noChangeAspect="1"/>
          </p:cNvPicPr>
          <p:nvPr userDrawn="1"/>
        </p:nvPicPr>
        <p:blipFill>
          <a:blip r:embed="rId3"/>
          <a:stretch>
            <a:fillRect/>
          </a:stretch>
        </p:blipFill>
        <p:spPr>
          <a:xfrm>
            <a:off x="490728" y="4123944"/>
            <a:ext cx="1711757" cy="2139696"/>
          </a:xfrm>
          <a:prstGeom prst="rect">
            <a:avLst/>
          </a:prstGeom>
        </p:spPr>
      </p:pic>
      <p:sp>
        <p:nvSpPr>
          <p:cNvPr id="11" name="Rectangle 10">
            <a:extLst>
              <a:ext uri="{FF2B5EF4-FFF2-40B4-BE49-F238E27FC236}">
                <a16:creationId xmlns:a16="http://schemas.microsoft.com/office/drawing/2014/main" id="{A7F1C996-3C78-604E-8E86-C9A00628EBA6}"/>
              </a:ext>
            </a:extLst>
          </p:cNvPr>
          <p:cNvSpPr/>
          <p:nvPr userDrawn="1"/>
        </p:nvSpPr>
        <p:spPr>
          <a:xfrm>
            <a:off x="10157021" y="6374907"/>
            <a:ext cx="1808508" cy="215444"/>
          </a:xfrm>
          <a:prstGeom prst="rect">
            <a:avLst/>
          </a:prstGeom>
        </p:spPr>
        <p:txBody>
          <a:bodyPr wrap="none">
            <a:spAutoFit/>
          </a:bodyPr>
          <a:lstStyle/>
          <a:p>
            <a:r>
              <a:rPr lang="en-US" sz="800" b="0" dirty="0">
                <a:solidFill>
                  <a:schemeClr val="bg1"/>
                </a:solidFill>
                <a:effectLst/>
                <a:latin typeface="Montserrat" pitchFamily="2" charset="77"/>
              </a:rPr>
              <a:t>©2022 ESIG. All rights Reserved.</a:t>
            </a:r>
            <a:endParaRPr lang="en-US" sz="800" b="0" dirty="0">
              <a:solidFill>
                <a:schemeClr val="bg1"/>
              </a:solidFill>
              <a:effectLst/>
              <a:latin typeface="Montserrat SemiBold" pitchFamily="2" charset="77"/>
            </a:endParaRPr>
          </a:p>
        </p:txBody>
      </p:sp>
      <p:sp>
        <p:nvSpPr>
          <p:cNvPr id="12" name="TextBox 11">
            <a:extLst>
              <a:ext uri="{FF2B5EF4-FFF2-40B4-BE49-F238E27FC236}">
                <a16:creationId xmlns:a16="http://schemas.microsoft.com/office/drawing/2014/main" id="{73B7F524-9FDB-8E4C-B3AB-1D000B078C31}"/>
              </a:ext>
            </a:extLst>
          </p:cNvPr>
          <p:cNvSpPr txBox="1"/>
          <p:nvPr userDrawn="1"/>
        </p:nvSpPr>
        <p:spPr>
          <a:xfrm>
            <a:off x="11274552" y="6099048"/>
            <a:ext cx="521208" cy="276999"/>
          </a:xfrm>
          <a:prstGeom prst="rect">
            <a:avLst/>
          </a:prstGeom>
          <a:noFill/>
        </p:spPr>
        <p:txBody>
          <a:bodyPr wrap="square" rtlCol="0">
            <a:spAutoFit/>
          </a:bodyPr>
          <a:lstStyle/>
          <a:p>
            <a:pPr algn="r"/>
            <a:fld id="{90F21B5F-06DF-1840-B2F7-3636C65A51F9}" type="slidenum">
              <a:rPr lang="en-US" sz="1200" b="0" i="0" smtClean="0">
                <a:solidFill>
                  <a:schemeClr val="bg1"/>
                </a:solidFill>
                <a:latin typeface="Montserrat Medium" pitchFamily="2" charset="77"/>
              </a:rPr>
              <a:pPr algn="r"/>
              <a:t>‹#›</a:t>
            </a:fld>
            <a:endParaRPr lang="en-US" sz="1200" b="0" i="0" dirty="0">
              <a:solidFill>
                <a:schemeClr val="bg1"/>
              </a:solidFill>
              <a:latin typeface="Montserrat Medium" pitchFamily="2" charset="77"/>
            </a:endParaRPr>
          </a:p>
        </p:txBody>
      </p:sp>
      <p:sp>
        <p:nvSpPr>
          <p:cNvPr id="9" name="TextBox 8">
            <a:extLst>
              <a:ext uri="{FF2B5EF4-FFF2-40B4-BE49-F238E27FC236}">
                <a16:creationId xmlns:a16="http://schemas.microsoft.com/office/drawing/2014/main" id="{47DA6BAB-A4FE-E945-99F3-FAA70212572B}"/>
              </a:ext>
            </a:extLst>
          </p:cNvPr>
          <p:cNvSpPr txBox="1"/>
          <p:nvPr userDrawn="1"/>
        </p:nvSpPr>
        <p:spPr>
          <a:xfrm>
            <a:off x="11463528" y="6260592"/>
            <a:ext cx="521208" cy="276999"/>
          </a:xfrm>
          <a:prstGeom prst="rect">
            <a:avLst/>
          </a:prstGeom>
          <a:noFill/>
        </p:spPr>
        <p:txBody>
          <a:bodyPr wrap="square" rtlCol="0">
            <a:spAutoFit/>
          </a:bodyPr>
          <a:lstStyle/>
          <a:p>
            <a:pPr algn="r"/>
            <a:fld id="{90F21B5F-06DF-1840-B2F7-3636C65A51F9}" type="slidenum">
              <a:rPr lang="en-US" sz="1200" b="0" i="0" smtClean="0">
                <a:solidFill>
                  <a:schemeClr val="bg1">
                    <a:lumMod val="65000"/>
                  </a:schemeClr>
                </a:solidFill>
                <a:latin typeface="Montserrat Medium" pitchFamily="2" charset="77"/>
              </a:rPr>
              <a:pPr algn="r"/>
              <a:t>‹#›</a:t>
            </a:fld>
            <a:endParaRPr lang="en-US" sz="1200" b="0" i="0" dirty="0">
              <a:solidFill>
                <a:schemeClr val="bg1">
                  <a:lumMod val="65000"/>
                </a:schemeClr>
              </a:solidFill>
              <a:latin typeface="Montserrat Medium" pitchFamily="2" charset="77"/>
            </a:endParaRPr>
          </a:p>
        </p:txBody>
      </p:sp>
      <p:sp>
        <p:nvSpPr>
          <p:cNvPr id="10" name="Rectangle 9">
            <a:extLst>
              <a:ext uri="{FF2B5EF4-FFF2-40B4-BE49-F238E27FC236}">
                <a16:creationId xmlns:a16="http://schemas.microsoft.com/office/drawing/2014/main" id="{DF03549B-0803-754F-9635-CE3109E84F6E}"/>
              </a:ext>
            </a:extLst>
          </p:cNvPr>
          <p:cNvSpPr/>
          <p:nvPr userDrawn="1"/>
        </p:nvSpPr>
        <p:spPr>
          <a:xfrm>
            <a:off x="10309421" y="6527307"/>
            <a:ext cx="1808508" cy="215444"/>
          </a:xfrm>
          <a:prstGeom prst="rect">
            <a:avLst/>
          </a:prstGeom>
        </p:spPr>
        <p:txBody>
          <a:bodyPr wrap="none">
            <a:spAutoFit/>
          </a:bodyPr>
          <a:lstStyle/>
          <a:p>
            <a:r>
              <a:rPr lang="en-US" sz="800" b="0" dirty="0">
                <a:solidFill>
                  <a:schemeClr val="bg1">
                    <a:lumMod val="75000"/>
                  </a:schemeClr>
                </a:solidFill>
                <a:effectLst/>
                <a:latin typeface="Montserrat" pitchFamily="2" charset="77"/>
              </a:rPr>
              <a:t>©2022 ESIG. All rights Reserved.</a:t>
            </a:r>
            <a:endParaRPr lang="en-US" sz="800" b="0" dirty="0">
              <a:solidFill>
                <a:schemeClr val="bg1">
                  <a:lumMod val="75000"/>
                </a:schemeClr>
              </a:solidFill>
              <a:effectLst/>
              <a:latin typeface="Montserrat SemiBold" pitchFamily="2" charset="77"/>
            </a:endParaRPr>
          </a:p>
        </p:txBody>
      </p:sp>
      <p:sp>
        <p:nvSpPr>
          <p:cNvPr id="5" name="TextBox 4">
            <a:extLst>
              <a:ext uri="{FF2B5EF4-FFF2-40B4-BE49-F238E27FC236}">
                <a16:creationId xmlns:a16="http://schemas.microsoft.com/office/drawing/2014/main" id="{B24B3583-FCEF-F245-8A7A-6DC03E730E3E}"/>
              </a:ext>
            </a:extLst>
          </p:cNvPr>
          <p:cNvSpPr txBox="1"/>
          <p:nvPr userDrawn="1"/>
        </p:nvSpPr>
        <p:spPr>
          <a:xfrm>
            <a:off x="6474241" y="2777334"/>
            <a:ext cx="2817677" cy="1754326"/>
          </a:xfrm>
          <a:prstGeom prst="rect">
            <a:avLst/>
          </a:prstGeom>
          <a:noFill/>
        </p:spPr>
        <p:txBody>
          <a:bodyPr wrap="square" rtlCol="0">
            <a:spAutoFit/>
          </a:bodyPr>
          <a:lstStyle/>
          <a:p>
            <a:r>
              <a:rPr lang="en-US" sz="5400" b="0" i="0" dirty="0">
                <a:solidFill>
                  <a:srgbClr val="F15934"/>
                </a:solidFill>
                <a:latin typeface="Arial" panose="020B0604020202020204" pitchFamily="34" charset="0"/>
                <a:cs typeface="Arial" panose="020B0604020202020204" pitchFamily="34" charset="0"/>
              </a:rPr>
              <a:t>THANK </a:t>
            </a:r>
          </a:p>
          <a:p>
            <a:r>
              <a:rPr lang="en-US" sz="5400" b="0" i="0" dirty="0">
                <a:solidFill>
                  <a:srgbClr val="F15934"/>
                </a:solidFill>
                <a:latin typeface="Arial" panose="020B0604020202020204" pitchFamily="34" charset="0"/>
                <a:cs typeface="Arial" panose="020B0604020202020204" pitchFamily="34" charset="0"/>
              </a:rPr>
              <a:t>YOU</a:t>
            </a:r>
          </a:p>
        </p:txBody>
      </p:sp>
      <p:sp>
        <p:nvSpPr>
          <p:cNvPr id="13" name="Text Placeholder 9">
            <a:extLst>
              <a:ext uri="{FF2B5EF4-FFF2-40B4-BE49-F238E27FC236}">
                <a16:creationId xmlns:a16="http://schemas.microsoft.com/office/drawing/2014/main" id="{B518C828-5381-C946-9457-D9797D1A4D68}"/>
              </a:ext>
            </a:extLst>
          </p:cNvPr>
          <p:cNvSpPr>
            <a:spLocks noGrp="1"/>
          </p:cNvSpPr>
          <p:nvPr>
            <p:ph type="body" sz="quarter" idx="10" hasCustomPrompt="1"/>
          </p:nvPr>
        </p:nvSpPr>
        <p:spPr>
          <a:xfrm>
            <a:off x="6583806" y="4855528"/>
            <a:ext cx="3985582" cy="329120"/>
          </a:xfrm>
          <a:prstGeom prst="rect">
            <a:avLst/>
          </a:prstGeom>
        </p:spPr>
        <p:txBody>
          <a:bodyPr/>
          <a:lstStyle>
            <a:lvl1pPr marL="0" indent="0">
              <a:buNone/>
              <a:defRPr sz="2000" b="0" i="0">
                <a:solidFill>
                  <a:srgbClr val="4297CB"/>
                </a:solidFill>
                <a:latin typeface="Arial" panose="020B0604020202020204" pitchFamily="34" charset="0"/>
                <a:cs typeface="Arial" panose="020B0604020202020204" pitchFamily="34" charset="0"/>
              </a:defRPr>
            </a:lvl1pPr>
            <a:lvl2pPr marL="285750" indent="0">
              <a:buNone/>
              <a:defRPr b="1" i="0">
                <a:latin typeface="Montserrat SemiBold" pitchFamily="2" charset="77"/>
              </a:defRPr>
            </a:lvl2pPr>
            <a:lvl3pPr marL="682625" indent="0">
              <a:buNone/>
              <a:defRPr b="1" i="0">
                <a:latin typeface="Montserrat SemiBold" pitchFamily="2" charset="77"/>
              </a:defRPr>
            </a:lvl3pPr>
            <a:lvl4pPr marL="1092200" indent="0">
              <a:buNone/>
              <a:defRPr b="1" i="0">
                <a:latin typeface="Montserrat SemiBold" pitchFamily="2" charset="77"/>
              </a:defRPr>
            </a:lvl4pPr>
            <a:lvl5pPr marL="1377950" indent="0">
              <a:buNone/>
              <a:defRPr b="1" i="0">
                <a:latin typeface="Montserrat SemiBold" pitchFamily="2" charset="77"/>
              </a:defRPr>
            </a:lvl5pPr>
          </a:lstStyle>
          <a:p>
            <a:pPr lvl="0"/>
            <a:r>
              <a:rPr lang="en-US" dirty="0"/>
              <a:t>Author</a:t>
            </a:r>
          </a:p>
        </p:txBody>
      </p:sp>
      <p:sp>
        <p:nvSpPr>
          <p:cNvPr id="14" name="Text Placeholder 9">
            <a:extLst>
              <a:ext uri="{FF2B5EF4-FFF2-40B4-BE49-F238E27FC236}">
                <a16:creationId xmlns:a16="http://schemas.microsoft.com/office/drawing/2014/main" id="{4D026F84-2862-5545-9177-281BB9EEFA8C}"/>
              </a:ext>
            </a:extLst>
          </p:cNvPr>
          <p:cNvSpPr>
            <a:spLocks noGrp="1"/>
          </p:cNvSpPr>
          <p:nvPr>
            <p:ph type="body" sz="quarter" idx="12" hasCustomPrompt="1"/>
          </p:nvPr>
        </p:nvSpPr>
        <p:spPr>
          <a:xfrm>
            <a:off x="6583806" y="5365375"/>
            <a:ext cx="3985582" cy="662671"/>
          </a:xfrm>
          <a:prstGeom prst="rect">
            <a:avLst/>
          </a:prstGeom>
        </p:spPr>
        <p:txBody>
          <a:bodyPr anchor="b"/>
          <a:lstStyle>
            <a:lvl1pPr marL="0" indent="0">
              <a:buNone/>
              <a:defRPr sz="1500" b="0" i="0">
                <a:solidFill>
                  <a:schemeClr val="tx1"/>
                </a:solidFill>
                <a:latin typeface="Arial" panose="020B0604020202020204" pitchFamily="34" charset="0"/>
                <a:cs typeface="Arial" panose="020B0604020202020204" pitchFamily="34" charset="0"/>
              </a:defRPr>
            </a:lvl1pPr>
            <a:lvl2pPr marL="285750" indent="0">
              <a:buNone/>
              <a:defRPr b="1" i="0">
                <a:latin typeface="Montserrat SemiBold" pitchFamily="2" charset="77"/>
              </a:defRPr>
            </a:lvl2pPr>
            <a:lvl3pPr marL="682625" indent="0">
              <a:buNone/>
              <a:defRPr b="1" i="0">
                <a:latin typeface="Montserrat SemiBold" pitchFamily="2" charset="77"/>
              </a:defRPr>
            </a:lvl3pPr>
            <a:lvl4pPr marL="1092200" indent="0">
              <a:buNone/>
              <a:defRPr b="1" i="0">
                <a:latin typeface="Montserrat SemiBold" pitchFamily="2" charset="77"/>
              </a:defRPr>
            </a:lvl4pPr>
            <a:lvl5pPr marL="1377950" indent="0">
              <a:buNone/>
              <a:defRPr b="1" i="0">
                <a:latin typeface="Montserrat SemiBold" pitchFamily="2" charset="77"/>
              </a:defRPr>
            </a:lvl5pPr>
          </a:lstStyle>
          <a:p>
            <a:pPr lvl="0"/>
            <a:r>
              <a:rPr lang="en-US" dirty="0"/>
              <a:t>Contact info</a:t>
            </a:r>
          </a:p>
        </p:txBody>
      </p:sp>
    </p:spTree>
    <p:extLst>
      <p:ext uri="{BB962C8B-B14F-4D97-AF65-F5344CB8AC3E}">
        <p14:creationId xmlns:p14="http://schemas.microsoft.com/office/powerpoint/2010/main" val="10200676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Solar Wind Transmission 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4EF037E-1515-D44E-A5DB-0BE68F0BA7E9}"/>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87FA361-B9CF-AA44-9A7F-8877060D9205}"/>
              </a:ext>
            </a:extLst>
          </p:cNvPr>
          <p:cNvSpPr/>
          <p:nvPr userDrawn="1"/>
        </p:nvSpPr>
        <p:spPr>
          <a:xfrm>
            <a:off x="0" y="1627632"/>
            <a:ext cx="7059168" cy="2286000"/>
          </a:xfrm>
          <a:prstGeom prst="rect">
            <a:avLst/>
          </a:prstGeom>
          <a:solidFill>
            <a:srgbClr val="F15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1">
            <a:extLst>
              <a:ext uri="{FF2B5EF4-FFF2-40B4-BE49-F238E27FC236}">
                <a16:creationId xmlns:a16="http://schemas.microsoft.com/office/drawing/2014/main" id="{0B0BD53B-63A9-494A-95A4-00F2B3AF84AB}"/>
              </a:ext>
            </a:extLst>
          </p:cNvPr>
          <p:cNvSpPr>
            <a:spLocks noGrp="1"/>
          </p:cNvSpPr>
          <p:nvPr>
            <p:ph type="title"/>
          </p:nvPr>
        </p:nvSpPr>
        <p:spPr>
          <a:xfrm>
            <a:off x="762000" y="1624307"/>
            <a:ext cx="5940552" cy="2289325"/>
          </a:xfrm>
          <a:prstGeom prst="rect">
            <a:avLst/>
          </a:prstGeom>
        </p:spPr>
        <p:txBody>
          <a:bodyPr lIns="0" anchor="ctr"/>
          <a:lstStyle>
            <a:lvl1pPr>
              <a:defRPr b="0" i="0">
                <a:solidFill>
                  <a:schemeClr val="bg1"/>
                </a:solidFill>
                <a:latin typeface="Montserrat" pitchFamily="2" charset="77"/>
              </a:defRPr>
            </a:lvl1pPr>
          </a:lstStyle>
          <a:p>
            <a:r>
              <a:rPr lang="en-US"/>
              <a:t>Click to edit Master title style</a:t>
            </a:r>
            <a:endParaRPr lang="en-US" dirty="0"/>
          </a:p>
        </p:txBody>
      </p:sp>
      <p:pic>
        <p:nvPicPr>
          <p:cNvPr id="6" name="Picture 5">
            <a:extLst>
              <a:ext uri="{FF2B5EF4-FFF2-40B4-BE49-F238E27FC236}">
                <a16:creationId xmlns:a16="http://schemas.microsoft.com/office/drawing/2014/main" id="{3AF1AF86-4775-4B49-9184-091E9128735F}"/>
              </a:ext>
            </a:extLst>
          </p:cNvPr>
          <p:cNvPicPr>
            <a:picLocks noChangeAspect="1"/>
          </p:cNvPicPr>
          <p:nvPr userDrawn="1"/>
        </p:nvPicPr>
        <p:blipFill>
          <a:blip r:embed="rId3"/>
          <a:stretch>
            <a:fillRect/>
          </a:stretch>
        </p:blipFill>
        <p:spPr>
          <a:xfrm>
            <a:off x="490728" y="4123944"/>
            <a:ext cx="1711757" cy="2139696"/>
          </a:xfrm>
          <a:prstGeom prst="rect">
            <a:avLst/>
          </a:prstGeom>
        </p:spPr>
      </p:pic>
      <p:sp>
        <p:nvSpPr>
          <p:cNvPr id="11" name="Rectangle 10">
            <a:extLst>
              <a:ext uri="{FF2B5EF4-FFF2-40B4-BE49-F238E27FC236}">
                <a16:creationId xmlns:a16="http://schemas.microsoft.com/office/drawing/2014/main" id="{A7F1C996-3C78-604E-8E86-C9A00628EBA6}"/>
              </a:ext>
            </a:extLst>
          </p:cNvPr>
          <p:cNvSpPr/>
          <p:nvPr userDrawn="1"/>
        </p:nvSpPr>
        <p:spPr>
          <a:xfrm>
            <a:off x="10157021" y="6384051"/>
            <a:ext cx="1808508" cy="215444"/>
          </a:xfrm>
          <a:prstGeom prst="rect">
            <a:avLst/>
          </a:prstGeom>
        </p:spPr>
        <p:txBody>
          <a:bodyPr wrap="none">
            <a:spAutoFit/>
          </a:bodyPr>
          <a:lstStyle/>
          <a:p>
            <a:pPr algn="r"/>
            <a:r>
              <a:rPr lang="en-US" sz="800" b="0" dirty="0">
                <a:solidFill>
                  <a:schemeClr val="bg1"/>
                </a:solidFill>
                <a:effectLst/>
                <a:latin typeface="Montserrat" pitchFamily="2" charset="77"/>
              </a:rPr>
              <a:t>©2022 ESIG. All rights Reserved.</a:t>
            </a:r>
            <a:endParaRPr lang="en-US" sz="800" b="0" dirty="0">
              <a:solidFill>
                <a:schemeClr val="bg1"/>
              </a:solidFill>
              <a:effectLst/>
              <a:latin typeface="Montserrat SemiBold" pitchFamily="2" charset="77"/>
            </a:endParaRPr>
          </a:p>
        </p:txBody>
      </p:sp>
      <p:sp>
        <p:nvSpPr>
          <p:cNvPr id="10" name="Text Placeholder 9">
            <a:extLst>
              <a:ext uri="{FF2B5EF4-FFF2-40B4-BE49-F238E27FC236}">
                <a16:creationId xmlns:a16="http://schemas.microsoft.com/office/drawing/2014/main" id="{0460FF1C-9402-E445-BD47-14385E4B9F4B}"/>
              </a:ext>
            </a:extLst>
          </p:cNvPr>
          <p:cNvSpPr>
            <a:spLocks noGrp="1"/>
          </p:cNvSpPr>
          <p:nvPr>
            <p:ph type="body" sz="quarter" idx="10" hasCustomPrompt="1"/>
          </p:nvPr>
        </p:nvSpPr>
        <p:spPr>
          <a:xfrm>
            <a:off x="2240406" y="4398328"/>
            <a:ext cx="3319145" cy="329120"/>
          </a:xfrm>
          <a:prstGeom prst="rect">
            <a:avLst/>
          </a:prstGeom>
        </p:spPr>
        <p:txBody>
          <a:bodyPr/>
          <a:lstStyle>
            <a:lvl1pPr marL="0" indent="0">
              <a:buNone/>
              <a:defRPr sz="2000" b="0" i="0">
                <a:latin typeface="Montserrat SemiBold" pitchFamily="2" charset="77"/>
              </a:defRPr>
            </a:lvl1pPr>
            <a:lvl2pPr marL="285750" indent="0">
              <a:buNone/>
              <a:defRPr b="1" i="0">
                <a:latin typeface="Montserrat SemiBold" pitchFamily="2" charset="77"/>
              </a:defRPr>
            </a:lvl2pPr>
            <a:lvl3pPr marL="682625" indent="0">
              <a:buNone/>
              <a:defRPr b="1" i="0">
                <a:latin typeface="Montserrat SemiBold" pitchFamily="2" charset="77"/>
              </a:defRPr>
            </a:lvl3pPr>
            <a:lvl4pPr marL="1092200" indent="0">
              <a:buNone/>
              <a:defRPr b="1" i="0">
                <a:latin typeface="Montserrat SemiBold" pitchFamily="2" charset="77"/>
              </a:defRPr>
            </a:lvl4pPr>
            <a:lvl5pPr marL="1377950" indent="0">
              <a:buNone/>
              <a:defRPr b="1" i="0">
                <a:latin typeface="Montserrat SemiBold" pitchFamily="2" charset="77"/>
              </a:defRPr>
            </a:lvl5pPr>
          </a:lstStyle>
          <a:p>
            <a:pPr lvl="0"/>
            <a:r>
              <a:rPr lang="en-US" dirty="0"/>
              <a:t>Author</a:t>
            </a:r>
          </a:p>
        </p:txBody>
      </p:sp>
      <p:sp>
        <p:nvSpPr>
          <p:cNvPr id="16" name="Text Placeholder 9">
            <a:extLst>
              <a:ext uri="{FF2B5EF4-FFF2-40B4-BE49-F238E27FC236}">
                <a16:creationId xmlns:a16="http://schemas.microsoft.com/office/drawing/2014/main" id="{9BD7D460-B1F8-C645-9A81-CE89457E5765}"/>
              </a:ext>
            </a:extLst>
          </p:cNvPr>
          <p:cNvSpPr>
            <a:spLocks noGrp="1"/>
          </p:cNvSpPr>
          <p:nvPr>
            <p:ph type="body" sz="quarter" idx="11" hasCustomPrompt="1"/>
          </p:nvPr>
        </p:nvSpPr>
        <p:spPr>
          <a:xfrm>
            <a:off x="2240406" y="5769864"/>
            <a:ext cx="3319145" cy="313880"/>
          </a:xfrm>
          <a:prstGeom prst="rect">
            <a:avLst/>
          </a:prstGeom>
        </p:spPr>
        <p:txBody>
          <a:bodyPr bIns="0" anchor="b"/>
          <a:lstStyle>
            <a:lvl1pPr marL="0" indent="0">
              <a:buNone/>
              <a:defRPr sz="1600" b="0" i="0">
                <a:latin typeface="Montserrat SemiBold" pitchFamily="2" charset="77"/>
              </a:defRPr>
            </a:lvl1pPr>
            <a:lvl2pPr marL="285750" indent="0">
              <a:buNone/>
              <a:defRPr b="1" i="0">
                <a:latin typeface="Montserrat SemiBold" pitchFamily="2" charset="77"/>
              </a:defRPr>
            </a:lvl2pPr>
            <a:lvl3pPr marL="682625" indent="0">
              <a:buNone/>
              <a:defRPr b="1" i="0">
                <a:latin typeface="Montserrat SemiBold" pitchFamily="2" charset="77"/>
              </a:defRPr>
            </a:lvl3pPr>
            <a:lvl4pPr marL="1092200" indent="0">
              <a:buNone/>
              <a:defRPr b="1" i="0">
                <a:latin typeface="Montserrat SemiBold" pitchFamily="2" charset="77"/>
              </a:defRPr>
            </a:lvl4pPr>
            <a:lvl5pPr marL="1377950" indent="0">
              <a:buNone/>
              <a:defRPr b="1" i="0">
                <a:latin typeface="Montserrat SemiBold" pitchFamily="2" charset="77"/>
              </a:defRPr>
            </a:lvl5pPr>
          </a:lstStyle>
          <a:p>
            <a:pPr lvl="0"/>
            <a:r>
              <a:rPr lang="en-US" dirty="0"/>
              <a:t>DATE</a:t>
            </a:r>
          </a:p>
        </p:txBody>
      </p:sp>
      <p:sp>
        <p:nvSpPr>
          <p:cNvPr id="17" name="Text Placeholder 9">
            <a:extLst>
              <a:ext uri="{FF2B5EF4-FFF2-40B4-BE49-F238E27FC236}">
                <a16:creationId xmlns:a16="http://schemas.microsoft.com/office/drawing/2014/main" id="{DD562705-0365-624A-A976-0B0D5BCFC314}"/>
              </a:ext>
            </a:extLst>
          </p:cNvPr>
          <p:cNvSpPr>
            <a:spLocks noGrp="1"/>
          </p:cNvSpPr>
          <p:nvPr>
            <p:ph type="body" sz="quarter" idx="12" hasCustomPrompt="1"/>
          </p:nvPr>
        </p:nvSpPr>
        <p:spPr>
          <a:xfrm>
            <a:off x="2240406" y="4800600"/>
            <a:ext cx="3319145" cy="877824"/>
          </a:xfrm>
          <a:prstGeom prst="rect">
            <a:avLst/>
          </a:prstGeom>
        </p:spPr>
        <p:txBody>
          <a:bodyPr/>
          <a:lstStyle>
            <a:lvl1pPr marL="0" indent="0">
              <a:buNone/>
              <a:defRPr sz="1500" b="0" i="1">
                <a:latin typeface="Montserrat" pitchFamily="2" charset="77"/>
              </a:defRPr>
            </a:lvl1pPr>
            <a:lvl2pPr marL="285750" indent="0">
              <a:buNone/>
              <a:defRPr b="1" i="0">
                <a:latin typeface="Montserrat SemiBold" pitchFamily="2" charset="77"/>
              </a:defRPr>
            </a:lvl2pPr>
            <a:lvl3pPr marL="682625" indent="0">
              <a:buNone/>
              <a:defRPr b="1" i="0">
                <a:latin typeface="Montserrat SemiBold" pitchFamily="2" charset="77"/>
              </a:defRPr>
            </a:lvl3pPr>
            <a:lvl4pPr marL="1092200" indent="0">
              <a:buNone/>
              <a:defRPr b="1" i="0">
                <a:latin typeface="Montserrat SemiBold" pitchFamily="2" charset="77"/>
              </a:defRPr>
            </a:lvl4pPr>
            <a:lvl5pPr marL="1377950" indent="0">
              <a:buNone/>
              <a:defRPr b="1" i="0">
                <a:latin typeface="Montserrat SemiBold" pitchFamily="2" charset="77"/>
              </a:defRPr>
            </a:lvl5pPr>
          </a:lstStyle>
          <a:p>
            <a:pPr lvl="0"/>
            <a:r>
              <a:rPr lang="en-US" dirty="0"/>
              <a:t>Author title</a:t>
            </a:r>
          </a:p>
        </p:txBody>
      </p:sp>
    </p:spTree>
    <p:extLst>
      <p:ext uri="{BB962C8B-B14F-4D97-AF65-F5344CB8AC3E}">
        <p14:creationId xmlns:p14="http://schemas.microsoft.com/office/powerpoint/2010/main" val="370399764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2_Title, Content and Phot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4DB68AD-5D1E-DB4B-91F2-5C15BA550E7B}"/>
              </a:ext>
            </a:extLst>
          </p:cNvPr>
          <p:cNvPicPr>
            <a:picLocks noChangeAspect="1"/>
          </p:cNvPicPr>
          <p:nvPr userDrawn="1"/>
        </p:nvPicPr>
        <p:blipFill rotWithShape="1">
          <a:blip r:embed="rId2"/>
          <a:srcRect t="375"/>
          <a:stretch/>
        </p:blipFill>
        <p:spPr>
          <a:xfrm>
            <a:off x="0" y="0"/>
            <a:ext cx="12207240" cy="2432304"/>
          </a:xfrm>
          <a:prstGeom prst="rect">
            <a:avLst/>
          </a:prstGeom>
        </p:spPr>
      </p:pic>
      <p:sp>
        <p:nvSpPr>
          <p:cNvPr id="4" name="Title 1">
            <a:extLst>
              <a:ext uri="{FF2B5EF4-FFF2-40B4-BE49-F238E27FC236}">
                <a16:creationId xmlns:a16="http://schemas.microsoft.com/office/drawing/2014/main" id="{D2776BFF-2D8E-5443-9DD8-7518895CAD4D}"/>
              </a:ext>
            </a:extLst>
          </p:cNvPr>
          <p:cNvSpPr>
            <a:spLocks noGrp="1"/>
          </p:cNvSpPr>
          <p:nvPr>
            <p:ph type="title"/>
          </p:nvPr>
        </p:nvSpPr>
        <p:spPr>
          <a:xfrm>
            <a:off x="762000" y="0"/>
            <a:ext cx="10018776" cy="2423159"/>
          </a:xfrm>
          <a:prstGeom prst="rect">
            <a:avLst/>
          </a:prstGeom>
        </p:spPr>
        <p:txBody>
          <a:bodyPr lIns="0" anchor="ctr"/>
          <a:lstStyle>
            <a:lvl1pPr>
              <a:defRPr b="0" i="0">
                <a:solidFill>
                  <a:schemeClr val="bg1"/>
                </a:solidFill>
                <a:latin typeface="Montserrat" pitchFamily="2" charset="77"/>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A05724B2-146D-9345-A327-28E9CF8BDE81}"/>
              </a:ext>
            </a:extLst>
          </p:cNvPr>
          <p:cNvSpPr>
            <a:spLocks noGrp="1"/>
          </p:cNvSpPr>
          <p:nvPr>
            <p:ph sz="quarter" idx="10"/>
          </p:nvPr>
        </p:nvSpPr>
        <p:spPr>
          <a:xfrm>
            <a:off x="762000" y="3118104"/>
            <a:ext cx="10576560" cy="3172968"/>
          </a:xfrm>
          <a:prstGeom prst="rect">
            <a:avLst/>
          </a:prstGeom>
        </p:spPr>
        <p:txBody>
          <a:bodyPr/>
          <a:lstStyle>
            <a:lvl1pPr marL="117475" indent="-117475">
              <a:buClr>
                <a:srgbClr val="F15934"/>
              </a:buClr>
              <a:buSzPct val="60000"/>
              <a:tabLst/>
              <a:defRPr sz="1800" b="0" i="0">
                <a:solidFill>
                  <a:schemeClr val="tx1">
                    <a:lumMod val="50000"/>
                    <a:lumOff val="50000"/>
                  </a:schemeClr>
                </a:solidFill>
                <a:latin typeface="Adobe Garamond Pro" panose="02020502060506020403" pitchFamily="18" charset="77"/>
              </a:defRPr>
            </a:lvl1pPr>
            <a:lvl2pPr>
              <a:buClr>
                <a:srgbClr val="F15934"/>
              </a:buClr>
              <a:buSzPct val="60000"/>
              <a:defRPr sz="1800" b="0" i="0">
                <a:solidFill>
                  <a:schemeClr val="tx1">
                    <a:lumMod val="50000"/>
                    <a:lumOff val="50000"/>
                  </a:schemeClr>
                </a:solidFill>
                <a:latin typeface="Adobe Garamond Pro" panose="02020502060506020403" pitchFamily="18" charset="77"/>
              </a:defRPr>
            </a:lvl2pPr>
            <a:lvl3pPr>
              <a:buClr>
                <a:srgbClr val="F15934"/>
              </a:buClr>
              <a:buSzPct val="60000"/>
              <a:defRPr sz="1600" b="0" i="0">
                <a:solidFill>
                  <a:schemeClr val="tx1">
                    <a:lumMod val="50000"/>
                    <a:lumOff val="50000"/>
                  </a:schemeClr>
                </a:solidFill>
                <a:latin typeface="Adobe Garamond Pro" panose="02020502060506020403" pitchFamily="18" charset="77"/>
              </a:defRPr>
            </a:lvl3pPr>
            <a:lvl4pPr>
              <a:buClr>
                <a:srgbClr val="F15934"/>
              </a:buClr>
              <a:buSzPct val="60000"/>
              <a:defRPr sz="1600" b="0" i="0">
                <a:solidFill>
                  <a:schemeClr val="tx1">
                    <a:lumMod val="50000"/>
                    <a:lumOff val="50000"/>
                  </a:schemeClr>
                </a:solidFill>
                <a:latin typeface="Adobe Garamond Pro" panose="02020502060506020403" pitchFamily="18" charset="77"/>
              </a:defRPr>
            </a:lvl4pPr>
            <a:lvl5pPr>
              <a:buClr>
                <a:srgbClr val="F15934"/>
              </a:buClr>
              <a:buSzPct val="60000"/>
              <a:defRPr sz="1600" b="0" i="0">
                <a:solidFill>
                  <a:schemeClr val="tx1">
                    <a:lumMod val="50000"/>
                    <a:lumOff val="50000"/>
                  </a:schemeClr>
                </a:solidFill>
                <a:latin typeface="Adobe Garamond Pro" panose="02020502060506020403" pitchFamily="18"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a:extLst>
              <a:ext uri="{FF2B5EF4-FFF2-40B4-BE49-F238E27FC236}">
                <a16:creationId xmlns:a16="http://schemas.microsoft.com/office/drawing/2014/main" id="{9626153A-BB35-364D-AAAE-F8CEF086FE95}"/>
              </a:ext>
            </a:extLst>
          </p:cNvPr>
          <p:cNvPicPr>
            <a:picLocks noChangeAspect="1"/>
          </p:cNvPicPr>
          <p:nvPr userDrawn="1"/>
        </p:nvPicPr>
        <p:blipFill>
          <a:blip r:embed="rId3"/>
          <a:stretch>
            <a:fillRect/>
          </a:stretch>
        </p:blipFill>
        <p:spPr>
          <a:xfrm>
            <a:off x="10942320" y="54864"/>
            <a:ext cx="1024129" cy="1280160"/>
          </a:xfrm>
          <a:prstGeom prst="rect">
            <a:avLst/>
          </a:prstGeom>
        </p:spPr>
      </p:pic>
      <p:sp>
        <p:nvSpPr>
          <p:cNvPr id="11" name="TextBox 10">
            <a:extLst>
              <a:ext uri="{FF2B5EF4-FFF2-40B4-BE49-F238E27FC236}">
                <a16:creationId xmlns:a16="http://schemas.microsoft.com/office/drawing/2014/main" id="{FFEDA725-0686-8D40-A57A-67430103B2F0}"/>
              </a:ext>
            </a:extLst>
          </p:cNvPr>
          <p:cNvSpPr txBox="1"/>
          <p:nvPr userDrawn="1"/>
        </p:nvSpPr>
        <p:spPr>
          <a:xfrm>
            <a:off x="11311128" y="6108192"/>
            <a:ext cx="521208" cy="276999"/>
          </a:xfrm>
          <a:prstGeom prst="rect">
            <a:avLst/>
          </a:prstGeom>
          <a:noFill/>
        </p:spPr>
        <p:txBody>
          <a:bodyPr wrap="square" rtlCol="0">
            <a:spAutoFit/>
          </a:bodyPr>
          <a:lstStyle/>
          <a:p>
            <a:pPr algn="r"/>
            <a:fld id="{90F21B5F-06DF-1840-B2F7-3636C65A51F9}" type="slidenum">
              <a:rPr lang="en-US" sz="1200" b="0" i="0" smtClean="0">
                <a:solidFill>
                  <a:schemeClr val="bg1">
                    <a:lumMod val="65000"/>
                  </a:schemeClr>
                </a:solidFill>
                <a:latin typeface="Montserrat Medium" pitchFamily="2" charset="77"/>
              </a:rPr>
              <a:pPr algn="r"/>
              <a:t>‹#›</a:t>
            </a:fld>
            <a:endParaRPr lang="en-US" sz="1200" b="0" i="0" dirty="0">
              <a:solidFill>
                <a:schemeClr val="bg1">
                  <a:lumMod val="65000"/>
                </a:schemeClr>
              </a:solidFill>
              <a:latin typeface="Montserrat Medium" pitchFamily="2" charset="77"/>
            </a:endParaRPr>
          </a:p>
        </p:txBody>
      </p:sp>
      <p:sp>
        <p:nvSpPr>
          <p:cNvPr id="12" name="Rectangle 11">
            <a:extLst>
              <a:ext uri="{FF2B5EF4-FFF2-40B4-BE49-F238E27FC236}">
                <a16:creationId xmlns:a16="http://schemas.microsoft.com/office/drawing/2014/main" id="{19390071-B18E-E241-8082-DE4EF3E5EAE8}"/>
              </a:ext>
            </a:extLst>
          </p:cNvPr>
          <p:cNvSpPr/>
          <p:nvPr userDrawn="1"/>
        </p:nvSpPr>
        <p:spPr>
          <a:xfrm>
            <a:off x="10157021" y="6374907"/>
            <a:ext cx="1808508" cy="215444"/>
          </a:xfrm>
          <a:prstGeom prst="rect">
            <a:avLst/>
          </a:prstGeom>
        </p:spPr>
        <p:txBody>
          <a:bodyPr wrap="none">
            <a:spAutoFit/>
          </a:bodyPr>
          <a:lstStyle/>
          <a:p>
            <a:r>
              <a:rPr lang="en-US" sz="800" b="0" dirty="0">
                <a:solidFill>
                  <a:schemeClr val="bg1">
                    <a:lumMod val="75000"/>
                  </a:schemeClr>
                </a:solidFill>
                <a:effectLst/>
                <a:latin typeface="Montserrat" pitchFamily="2" charset="77"/>
              </a:rPr>
              <a:t>©2022 ESIG. All rights Reserved.</a:t>
            </a:r>
            <a:endParaRPr lang="en-US" sz="800" b="0" dirty="0">
              <a:solidFill>
                <a:schemeClr val="bg1">
                  <a:lumMod val="75000"/>
                </a:schemeClr>
              </a:solidFill>
              <a:effectLst/>
              <a:latin typeface="Montserrat SemiBold" pitchFamily="2" charset="77"/>
            </a:endParaRPr>
          </a:p>
        </p:txBody>
      </p:sp>
    </p:spTree>
    <p:extLst>
      <p:ext uri="{BB962C8B-B14F-4D97-AF65-F5344CB8AC3E}">
        <p14:creationId xmlns:p14="http://schemas.microsoft.com/office/powerpoint/2010/main" val="7070924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uthor Bio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4DB68AD-5D1E-DB4B-91F2-5C15BA550E7B}"/>
              </a:ext>
            </a:extLst>
          </p:cNvPr>
          <p:cNvPicPr>
            <a:picLocks noChangeAspect="1"/>
          </p:cNvPicPr>
          <p:nvPr userDrawn="1"/>
        </p:nvPicPr>
        <p:blipFill rotWithShape="1">
          <a:blip r:embed="rId2"/>
          <a:srcRect t="375"/>
          <a:stretch/>
        </p:blipFill>
        <p:spPr>
          <a:xfrm>
            <a:off x="0" y="0"/>
            <a:ext cx="12207240" cy="2432304"/>
          </a:xfrm>
          <a:prstGeom prst="rect">
            <a:avLst/>
          </a:prstGeom>
        </p:spPr>
      </p:pic>
      <p:sp>
        <p:nvSpPr>
          <p:cNvPr id="4" name="Title 1">
            <a:extLst>
              <a:ext uri="{FF2B5EF4-FFF2-40B4-BE49-F238E27FC236}">
                <a16:creationId xmlns:a16="http://schemas.microsoft.com/office/drawing/2014/main" id="{D2776BFF-2D8E-5443-9DD8-7518895CAD4D}"/>
              </a:ext>
            </a:extLst>
          </p:cNvPr>
          <p:cNvSpPr>
            <a:spLocks noGrp="1"/>
          </p:cNvSpPr>
          <p:nvPr>
            <p:ph type="title"/>
          </p:nvPr>
        </p:nvSpPr>
        <p:spPr>
          <a:xfrm>
            <a:off x="762000" y="0"/>
            <a:ext cx="10018776" cy="2423159"/>
          </a:xfrm>
          <a:prstGeom prst="rect">
            <a:avLst/>
          </a:prstGeom>
        </p:spPr>
        <p:txBody>
          <a:bodyPr lIns="0" anchor="ctr"/>
          <a:lstStyle>
            <a:lvl1pPr>
              <a:defRPr b="0" i="0">
                <a:solidFill>
                  <a:schemeClr val="bg1"/>
                </a:solidFill>
                <a:latin typeface="Montserrat" pitchFamily="2" charset="77"/>
              </a:defRPr>
            </a:lvl1pPr>
          </a:lstStyle>
          <a:p>
            <a:r>
              <a:rPr lang="en-US"/>
              <a:t>Click to edit Master title style</a:t>
            </a:r>
            <a:endParaRPr lang="en-US" dirty="0"/>
          </a:p>
        </p:txBody>
      </p:sp>
      <p:pic>
        <p:nvPicPr>
          <p:cNvPr id="6" name="Picture 5">
            <a:extLst>
              <a:ext uri="{FF2B5EF4-FFF2-40B4-BE49-F238E27FC236}">
                <a16:creationId xmlns:a16="http://schemas.microsoft.com/office/drawing/2014/main" id="{9626153A-BB35-364D-AAAE-F8CEF086FE95}"/>
              </a:ext>
            </a:extLst>
          </p:cNvPr>
          <p:cNvPicPr>
            <a:picLocks noChangeAspect="1"/>
          </p:cNvPicPr>
          <p:nvPr userDrawn="1"/>
        </p:nvPicPr>
        <p:blipFill>
          <a:blip r:embed="rId3"/>
          <a:stretch>
            <a:fillRect/>
          </a:stretch>
        </p:blipFill>
        <p:spPr>
          <a:xfrm>
            <a:off x="10942320" y="54864"/>
            <a:ext cx="1024129" cy="1280160"/>
          </a:xfrm>
          <a:prstGeom prst="rect">
            <a:avLst/>
          </a:prstGeom>
        </p:spPr>
      </p:pic>
      <p:sp>
        <p:nvSpPr>
          <p:cNvPr id="11" name="TextBox 10">
            <a:extLst>
              <a:ext uri="{FF2B5EF4-FFF2-40B4-BE49-F238E27FC236}">
                <a16:creationId xmlns:a16="http://schemas.microsoft.com/office/drawing/2014/main" id="{FFEDA725-0686-8D40-A57A-67430103B2F0}"/>
              </a:ext>
            </a:extLst>
          </p:cNvPr>
          <p:cNvSpPr txBox="1"/>
          <p:nvPr userDrawn="1"/>
        </p:nvSpPr>
        <p:spPr>
          <a:xfrm>
            <a:off x="11311128" y="6108192"/>
            <a:ext cx="521208" cy="276999"/>
          </a:xfrm>
          <a:prstGeom prst="rect">
            <a:avLst/>
          </a:prstGeom>
          <a:noFill/>
        </p:spPr>
        <p:txBody>
          <a:bodyPr wrap="square" rtlCol="0">
            <a:spAutoFit/>
          </a:bodyPr>
          <a:lstStyle/>
          <a:p>
            <a:pPr algn="r"/>
            <a:fld id="{90F21B5F-06DF-1840-B2F7-3636C65A51F9}" type="slidenum">
              <a:rPr lang="en-US" sz="1200" b="0" i="0" smtClean="0">
                <a:solidFill>
                  <a:schemeClr val="bg1">
                    <a:lumMod val="65000"/>
                  </a:schemeClr>
                </a:solidFill>
                <a:latin typeface="Montserrat Medium" pitchFamily="2" charset="77"/>
              </a:rPr>
              <a:pPr algn="r"/>
              <a:t>‹#›</a:t>
            </a:fld>
            <a:endParaRPr lang="en-US" sz="1200" b="0" i="0" dirty="0">
              <a:solidFill>
                <a:schemeClr val="bg1">
                  <a:lumMod val="65000"/>
                </a:schemeClr>
              </a:solidFill>
              <a:latin typeface="Montserrat Medium" pitchFamily="2" charset="77"/>
            </a:endParaRPr>
          </a:p>
        </p:txBody>
      </p:sp>
      <p:sp>
        <p:nvSpPr>
          <p:cNvPr id="12" name="Rectangle 11">
            <a:extLst>
              <a:ext uri="{FF2B5EF4-FFF2-40B4-BE49-F238E27FC236}">
                <a16:creationId xmlns:a16="http://schemas.microsoft.com/office/drawing/2014/main" id="{19390071-B18E-E241-8082-DE4EF3E5EAE8}"/>
              </a:ext>
            </a:extLst>
          </p:cNvPr>
          <p:cNvSpPr/>
          <p:nvPr userDrawn="1"/>
        </p:nvSpPr>
        <p:spPr>
          <a:xfrm>
            <a:off x="10157021" y="6374907"/>
            <a:ext cx="1808508" cy="215444"/>
          </a:xfrm>
          <a:prstGeom prst="rect">
            <a:avLst/>
          </a:prstGeom>
        </p:spPr>
        <p:txBody>
          <a:bodyPr wrap="none">
            <a:spAutoFit/>
          </a:bodyPr>
          <a:lstStyle/>
          <a:p>
            <a:r>
              <a:rPr lang="en-US" sz="800" b="0" dirty="0">
                <a:solidFill>
                  <a:schemeClr val="bg1">
                    <a:lumMod val="75000"/>
                  </a:schemeClr>
                </a:solidFill>
                <a:effectLst/>
                <a:latin typeface="Montserrat" pitchFamily="2" charset="77"/>
              </a:rPr>
              <a:t>©2022 ESIG. All rights Reserved.</a:t>
            </a:r>
            <a:endParaRPr lang="en-US" sz="800" b="0" dirty="0">
              <a:solidFill>
                <a:schemeClr val="bg1">
                  <a:lumMod val="75000"/>
                </a:schemeClr>
              </a:solidFill>
              <a:effectLst/>
              <a:latin typeface="Montserrat SemiBold" pitchFamily="2" charset="77"/>
            </a:endParaRPr>
          </a:p>
        </p:txBody>
      </p:sp>
      <p:sp>
        <p:nvSpPr>
          <p:cNvPr id="7" name="Text Placeholder 6">
            <a:extLst>
              <a:ext uri="{FF2B5EF4-FFF2-40B4-BE49-F238E27FC236}">
                <a16:creationId xmlns:a16="http://schemas.microsoft.com/office/drawing/2014/main" id="{80608B13-5B2D-DC4D-A252-9B4F170B3C9C}"/>
              </a:ext>
            </a:extLst>
          </p:cNvPr>
          <p:cNvSpPr>
            <a:spLocks noGrp="1"/>
          </p:cNvSpPr>
          <p:nvPr>
            <p:ph type="body" sz="quarter" idx="10"/>
          </p:nvPr>
        </p:nvSpPr>
        <p:spPr>
          <a:xfrm>
            <a:off x="1316736" y="5669217"/>
            <a:ext cx="3264535" cy="283527"/>
          </a:xfrm>
          <a:prstGeom prst="rect">
            <a:avLst/>
          </a:prstGeom>
        </p:spPr>
        <p:txBody>
          <a:bodyPr/>
          <a:lstStyle>
            <a:lvl1pPr marL="0" indent="0" algn="ctr">
              <a:buNone/>
              <a:defRPr sz="1600">
                <a:solidFill>
                  <a:srgbClr val="204C82"/>
                </a:solidFill>
              </a:defRPr>
            </a:lvl1pPr>
          </a:lstStyle>
          <a:p>
            <a:pPr lvl="0"/>
            <a:r>
              <a:rPr lang="en-US"/>
              <a:t>Click to edit Master text styles</a:t>
            </a:r>
          </a:p>
        </p:txBody>
      </p:sp>
      <p:sp>
        <p:nvSpPr>
          <p:cNvPr id="9" name="Picture Placeholder 8">
            <a:extLst>
              <a:ext uri="{FF2B5EF4-FFF2-40B4-BE49-F238E27FC236}">
                <a16:creationId xmlns:a16="http://schemas.microsoft.com/office/drawing/2014/main" id="{EDC7BB8C-8A58-9349-BA13-0A4B7AE4FE5D}"/>
              </a:ext>
            </a:extLst>
          </p:cNvPr>
          <p:cNvSpPr>
            <a:spLocks noGrp="1"/>
          </p:cNvSpPr>
          <p:nvPr>
            <p:ph type="pic" sz="quarter" idx="11"/>
          </p:nvPr>
        </p:nvSpPr>
        <p:spPr>
          <a:xfrm>
            <a:off x="1033463" y="1691641"/>
            <a:ext cx="3785425" cy="3774702"/>
          </a:xfrm>
          <a:prstGeom prst="ellipse">
            <a:avLst/>
          </a:prstGeom>
          <a:solidFill>
            <a:schemeClr val="bg1">
              <a:lumMod val="95000"/>
            </a:schemeClr>
          </a:solidFill>
        </p:spPr>
        <p:txBody>
          <a:bodyPr/>
          <a:lstStyle>
            <a:lvl1pPr marL="0" indent="0">
              <a:buNone/>
              <a:defRPr/>
            </a:lvl1pPr>
          </a:lstStyle>
          <a:p>
            <a:r>
              <a:rPr lang="en-US"/>
              <a:t>Click icon to add picture</a:t>
            </a:r>
            <a:endParaRPr lang="en-US" dirty="0"/>
          </a:p>
        </p:txBody>
      </p:sp>
      <p:sp>
        <p:nvSpPr>
          <p:cNvPr id="15" name="Content Placeholder 14">
            <a:extLst>
              <a:ext uri="{FF2B5EF4-FFF2-40B4-BE49-F238E27FC236}">
                <a16:creationId xmlns:a16="http://schemas.microsoft.com/office/drawing/2014/main" id="{CCB9364F-A7F6-7342-97C1-28DE6F323A57}"/>
              </a:ext>
            </a:extLst>
          </p:cNvPr>
          <p:cNvSpPr>
            <a:spLocks noGrp="1"/>
          </p:cNvSpPr>
          <p:nvPr>
            <p:ph sz="quarter" idx="12"/>
          </p:nvPr>
        </p:nvSpPr>
        <p:spPr>
          <a:xfrm>
            <a:off x="5505450" y="3100388"/>
            <a:ext cx="5815013" cy="3190875"/>
          </a:xfrm>
          <a:prstGeom prst="rect">
            <a:avLst/>
          </a:prstGeom>
        </p:spPr>
        <p:txBody>
          <a:bodyPr/>
          <a:lstStyle>
            <a:lvl1pPr marL="0" indent="0">
              <a:buNone/>
              <a:defRPr b="0" i="0">
                <a:solidFill>
                  <a:schemeClr val="bg1">
                    <a:lumMod val="50000"/>
                  </a:schemeClr>
                </a:solidFill>
                <a:latin typeface="Adobe Garamond Pro" panose="02020502060506020403" pitchFamily="18" charset="77"/>
              </a:defRPr>
            </a:lvl1pPr>
            <a:lvl2pPr marL="285750" indent="0">
              <a:buNone/>
              <a:defRPr b="0" i="0">
                <a:solidFill>
                  <a:schemeClr val="bg1">
                    <a:lumMod val="50000"/>
                  </a:schemeClr>
                </a:solidFill>
                <a:latin typeface="Adobe Garamond Pro" panose="02020502060506020403" pitchFamily="18" charset="77"/>
              </a:defRPr>
            </a:lvl2pPr>
            <a:lvl3pPr marL="682625" indent="0">
              <a:buNone/>
              <a:defRPr b="0" i="0">
                <a:solidFill>
                  <a:schemeClr val="bg1">
                    <a:lumMod val="50000"/>
                  </a:schemeClr>
                </a:solidFill>
                <a:latin typeface="Adobe Garamond Pro" panose="02020502060506020403" pitchFamily="18" charset="77"/>
              </a:defRPr>
            </a:lvl3pPr>
            <a:lvl4pPr marL="1092200" indent="0">
              <a:buNone/>
              <a:defRPr b="0" i="0">
                <a:solidFill>
                  <a:schemeClr val="bg1">
                    <a:lumMod val="50000"/>
                  </a:schemeClr>
                </a:solidFill>
                <a:latin typeface="Adobe Garamond Pro" panose="02020502060506020403" pitchFamily="18" charset="77"/>
              </a:defRPr>
            </a:lvl4pPr>
            <a:lvl5pPr marL="1377950" indent="0">
              <a:buNone/>
              <a:defRPr b="0" i="0">
                <a:solidFill>
                  <a:schemeClr val="bg1">
                    <a:lumMod val="50000"/>
                  </a:schemeClr>
                </a:solidFill>
                <a:latin typeface="Adobe Garamond Pro" panose="02020502060506020403" pitchFamily="18" charset="77"/>
              </a:defRPr>
            </a:lvl5pPr>
          </a:lstStyle>
          <a:p>
            <a:pPr lvl="0"/>
            <a:r>
              <a:rPr lang="en-US"/>
              <a:t>Click to edit Master text styles</a:t>
            </a:r>
          </a:p>
        </p:txBody>
      </p:sp>
      <p:sp>
        <p:nvSpPr>
          <p:cNvPr id="16" name="Text Placeholder 6">
            <a:extLst>
              <a:ext uri="{FF2B5EF4-FFF2-40B4-BE49-F238E27FC236}">
                <a16:creationId xmlns:a16="http://schemas.microsoft.com/office/drawing/2014/main" id="{137C2613-436D-7646-847D-F9820E259E91}"/>
              </a:ext>
            </a:extLst>
          </p:cNvPr>
          <p:cNvSpPr>
            <a:spLocks noGrp="1"/>
          </p:cNvSpPr>
          <p:nvPr>
            <p:ph type="body" sz="quarter" idx="13"/>
          </p:nvPr>
        </p:nvSpPr>
        <p:spPr>
          <a:xfrm>
            <a:off x="1316736" y="6019800"/>
            <a:ext cx="3264535" cy="283527"/>
          </a:xfrm>
          <a:prstGeom prst="rect">
            <a:avLst/>
          </a:prstGeom>
        </p:spPr>
        <p:txBody>
          <a:bodyPr/>
          <a:lstStyle>
            <a:lvl1pPr marL="0" indent="0" algn="ctr">
              <a:buNone/>
              <a:defRPr sz="1600" b="0" i="1">
                <a:solidFill>
                  <a:schemeClr val="bg1">
                    <a:lumMod val="50000"/>
                  </a:schemeClr>
                </a:solidFill>
                <a:latin typeface="Adobe Garamond Pro" panose="02020502060506020403" pitchFamily="18" charset="77"/>
              </a:defRPr>
            </a:lvl1pPr>
          </a:lstStyle>
          <a:p>
            <a:pPr lvl="0"/>
            <a:r>
              <a:rPr lang="en-US"/>
              <a:t>Click to edit Master text styles</a:t>
            </a:r>
          </a:p>
        </p:txBody>
      </p:sp>
    </p:spTree>
    <p:extLst>
      <p:ext uri="{BB962C8B-B14F-4D97-AF65-F5344CB8AC3E}">
        <p14:creationId xmlns:p14="http://schemas.microsoft.com/office/powerpoint/2010/main" val="26578926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3_Title, Content and Phot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4DB68AD-5D1E-DB4B-91F2-5C15BA550E7B}"/>
              </a:ext>
            </a:extLst>
          </p:cNvPr>
          <p:cNvPicPr>
            <a:picLocks noChangeAspect="1"/>
          </p:cNvPicPr>
          <p:nvPr userDrawn="1"/>
        </p:nvPicPr>
        <p:blipFill rotWithShape="1">
          <a:blip r:embed="rId2"/>
          <a:srcRect t="375"/>
          <a:stretch/>
        </p:blipFill>
        <p:spPr>
          <a:xfrm>
            <a:off x="0" y="0"/>
            <a:ext cx="12207240" cy="2432304"/>
          </a:xfrm>
          <a:prstGeom prst="rect">
            <a:avLst/>
          </a:prstGeom>
        </p:spPr>
      </p:pic>
      <p:sp>
        <p:nvSpPr>
          <p:cNvPr id="4" name="Title 1">
            <a:extLst>
              <a:ext uri="{FF2B5EF4-FFF2-40B4-BE49-F238E27FC236}">
                <a16:creationId xmlns:a16="http://schemas.microsoft.com/office/drawing/2014/main" id="{D2776BFF-2D8E-5443-9DD8-7518895CAD4D}"/>
              </a:ext>
            </a:extLst>
          </p:cNvPr>
          <p:cNvSpPr>
            <a:spLocks noGrp="1"/>
          </p:cNvSpPr>
          <p:nvPr>
            <p:ph type="title"/>
          </p:nvPr>
        </p:nvSpPr>
        <p:spPr>
          <a:xfrm>
            <a:off x="762000" y="0"/>
            <a:ext cx="10018776" cy="2423159"/>
          </a:xfrm>
          <a:prstGeom prst="rect">
            <a:avLst/>
          </a:prstGeom>
        </p:spPr>
        <p:txBody>
          <a:bodyPr lIns="0" anchor="ctr"/>
          <a:lstStyle>
            <a:lvl1pPr>
              <a:defRPr b="0" i="0">
                <a:solidFill>
                  <a:schemeClr val="bg1"/>
                </a:solidFill>
                <a:latin typeface="Montserrat" pitchFamily="2" charset="77"/>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A05724B2-146D-9345-A327-28E9CF8BDE81}"/>
              </a:ext>
            </a:extLst>
          </p:cNvPr>
          <p:cNvSpPr>
            <a:spLocks noGrp="1"/>
          </p:cNvSpPr>
          <p:nvPr>
            <p:ph sz="quarter" idx="10"/>
          </p:nvPr>
        </p:nvSpPr>
        <p:spPr>
          <a:xfrm>
            <a:off x="762000" y="3730752"/>
            <a:ext cx="5730240" cy="2560320"/>
          </a:xfrm>
          <a:prstGeom prst="rect">
            <a:avLst/>
          </a:prstGeom>
        </p:spPr>
        <p:txBody>
          <a:bodyPr/>
          <a:lstStyle>
            <a:lvl1pPr marL="117475" indent="-117475">
              <a:buClr>
                <a:srgbClr val="F15934"/>
              </a:buClr>
              <a:buSzPct val="60000"/>
              <a:tabLst/>
              <a:defRPr sz="1800" b="0" i="0">
                <a:solidFill>
                  <a:schemeClr val="tx1">
                    <a:lumMod val="50000"/>
                    <a:lumOff val="50000"/>
                  </a:schemeClr>
                </a:solidFill>
                <a:latin typeface="Adobe Garamond Pro" panose="02020502060506020403" pitchFamily="18" charset="77"/>
              </a:defRPr>
            </a:lvl1pPr>
            <a:lvl2pPr>
              <a:buClr>
                <a:srgbClr val="F15934"/>
              </a:buClr>
              <a:buSzPct val="60000"/>
              <a:defRPr sz="1800" b="0" i="0">
                <a:solidFill>
                  <a:schemeClr val="tx1">
                    <a:lumMod val="50000"/>
                    <a:lumOff val="50000"/>
                  </a:schemeClr>
                </a:solidFill>
                <a:latin typeface="Adobe Garamond Pro" panose="02020502060506020403" pitchFamily="18" charset="77"/>
              </a:defRPr>
            </a:lvl2pPr>
            <a:lvl3pPr>
              <a:buClr>
                <a:srgbClr val="F15934"/>
              </a:buClr>
              <a:buSzPct val="60000"/>
              <a:defRPr sz="1600" b="0" i="0">
                <a:solidFill>
                  <a:schemeClr val="tx1">
                    <a:lumMod val="50000"/>
                    <a:lumOff val="50000"/>
                  </a:schemeClr>
                </a:solidFill>
                <a:latin typeface="Adobe Garamond Pro" panose="02020502060506020403" pitchFamily="18" charset="77"/>
              </a:defRPr>
            </a:lvl3pPr>
            <a:lvl4pPr>
              <a:buClr>
                <a:srgbClr val="F15934"/>
              </a:buClr>
              <a:buSzPct val="60000"/>
              <a:defRPr sz="1600" b="0" i="0">
                <a:solidFill>
                  <a:schemeClr val="tx1">
                    <a:lumMod val="50000"/>
                    <a:lumOff val="50000"/>
                  </a:schemeClr>
                </a:solidFill>
                <a:latin typeface="Adobe Garamond Pro" panose="02020502060506020403" pitchFamily="18" charset="77"/>
              </a:defRPr>
            </a:lvl4pPr>
            <a:lvl5pPr>
              <a:buClr>
                <a:srgbClr val="F15934"/>
              </a:buClr>
              <a:buSzPct val="60000"/>
              <a:defRPr sz="1600" b="0" i="0">
                <a:solidFill>
                  <a:schemeClr val="tx1">
                    <a:lumMod val="50000"/>
                    <a:lumOff val="50000"/>
                  </a:schemeClr>
                </a:solidFill>
                <a:latin typeface="Adobe Garamond Pro" panose="02020502060506020403" pitchFamily="18"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a:extLst>
              <a:ext uri="{FF2B5EF4-FFF2-40B4-BE49-F238E27FC236}">
                <a16:creationId xmlns:a16="http://schemas.microsoft.com/office/drawing/2014/main" id="{9626153A-BB35-364D-AAAE-F8CEF086FE95}"/>
              </a:ext>
            </a:extLst>
          </p:cNvPr>
          <p:cNvPicPr>
            <a:picLocks noChangeAspect="1"/>
          </p:cNvPicPr>
          <p:nvPr userDrawn="1"/>
        </p:nvPicPr>
        <p:blipFill>
          <a:blip r:embed="rId3"/>
          <a:stretch>
            <a:fillRect/>
          </a:stretch>
        </p:blipFill>
        <p:spPr>
          <a:xfrm>
            <a:off x="10942320" y="54864"/>
            <a:ext cx="1024129" cy="1280160"/>
          </a:xfrm>
          <a:prstGeom prst="rect">
            <a:avLst/>
          </a:prstGeom>
        </p:spPr>
      </p:pic>
      <p:sp>
        <p:nvSpPr>
          <p:cNvPr id="7" name="Rectangle 6">
            <a:extLst>
              <a:ext uri="{FF2B5EF4-FFF2-40B4-BE49-F238E27FC236}">
                <a16:creationId xmlns:a16="http://schemas.microsoft.com/office/drawing/2014/main" id="{ACD4AFB6-B24F-9443-9607-C1CDD2BE6741}"/>
              </a:ext>
            </a:extLst>
          </p:cNvPr>
          <p:cNvSpPr/>
          <p:nvPr userDrawn="1"/>
        </p:nvSpPr>
        <p:spPr>
          <a:xfrm>
            <a:off x="0" y="2423160"/>
            <a:ext cx="6876288" cy="107899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31520" tIns="182880" rIns="182880" bIns="182880" rtlCol="0" anchor="t"/>
          <a:lstStyle/>
          <a:p>
            <a:pPr algn="l"/>
            <a:r>
              <a:rPr lang="en-US" b="0" i="0" dirty="0">
                <a:solidFill>
                  <a:schemeClr val="bg1">
                    <a:lumMod val="50000"/>
                  </a:schemeClr>
                </a:solidFill>
                <a:latin typeface="Adobe Garamond Pro" panose="02020502060506020403" pitchFamily="18" charset="77"/>
              </a:rPr>
              <a:t>Master text</a:t>
            </a:r>
          </a:p>
        </p:txBody>
      </p:sp>
      <p:sp>
        <p:nvSpPr>
          <p:cNvPr id="10" name="Picture Placeholder 9">
            <a:extLst>
              <a:ext uri="{FF2B5EF4-FFF2-40B4-BE49-F238E27FC236}">
                <a16:creationId xmlns:a16="http://schemas.microsoft.com/office/drawing/2014/main" id="{01045617-583E-0444-9005-59B1F39BF3AA}"/>
              </a:ext>
            </a:extLst>
          </p:cNvPr>
          <p:cNvSpPr>
            <a:spLocks noGrp="1"/>
          </p:cNvSpPr>
          <p:nvPr>
            <p:ph type="pic" sz="quarter" idx="11"/>
          </p:nvPr>
        </p:nvSpPr>
        <p:spPr>
          <a:xfrm>
            <a:off x="6884988" y="2422525"/>
            <a:ext cx="5307012" cy="4435475"/>
          </a:xfrm>
          <a:prstGeom prst="rect">
            <a:avLst/>
          </a:prstGeom>
        </p:spPr>
        <p:txBody>
          <a:bodyPr/>
          <a:lstStyle/>
          <a:p>
            <a:r>
              <a:rPr lang="en-US"/>
              <a:t>Click icon to add picture</a:t>
            </a:r>
          </a:p>
        </p:txBody>
      </p:sp>
      <p:sp>
        <p:nvSpPr>
          <p:cNvPr id="11" name="TextBox 10">
            <a:extLst>
              <a:ext uri="{FF2B5EF4-FFF2-40B4-BE49-F238E27FC236}">
                <a16:creationId xmlns:a16="http://schemas.microsoft.com/office/drawing/2014/main" id="{FFEDA725-0686-8D40-A57A-67430103B2F0}"/>
              </a:ext>
            </a:extLst>
          </p:cNvPr>
          <p:cNvSpPr txBox="1"/>
          <p:nvPr userDrawn="1"/>
        </p:nvSpPr>
        <p:spPr>
          <a:xfrm>
            <a:off x="11311128" y="6108192"/>
            <a:ext cx="521208" cy="276999"/>
          </a:xfrm>
          <a:prstGeom prst="rect">
            <a:avLst/>
          </a:prstGeom>
          <a:noFill/>
        </p:spPr>
        <p:txBody>
          <a:bodyPr wrap="square" rtlCol="0">
            <a:spAutoFit/>
          </a:bodyPr>
          <a:lstStyle/>
          <a:p>
            <a:pPr algn="r"/>
            <a:fld id="{90F21B5F-06DF-1840-B2F7-3636C65A51F9}" type="slidenum">
              <a:rPr lang="en-US" sz="1200" b="0" i="0" smtClean="0">
                <a:solidFill>
                  <a:schemeClr val="bg1">
                    <a:lumMod val="65000"/>
                  </a:schemeClr>
                </a:solidFill>
                <a:latin typeface="Montserrat Medium" pitchFamily="2" charset="77"/>
              </a:rPr>
              <a:pPr algn="r"/>
              <a:t>‹#›</a:t>
            </a:fld>
            <a:endParaRPr lang="en-US" sz="1200" b="0" i="0" dirty="0">
              <a:solidFill>
                <a:schemeClr val="bg1">
                  <a:lumMod val="65000"/>
                </a:schemeClr>
              </a:solidFill>
              <a:latin typeface="Montserrat Medium" pitchFamily="2" charset="77"/>
            </a:endParaRPr>
          </a:p>
        </p:txBody>
      </p:sp>
      <p:sp>
        <p:nvSpPr>
          <p:cNvPr id="12" name="Rectangle 11">
            <a:extLst>
              <a:ext uri="{FF2B5EF4-FFF2-40B4-BE49-F238E27FC236}">
                <a16:creationId xmlns:a16="http://schemas.microsoft.com/office/drawing/2014/main" id="{19390071-B18E-E241-8082-DE4EF3E5EAE8}"/>
              </a:ext>
            </a:extLst>
          </p:cNvPr>
          <p:cNvSpPr/>
          <p:nvPr userDrawn="1"/>
        </p:nvSpPr>
        <p:spPr>
          <a:xfrm>
            <a:off x="10157021" y="6374907"/>
            <a:ext cx="1808508" cy="215444"/>
          </a:xfrm>
          <a:prstGeom prst="rect">
            <a:avLst/>
          </a:prstGeom>
        </p:spPr>
        <p:txBody>
          <a:bodyPr wrap="none">
            <a:spAutoFit/>
          </a:bodyPr>
          <a:lstStyle/>
          <a:p>
            <a:r>
              <a:rPr lang="en-US" sz="800" b="0" dirty="0">
                <a:solidFill>
                  <a:schemeClr val="bg1">
                    <a:lumMod val="75000"/>
                  </a:schemeClr>
                </a:solidFill>
                <a:effectLst/>
                <a:latin typeface="Montserrat" pitchFamily="2" charset="77"/>
              </a:rPr>
              <a:t>©2022 ESIG. All rights Reserved.</a:t>
            </a:r>
            <a:endParaRPr lang="en-US" sz="800" b="0" dirty="0">
              <a:solidFill>
                <a:schemeClr val="bg1">
                  <a:lumMod val="75000"/>
                </a:schemeClr>
              </a:solidFill>
              <a:effectLst/>
              <a:latin typeface="Montserrat SemiBold" pitchFamily="2" charset="77"/>
            </a:endParaRPr>
          </a:p>
        </p:txBody>
      </p:sp>
    </p:spTree>
    <p:extLst>
      <p:ext uri="{BB962C8B-B14F-4D97-AF65-F5344CB8AC3E}">
        <p14:creationId xmlns:p14="http://schemas.microsoft.com/office/powerpoint/2010/main" val="37020753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Content and Photo">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D2776BFF-2D8E-5443-9DD8-7518895CAD4D}"/>
              </a:ext>
            </a:extLst>
          </p:cNvPr>
          <p:cNvSpPr>
            <a:spLocks noGrp="1"/>
          </p:cNvSpPr>
          <p:nvPr>
            <p:ph type="title"/>
          </p:nvPr>
        </p:nvSpPr>
        <p:spPr>
          <a:xfrm>
            <a:off x="762000" y="1"/>
            <a:ext cx="10018776" cy="1417320"/>
          </a:xfrm>
          <a:prstGeom prst="rect">
            <a:avLst/>
          </a:prstGeom>
        </p:spPr>
        <p:txBody>
          <a:bodyPr lIns="0" anchor="ctr"/>
          <a:lstStyle>
            <a:lvl1pPr>
              <a:defRPr b="0" i="0">
                <a:solidFill>
                  <a:schemeClr val="bg1"/>
                </a:solidFill>
                <a:latin typeface="Montserrat" pitchFamily="2" charset="77"/>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A05724B2-146D-9345-A327-28E9CF8BDE81}"/>
              </a:ext>
            </a:extLst>
          </p:cNvPr>
          <p:cNvSpPr>
            <a:spLocks noGrp="1"/>
          </p:cNvSpPr>
          <p:nvPr>
            <p:ph sz="quarter" idx="10"/>
          </p:nvPr>
        </p:nvSpPr>
        <p:spPr>
          <a:xfrm>
            <a:off x="762000" y="1855789"/>
            <a:ext cx="10631424" cy="4435283"/>
          </a:xfrm>
          <a:prstGeom prst="rect">
            <a:avLst/>
          </a:prstGeom>
        </p:spPr>
        <p:txBody>
          <a:bodyPr/>
          <a:lstStyle>
            <a:lvl1pPr marL="117475" indent="-117475">
              <a:buClr>
                <a:srgbClr val="F15934"/>
              </a:buClr>
              <a:buSzPct val="60000"/>
              <a:tabLst/>
              <a:defRPr sz="1800" b="0" i="0">
                <a:solidFill>
                  <a:schemeClr val="tx1">
                    <a:lumMod val="50000"/>
                    <a:lumOff val="50000"/>
                  </a:schemeClr>
                </a:solidFill>
                <a:latin typeface="Adobe Garamond Pro" panose="02020502060506020403" pitchFamily="18" charset="77"/>
              </a:defRPr>
            </a:lvl1pPr>
            <a:lvl2pPr>
              <a:buClr>
                <a:srgbClr val="F15934"/>
              </a:buClr>
              <a:buSzPct val="60000"/>
              <a:defRPr sz="1800" b="0" i="0">
                <a:solidFill>
                  <a:schemeClr val="tx1">
                    <a:lumMod val="50000"/>
                    <a:lumOff val="50000"/>
                  </a:schemeClr>
                </a:solidFill>
                <a:latin typeface="Adobe Garamond Pro" panose="02020502060506020403" pitchFamily="18" charset="77"/>
              </a:defRPr>
            </a:lvl2pPr>
            <a:lvl3pPr>
              <a:buClr>
                <a:srgbClr val="F15934"/>
              </a:buClr>
              <a:buSzPct val="60000"/>
              <a:defRPr sz="1600" b="0" i="0">
                <a:solidFill>
                  <a:schemeClr val="tx1">
                    <a:lumMod val="50000"/>
                    <a:lumOff val="50000"/>
                  </a:schemeClr>
                </a:solidFill>
                <a:latin typeface="Adobe Garamond Pro" panose="02020502060506020403" pitchFamily="18" charset="77"/>
              </a:defRPr>
            </a:lvl3pPr>
            <a:lvl4pPr>
              <a:buClr>
                <a:srgbClr val="F15934"/>
              </a:buClr>
              <a:buSzPct val="60000"/>
              <a:defRPr sz="1600" b="0" i="0">
                <a:solidFill>
                  <a:schemeClr val="tx1">
                    <a:lumMod val="50000"/>
                    <a:lumOff val="50000"/>
                  </a:schemeClr>
                </a:solidFill>
                <a:latin typeface="Adobe Garamond Pro" panose="02020502060506020403" pitchFamily="18" charset="77"/>
              </a:defRPr>
            </a:lvl4pPr>
            <a:lvl5pPr>
              <a:buClr>
                <a:srgbClr val="F15934"/>
              </a:buClr>
              <a:buSzPct val="60000"/>
              <a:defRPr sz="1600" b="0" i="0">
                <a:solidFill>
                  <a:schemeClr val="tx1">
                    <a:lumMod val="50000"/>
                    <a:lumOff val="50000"/>
                  </a:schemeClr>
                </a:solidFill>
                <a:latin typeface="Adobe Garamond Pro" panose="02020502060506020403" pitchFamily="18"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542963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Content and Photo">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D2776BFF-2D8E-5443-9DD8-7518895CAD4D}"/>
              </a:ext>
            </a:extLst>
          </p:cNvPr>
          <p:cNvSpPr>
            <a:spLocks noGrp="1"/>
          </p:cNvSpPr>
          <p:nvPr>
            <p:ph type="title"/>
          </p:nvPr>
        </p:nvSpPr>
        <p:spPr>
          <a:xfrm>
            <a:off x="762000" y="1"/>
            <a:ext cx="10018776" cy="1417320"/>
          </a:xfrm>
          <a:prstGeom prst="rect">
            <a:avLst/>
          </a:prstGeom>
        </p:spPr>
        <p:txBody>
          <a:bodyPr lIns="0" anchor="ctr"/>
          <a:lstStyle>
            <a:lvl1pPr>
              <a:defRPr b="0" i="0">
                <a:solidFill>
                  <a:schemeClr val="bg1"/>
                </a:solidFill>
                <a:latin typeface="Montserrat" pitchFamily="2" charset="77"/>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A05724B2-146D-9345-A327-28E9CF8BDE81}"/>
              </a:ext>
            </a:extLst>
          </p:cNvPr>
          <p:cNvSpPr>
            <a:spLocks noGrp="1"/>
          </p:cNvSpPr>
          <p:nvPr>
            <p:ph sz="quarter" idx="10"/>
          </p:nvPr>
        </p:nvSpPr>
        <p:spPr>
          <a:xfrm>
            <a:off x="762000" y="1855789"/>
            <a:ext cx="4888992" cy="4435283"/>
          </a:xfrm>
          <a:prstGeom prst="rect">
            <a:avLst/>
          </a:prstGeom>
        </p:spPr>
        <p:txBody>
          <a:bodyPr/>
          <a:lstStyle>
            <a:lvl1pPr marL="117475" indent="-117475">
              <a:buClr>
                <a:srgbClr val="F15934"/>
              </a:buClr>
              <a:buSzPct val="60000"/>
              <a:tabLst/>
              <a:defRPr sz="1800" b="0" i="0">
                <a:solidFill>
                  <a:schemeClr val="tx1">
                    <a:lumMod val="50000"/>
                    <a:lumOff val="50000"/>
                  </a:schemeClr>
                </a:solidFill>
                <a:latin typeface="Adobe Garamond Pro" panose="02020502060506020403" pitchFamily="18" charset="77"/>
              </a:defRPr>
            </a:lvl1pPr>
            <a:lvl2pPr>
              <a:buClr>
                <a:srgbClr val="F15934"/>
              </a:buClr>
              <a:buSzPct val="60000"/>
              <a:defRPr sz="1800" b="0" i="0">
                <a:solidFill>
                  <a:schemeClr val="tx1">
                    <a:lumMod val="50000"/>
                    <a:lumOff val="50000"/>
                  </a:schemeClr>
                </a:solidFill>
                <a:latin typeface="Adobe Garamond Pro" panose="02020502060506020403" pitchFamily="18" charset="77"/>
              </a:defRPr>
            </a:lvl2pPr>
            <a:lvl3pPr>
              <a:buClr>
                <a:srgbClr val="F15934"/>
              </a:buClr>
              <a:buSzPct val="60000"/>
              <a:defRPr sz="1600" b="0" i="0">
                <a:solidFill>
                  <a:schemeClr val="tx1">
                    <a:lumMod val="50000"/>
                    <a:lumOff val="50000"/>
                  </a:schemeClr>
                </a:solidFill>
                <a:latin typeface="Adobe Garamond Pro" panose="02020502060506020403" pitchFamily="18" charset="77"/>
              </a:defRPr>
            </a:lvl3pPr>
            <a:lvl4pPr>
              <a:buClr>
                <a:srgbClr val="F15934"/>
              </a:buClr>
              <a:buSzPct val="60000"/>
              <a:defRPr sz="1600" b="0" i="0">
                <a:solidFill>
                  <a:schemeClr val="tx1">
                    <a:lumMod val="50000"/>
                    <a:lumOff val="50000"/>
                  </a:schemeClr>
                </a:solidFill>
                <a:latin typeface="Adobe Garamond Pro" panose="02020502060506020403" pitchFamily="18" charset="77"/>
              </a:defRPr>
            </a:lvl4pPr>
            <a:lvl5pPr>
              <a:buClr>
                <a:srgbClr val="F15934"/>
              </a:buClr>
              <a:buSzPct val="60000"/>
              <a:defRPr sz="1600" b="0" i="0">
                <a:solidFill>
                  <a:schemeClr val="tx1">
                    <a:lumMod val="50000"/>
                    <a:lumOff val="50000"/>
                  </a:schemeClr>
                </a:solidFill>
                <a:latin typeface="Adobe Garamond Pro" panose="02020502060506020403" pitchFamily="18"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Picture Placeholder 4">
            <a:extLst>
              <a:ext uri="{FF2B5EF4-FFF2-40B4-BE49-F238E27FC236}">
                <a16:creationId xmlns:a16="http://schemas.microsoft.com/office/drawing/2014/main" id="{8EA22DD1-E91F-FA42-8D04-222AB7E59CE7}"/>
              </a:ext>
            </a:extLst>
          </p:cNvPr>
          <p:cNvSpPr>
            <a:spLocks noGrp="1"/>
          </p:cNvSpPr>
          <p:nvPr>
            <p:ph type="pic" sz="quarter" idx="11"/>
          </p:nvPr>
        </p:nvSpPr>
        <p:spPr>
          <a:xfrm>
            <a:off x="6089904" y="1417321"/>
            <a:ext cx="6102096" cy="5440679"/>
          </a:xfrm>
          <a:prstGeom prst="rect">
            <a:avLst/>
          </a:prstGeom>
        </p:spPr>
        <p:txBody>
          <a:bodyPr/>
          <a:lstStyle/>
          <a:p>
            <a:r>
              <a:rPr lang="en-US"/>
              <a:t>Click icon to add picture</a:t>
            </a:r>
          </a:p>
        </p:txBody>
      </p:sp>
    </p:spTree>
    <p:extLst>
      <p:ext uri="{BB962C8B-B14F-4D97-AF65-F5344CB8AC3E}">
        <p14:creationId xmlns:p14="http://schemas.microsoft.com/office/powerpoint/2010/main" val="41373153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_Title, Content and Photo">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286858F-0CBF-E048-80B1-FEEF590CB624}"/>
              </a:ext>
            </a:extLst>
          </p:cNvPr>
          <p:cNvSpPr/>
          <p:nvPr userDrawn="1"/>
        </p:nvSpPr>
        <p:spPr>
          <a:xfrm>
            <a:off x="6111240" y="1426464"/>
            <a:ext cx="6080760" cy="54315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4" name="Title 1">
            <a:extLst>
              <a:ext uri="{FF2B5EF4-FFF2-40B4-BE49-F238E27FC236}">
                <a16:creationId xmlns:a16="http://schemas.microsoft.com/office/drawing/2014/main" id="{D2776BFF-2D8E-5443-9DD8-7518895CAD4D}"/>
              </a:ext>
            </a:extLst>
          </p:cNvPr>
          <p:cNvSpPr>
            <a:spLocks noGrp="1"/>
          </p:cNvSpPr>
          <p:nvPr>
            <p:ph type="title"/>
          </p:nvPr>
        </p:nvSpPr>
        <p:spPr>
          <a:xfrm>
            <a:off x="762000" y="1"/>
            <a:ext cx="10018776" cy="1417320"/>
          </a:xfrm>
          <a:prstGeom prst="rect">
            <a:avLst/>
          </a:prstGeom>
        </p:spPr>
        <p:txBody>
          <a:bodyPr lIns="0" anchor="ctr"/>
          <a:lstStyle>
            <a:lvl1pPr>
              <a:defRPr b="0" i="0">
                <a:solidFill>
                  <a:schemeClr val="bg1"/>
                </a:solidFill>
                <a:latin typeface="Montserrat" pitchFamily="2" charset="77"/>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A05724B2-146D-9345-A327-28E9CF8BDE81}"/>
              </a:ext>
            </a:extLst>
          </p:cNvPr>
          <p:cNvSpPr>
            <a:spLocks noGrp="1"/>
          </p:cNvSpPr>
          <p:nvPr>
            <p:ph sz="quarter" idx="10"/>
          </p:nvPr>
        </p:nvSpPr>
        <p:spPr>
          <a:xfrm>
            <a:off x="762000" y="1855789"/>
            <a:ext cx="4888992" cy="4435283"/>
          </a:xfrm>
          <a:prstGeom prst="rect">
            <a:avLst/>
          </a:prstGeom>
        </p:spPr>
        <p:txBody>
          <a:bodyPr/>
          <a:lstStyle>
            <a:lvl1pPr marL="117475" indent="-117475">
              <a:buClr>
                <a:srgbClr val="F15934"/>
              </a:buClr>
              <a:buSzPct val="60000"/>
              <a:tabLst/>
              <a:defRPr sz="1800" b="0" i="0">
                <a:solidFill>
                  <a:schemeClr val="tx1">
                    <a:lumMod val="50000"/>
                    <a:lumOff val="50000"/>
                  </a:schemeClr>
                </a:solidFill>
                <a:latin typeface="Adobe Garamond Pro" panose="02020502060506020403" pitchFamily="18" charset="77"/>
              </a:defRPr>
            </a:lvl1pPr>
            <a:lvl2pPr>
              <a:buClr>
                <a:srgbClr val="F15934"/>
              </a:buClr>
              <a:buSzPct val="60000"/>
              <a:defRPr sz="1800" b="0" i="0">
                <a:solidFill>
                  <a:schemeClr val="tx1">
                    <a:lumMod val="50000"/>
                    <a:lumOff val="50000"/>
                  </a:schemeClr>
                </a:solidFill>
                <a:latin typeface="Adobe Garamond Pro" panose="02020502060506020403" pitchFamily="18" charset="77"/>
              </a:defRPr>
            </a:lvl2pPr>
            <a:lvl3pPr>
              <a:buClr>
                <a:srgbClr val="F15934"/>
              </a:buClr>
              <a:buSzPct val="60000"/>
              <a:defRPr sz="1600" b="0" i="0">
                <a:solidFill>
                  <a:schemeClr val="tx1">
                    <a:lumMod val="50000"/>
                    <a:lumOff val="50000"/>
                  </a:schemeClr>
                </a:solidFill>
                <a:latin typeface="Adobe Garamond Pro" panose="02020502060506020403" pitchFamily="18" charset="77"/>
              </a:defRPr>
            </a:lvl3pPr>
            <a:lvl4pPr>
              <a:buClr>
                <a:srgbClr val="F15934"/>
              </a:buClr>
              <a:buSzPct val="60000"/>
              <a:defRPr sz="1600" b="0" i="0">
                <a:solidFill>
                  <a:schemeClr val="tx1">
                    <a:lumMod val="50000"/>
                    <a:lumOff val="50000"/>
                  </a:schemeClr>
                </a:solidFill>
                <a:latin typeface="Adobe Garamond Pro" panose="02020502060506020403" pitchFamily="18" charset="77"/>
              </a:defRPr>
            </a:lvl4pPr>
            <a:lvl5pPr>
              <a:buClr>
                <a:srgbClr val="F15934"/>
              </a:buClr>
              <a:buSzPct val="60000"/>
              <a:defRPr sz="1600" b="0" i="0">
                <a:solidFill>
                  <a:schemeClr val="tx1">
                    <a:lumMod val="50000"/>
                    <a:lumOff val="50000"/>
                  </a:schemeClr>
                </a:solidFill>
                <a:latin typeface="Adobe Garamond Pro" panose="02020502060506020403" pitchFamily="18"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Picture Placeholder 4">
            <a:extLst>
              <a:ext uri="{FF2B5EF4-FFF2-40B4-BE49-F238E27FC236}">
                <a16:creationId xmlns:a16="http://schemas.microsoft.com/office/drawing/2014/main" id="{8EA22DD1-E91F-FA42-8D04-222AB7E59CE7}"/>
              </a:ext>
            </a:extLst>
          </p:cNvPr>
          <p:cNvSpPr>
            <a:spLocks noGrp="1"/>
          </p:cNvSpPr>
          <p:nvPr>
            <p:ph type="pic" sz="quarter" idx="11"/>
          </p:nvPr>
        </p:nvSpPr>
        <p:spPr>
          <a:xfrm>
            <a:off x="6547104" y="1828800"/>
            <a:ext cx="5184648" cy="4160520"/>
          </a:xfrm>
          <a:prstGeom prst="rect">
            <a:avLst/>
          </a:prstGeom>
        </p:spPr>
        <p:txBody>
          <a:bodyPr/>
          <a:lstStyle/>
          <a:p>
            <a:r>
              <a:rPr lang="en-US"/>
              <a:t>Click icon to add picture</a:t>
            </a:r>
          </a:p>
        </p:txBody>
      </p:sp>
      <p:sp>
        <p:nvSpPr>
          <p:cNvPr id="7" name="TextBox 6">
            <a:extLst>
              <a:ext uri="{FF2B5EF4-FFF2-40B4-BE49-F238E27FC236}">
                <a16:creationId xmlns:a16="http://schemas.microsoft.com/office/drawing/2014/main" id="{9844447A-C159-AA4A-8782-432E5F41E967}"/>
              </a:ext>
            </a:extLst>
          </p:cNvPr>
          <p:cNvSpPr txBox="1"/>
          <p:nvPr userDrawn="1"/>
        </p:nvSpPr>
        <p:spPr>
          <a:xfrm>
            <a:off x="11311128" y="6108192"/>
            <a:ext cx="521208" cy="276999"/>
          </a:xfrm>
          <a:prstGeom prst="rect">
            <a:avLst/>
          </a:prstGeom>
          <a:noFill/>
        </p:spPr>
        <p:txBody>
          <a:bodyPr wrap="square" rtlCol="0">
            <a:spAutoFit/>
          </a:bodyPr>
          <a:lstStyle/>
          <a:p>
            <a:pPr algn="r"/>
            <a:fld id="{90F21B5F-06DF-1840-B2F7-3636C65A51F9}" type="slidenum">
              <a:rPr lang="en-US" sz="1200" b="0" i="0" smtClean="0">
                <a:solidFill>
                  <a:schemeClr val="bg1">
                    <a:lumMod val="65000"/>
                  </a:schemeClr>
                </a:solidFill>
                <a:latin typeface="Montserrat Medium" pitchFamily="2" charset="77"/>
              </a:rPr>
              <a:pPr algn="r"/>
              <a:t>‹#›</a:t>
            </a:fld>
            <a:endParaRPr lang="en-US" sz="1200" b="0" i="0" dirty="0">
              <a:solidFill>
                <a:schemeClr val="bg1">
                  <a:lumMod val="65000"/>
                </a:schemeClr>
              </a:solidFill>
              <a:latin typeface="Montserrat Medium" pitchFamily="2" charset="77"/>
            </a:endParaRPr>
          </a:p>
        </p:txBody>
      </p:sp>
      <p:sp>
        <p:nvSpPr>
          <p:cNvPr id="8" name="Rectangle 7">
            <a:extLst>
              <a:ext uri="{FF2B5EF4-FFF2-40B4-BE49-F238E27FC236}">
                <a16:creationId xmlns:a16="http://schemas.microsoft.com/office/drawing/2014/main" id="{D1B85FA8-3964-F34E-AD25-B6B3AD70ACDB}"/>
              </a:ext>
            </a:extLst>
          </p:cNvPr>
          <p:cNvSpPr/>
          <p:nvPr userDrawn="1"/>
        </p:nvSpPr>
        <p:spPr>
          <a:xfrm>
            <a:off x="10157021" y="6374907"/>
            <a:ext cx="1808508" cy="215444"/>
          </a:xfrm>
          <a:prstGeom prst="rect">
            <a:avLst/>
          </a:prstGeom>
        </p:spPr>
        <p:txBody>
          <a:bodyPr wrap="none">
            <a:spAutoFit/>
          </a:bodyPr>
          <a:lstStyle/>
          <a:p>
            <a:r>
              <a:rPr lang="en-US" sz="800" b="0" dirty="0">
                <a:solidFill>
                  <a:schemeClr val="bg1">
                    <a:lumMod val="75000"/>
                  </a:schemeClr>
                </a:solidFill>
                <a:effectLst/>
                <a:latin typeface="Montserrat" pitchFamily="2" charset="77"/>
              </a:rPr>
              <a:t>©2022 ESIG. All rights Reserved.</a:t>
            </a:r>
            <a:endParaRPr lang="en-US" sz="800" b="0" dirty="0">
              <a:solidFill>
                <a:schemeClr val="bg1">
                  <a:lumMod val="75000"/>
                </a:schemeClr>
              </a:solidFill>
              <a:effectLst/>
              <a:latin typeface="Montserrat SemiBold" pitchFamily="2" charset="77"/>
            </a:endParaRPr>
          </a:p>
        </p:txBody>
      </p:sp>
    </p:spTree>
    <p:extLst>
      <p:ext uri="{BB962C8B-B14F-4D97-AF65-F5344CB8AC3E}">
        <p14:creationId xmlns:p14="http://schemas.microsoft.com/office/powerpoint/2010/main" val="34447442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Title,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68EEE03-E602-EF4B-86D5-0ACBA75E9B5F}"/>
              </a:ext>
            </a:extLst>
          </p:cNvPr>
          <p:cNvSpPr/>
          <p:nvPr userDrawn="1"/>
        </p:nvSpPr>
        <p:spPr>
          <a:xfrm>
            <a:off x="0" y="1426464"/>
            <a:ext cx="6080760" cy="54315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4" name="Title 1">
            <a:extLst>
              <a:ext uri="{FF2B5EF4-FFF2-40B4-BE49-F238E27FC236}">
                <a16:creationId xmlns:a16="http://schemas.microsoft.com/office/drawing/2014/main" id="{D2776BFF-2D8E-5443-9DD8-7518895CAD4D}"/>
              </a:ext>
            </a:extLst>
          </p:cNvPr>
          <p:cNvSpPr>
            <a:spLocks noGrp="1"/>
          </p:cNvSpPr>
          <p:nvPr>
            <p:ph type="title"/>
          </p:nvPr>
        </p:nvSpPr>
        <p:spPr>
          <a:xfrm>
            <a:off x="762000" y="1"/>
            <a:ext cx="10018776" cy="1417320"/>
          </a:xfrm>
          <a:prstGeom prst="rect">
            <a:avLst/>
          </a:prstGeom>
        </p:spPr>
        <p:txBody>
          <a:bodyPr lIns="0" anchor="ctr"/>
          <a:lstStyle>
            <a:lvl1pPr>
              <a:defRPr b="0" i="0">
                <a:solidFill>
                  <a:schemeClr val="bg1"/>
                </a:solidFill>
                <a:latin typeface="Montserrat" pitchFamily="2" charset="77"/>
              </a:defRPr>
            </a:lvl1pPr>
          </a:lstStyle>
          <a:p>
            <a:r>
              <a:rPr lang="en-US"/>
              <a:t>Click to edit Master title style</a:t>
            </a:r>
            <a:endParaRPr lang="en-US" dirty="0"/>
          </a:p>
        </p:txBody>
      </p:sp>
      <p:sp>
        <p:nvSpPr>
          <p:cNvPr id="7" name="Content Placeholder 2">
            <a:extLst>
              <a:ext uri="{FF2B5EF4-FFF2-40B4-BE49-F238E27FC236}">
                <a16:creationId xmlns:a16="http://schemas.microsoft.com/office/drawing/2014/main" id="{2F1A0E40-6F26-E840-873C-93B28B15FF1F}"/>
              </a:ext>
            </a:extLst>
          </p:cNvPr>
          <p:cNvSpPr>
            <a:spLocks noGrp="1"/>
          </p:cNvSpPr>
          <p:nvPr>
            <p:ph sz="quarter" idx="12"/>
          </p:nvPr>
        </p:nvSpPr>
        <p:spPr>
          <a:xfrm>
            <a:off x="762000" y="1855789"/>
            <a:ext cx="4861560" cy="4435283"/>
          </a:xfrm>
          <a:prstGeom prst="rect">
            <a:avLst/>
          </a:prstGeom>
        </p:spPr>
        <p:txBody>
          <a:bodyPr/>
          <a:lstStyle>
            <a:lvl1pPr marL="0" indent="0">
              <a:buClr>
                <a:srgbClr val="F15934"/>
              </a:buClr>
              <a:buSzPct val="60000"/>
              <a:buNone/>
              <a:tabLst/>
              <a:defRPr sz="1800" b="1" i="0">
                <a:solidFill>
                  <a:srgbClr val="F15934"/>
                </a:solidFill>
                <a:latin typeface="Montserrat SemiBold" pitchFamily="2" charset="77"/>
              </a:defRPr>
            </a:lvl1pPr>
            <a:lvl2pPr>
              <a:buClr>
                <a:srgbClr val="F15934"/>
              </a:buClr>
              <a:buSzPct val="60000"/>
              <a:defRPr sz="1800" b="0" i="0">
                <a:solidFill>
                  <a:schemeClr val="tx1">
                    <a:lumMod val="50000"/>
                    <a:lumOff val="50000"/>
                  </a:schemeClr>
                </a:solidFill>
                <a:latin typeface="Adobe Garamond Pro" panose="02020502060506020403" pitchFamily="18" charset="77"/>
              </a:defRPr>
            </a:lvl2pPr>
            <a:lvl3pPr>
              <a:buClr>
                <a:srgbClr val="F15934"/>
              </a:buClr>
              <a:buSzPct val="60000"/>
              <a:defRPr sz="1600" b="0" i="0">
                <a:solidFill>
                  <a:schemeClr val="tx1">
                    <a:lumMod val="50000"/>
                    <a:lumOff val="50000"/>
                  </a:schemeClr>
                </a:solidFill>
                <a:latin typeface="Adobe Garamond Pro" panose="02020502060506020403" pitchFamily="18" charset="77"/>
              </a:defRPr>
            </a:lvl3pPr>
            <a:lvl4pPr>
              <a:buClr>
                <a:srgbClr val="F15934"/>
              </a:buClr>
              <a:buSzPct val="60000"/>
              <a:defRPr sz="1600" b="0" i="0">
                <a:solidFill>
                  <a:schemeClr val="tx1">
                    <a:lumMod val="50000"/>
                    <a:lumOff val="50000"/>
                  </a:schemeClr>
                </a:solidFill>
                <a:latin typeface="Adobe Garamond Pro" panose="02020502060506020403" pitchFamily="18" charset="77"/>
              </a:defRPr>
            </a:lvl4pPr>
            <a:lvl5pPr>
              <a:buClr>
                <a:srgbClr val="F15934"/>
              </a:buClr>
              <a:buSzPct val="60000"/>
              <a:defRPr sz="1600" b="0" i="0">
                <a:solidFill>
                  <a:schemeClr val="tx1">
                    <a:lumMod val="50000"/>
                    <a:lumOff val="50000"/>
                  </a:schemeClr>
                </a:solidFill>
                <a:latin typeface="Adobe Garamond Pro" panose="02020502060506020403" pitchFamily="18"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
            <a:extLst>
              <a:ext uri="{FF2B5EF4-FFF2-40B4-BE49-F238E27FC236}">
                <a16:creationId xmlns:a16="http://schemas.microsoft.com/office/drawing/2014/main" id="{BBB4E26C-3274-6B44-BC40-045BE94ED8F3}"/>
              </a:ext>
            </a:extLst>
          </p:cNvPr>
          <p:cNvSpPr>
            <a:spLocks noGrp="1"/>
          </p:cNvSpPr>
          <p:nvPr>
            <p:ph sz="quarter" idx="13"/>
          </p:nvPr>
        </p:nvSpPr>
        <p:spPr>
          <a:xfrm>
            <a:off x="6477000" y="1855789"/>
            <a:ext cx="4861560" cy="4435283"/>
          </a:xfrm>
          <a:prstGeom prst="rect">
            <a:avLst/>
          </a:prstGeom>
        </p:spPr>
        <p:txBody>
          <a:bodyPr/>
          <a:lstStyle>
            <a:lvl1pPr marL="0" indent="0">
              <a:buClr>
                <a:srgbClr val="F15934"/>
              </a:buClr>
              <a:buSzPct val="60000"/>
              <a:buNone/>
              <a:tabLst/>
              <a:defRPr sz="1800" b="1" i="0">
                <a:solidFill>
                  <a:srgbClr val="F15934"/>
                </a:solidFill>
                <a:latin typeface="Montserrat SemiBold" pitchFamily="2" charset="77"/>
              </a:defRPr>
            </a:lvl1pPr>
            <a:lvl2pPr>
              <a:buClr>
                <a:srgbClr val="F15934"/>
              </a:buClr>
              <a:buSzPct val="60000"/>
              <a:defRPr sz="1800" b="0" i="0">
                <a:solidFill>
                  <a:schemeClr val="tx1">
                    <a:lumMod val="50000"/>
                    <a:lumOff val="50000"/>
                  </a:schemeClr>
                </a:solidFill>
                <a:latin typeface="Adobe Garamond Pro" panose="02020502060506020403" pitchFamily="18" charset="77"/>
              </a:defRPr>
            </a:lvl2pPr>
            <a:lvl3pPr>
              <a:buClr>
                <a:srgbClr val="F15934"/>
              </a:buClr>
              <a:buSzPct val="60000"/>
              <a:defRPr sz="1600" b="0" i="0">
                <a:solidFill>
                  <a:schemeClr val="tx1">
                    <a:lumMod val="50000"/>
                    <a:lumOff val="50000"/>
                  </a:schemeClr>
                </a:solidFill>
                <a:latin typeface="Adobe Garamond Pro" panose="02020502060506020403" pitchFamily="18" charset="77"/>
              </a:defRPr>
            </a:lvl3pPr>
            <a:lvl4pPr>
              <a:buClr>
                <a:srgbClr val="F15934"/>
              </a:buClr>
              <a:buSzPct val="60000"/>
              <a:defRPr sz="1600" b="0" i="0">
                <a:solidFill>
                  <a:schemeClr val="tx1">
                    <a:lumMod val="50000"/>
                    <a:lumOff val="50000"/>
                  </a:schemeClr>
                </a:solidFill>
                <a:latin typeface="Adobe Garamond Pro" panose="02020502060506020403" pitchFamily="18" charset="77"/>
              </a:defRPr>
            </a:lvl4pPr>
            <a:lvl5pPr>
              <a:buClr>
                <a:srgbClr val="F15934"/>
              </a:buClr>
              <a:buSzPct val="60000"/>
              <a:defRPr sz="1600" b="0" i="0">
                <a:solidFill>
                  <a:schemeClr val="tx1">
                    <a:lumMod val="50000"/>
                    <a:lumOff val="50000"/>
                  </a:schemeClr>
                </a:solidFill>
                <a:latin typeface="Adobe Garamond Pro" panose="02020502060506020403" pitchFamily="18"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856015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Title, Content and Phot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4DB68AD-5D1E-DB4B-91F2-5C15BA550E7B}"/>
              </a:ext>
            </a:extLst>
          </p:cNvPr>
          <p:cNvPicPr>
            <a:picLocks noChangeAspect="1"/>
          </p:cNvPicPr>
          <p:nvPr userDrawn="1"/>
        </p:nvPicPr>
        <p:blipFill rotWithShape="1">
          <a:blip r:embed="rId2"/>
          <a:srcRect t="375"/>
          <a:stretch/>
        </p:blipFill>
        <p:spPr>
          <a:xfrm>
            <a:off x="0" y="0"/>
            <a:ext cx="12207240" cy="2432304"/>
          </a:xfrm>
          <a:prstGeom prst="rect">
            <a:avLst/>
          </a:prstGeom>
        </p:spPr>
      </p:pic>
      <p:sp>
        <p:nvSpPr>
          <p:cNvPr id="4" name="Title 1">
            <a:extLst>
              <a:ext uri="{FF2B5EF4-FFF2-40B4-BE49-F238E27FC236}">
                <a16:creationId xmlns:a16="http://schemas.microsoft.com/office/drawing/2014/main" id="{D2776BFF-2D8E-5443-9DD8-7518895CAD4D}"/>
              </a:ext>
            </a:extLst>
          </p:cNvPr>
          <p:cNvSpPr>
            <a:spLocks noGrp="1"/>
          </p:cNvSpPr>
          <p:nvPr>
            <p:ph type="title"/>
          </p:nvPr>
        </p:nvSpPr>
        <p:spPr>
          <a:xfrm>
            <a:off x="762000" y="0"/>
            <a:ext cx="10018776" cy="2423159"/>
          </a:xfrm>
          <a:prstGeom prst="rect">
            <a:avLst/>
          </a:prstGeom>
        </p:spPr>
        <p:txBody>
          <a:bodyPr lIns="0" anchor="ctr"/>
          <a:lstStyle>
            <a:lvl1pPr>
              <a:defRPr b="0" i="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A05724B2-146D-9345-A327-28E9CF8BDE81}"/>
              </a:ext>
            </a:extLst>
          </p:cNvPr>
          <p:cNvSpPr>
            <a:spLocks noGrp="1"/>
          </p:cNvSpPr>
          <p:nvPr>
            <p:ph sz="quarter" idx="10"/>
          </p:nvPr>
        </p:nvSpPr>
        <p:spPr>
          <a:xfrm>
            <a:off x="762000" y="3118104"/>
            <a:ext cx="10576560" cy="3172968"/>
          </a:xfrm>
          <a:prstGeom prst="rect">
            <a:avLst/>
          </a:prstGeom>
        </p:spPr>
        <p:txBody>
          <a:bodyPr/>
          <a:lstStyle>
            <a:lvl1pPr marL="117475" indent="-117475">
              <a:buClr>
                <a:srgbClr val="F15934"/>
              </a:buClr>
              <a:buSzPct val="60000"/>
              <a:tabLst/>
              <a:defRPr sz="2000" b="0" i="0">
                <a:solidFill>
                  <a:schemeClr val="tx1"/>
                </a:solidFill>
                <a:latin typeface="Arial" panose="020B0604020202020204" pitchFamily="34" charset="0"/>
                <a:cs typeface="Arial" panose="020B0604020202020204" pitchFamily="34" charset="0"/>
              </a:defRPr>
            </a:lvl1pPr>
            <a:lvl2pPr>
              <a:buClr>
                <a:srgbClr val="F15934"/>
              </a:buClr>
              <a:buSzPct val="60000"/>
              <a:defRPr sz="2000" b="0" i="0">
                <a:solidFill>
                  <a:schemeClr val="tx1"/>
                </a:solidFill>
                <a:latin typeface="Arial" panose="020B0604020202020204" pitchFamily="34" charset="0"/>
                <a:cs typeface="Arial" panose="020B0604020202020204" pitchFamily="34" charset="0"/>
              </a:defRPr>
            </a:lvl2pPr>
            <a:lvl3pPr>
              <a:buClr>
                <a:srgbClr val="F15934"/>
              </a:buClr>
              <a:buSzPct val="60000"/>
              <a:defRPr sz="2000" b="0" i="0">
                <a:solidFill>
                  <a:schemeClr val="tx1"/>
                </a:solidFill>
                <a:latin typeface="Arial" panose="020B0604020202020204" pitchFamily="34" charset="0"/>
                <a:cs typeface="Arial" panose="020B0604020202020204" pitchFamily="34" charset="0"/>
              </a:defRPr>
            </a:lvl3pPr>
            <a:lvl4pPr>
              <a:buClr>
                <a:srgbClr val="F15934"/>
              </a:buClr>
              <a:buSzPct val="60000"/>
              <a:defRPr sz="2000" b="0" i="0">
                <a:solidFill>
                  <a:schemeClr val="tx1"/>
                </a:solidFill>
                <a:latin typeface="Arial" panose="020B0604020202020204" pitchFamily="34" charset="0"/>
                <a:cs typeface="Arial" panose="020B0604020202020204" pitchFamily="34" charset="0"/>
              </a:defRPr>
            </a:lvl4pPr>
            <a:lvl5pPr>
              <a:buClr>
                <a:srgbClr val="F15934"/>
              </a:buClr>
              <a:buSzPct val="60000"/>
              <a:defRPr sz="2000" b="0" i="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a:extLst>
              <a:ext uri="{FF2B5EF4-FFF2-40B4-BE49-F238E27FC236}">
                <a16:creationId xmlns:a16="http://schemas.microsoft.com/office/drawing/2014/main" id="{9626153A-BB35-364D-AAAE-F8CEF086FE95}"/>
              </a:ext>
            </a:extLst>
          </p:cNvPr>
          <p:cNvPicPr>
            <a:picLocks noChangeAspect="1"/>
          </p:cNvPicPr>
          <p:nvPr userDrawn="1"/>
        </p:nvPicPr>
        <p:blipFill>
          <a:blip r:embed="rId3"/>
          <a:stretch>
            <a:fillRect/>
          </a:stretch>
        </p:blipFill>
        <p:spPr>
          <a:xfrm>
            <a:off x="10942320" y="54864"/>
            <a:ext cx="1024129" cy="1280160"/>
          </a:xfrm>
          <a:prstGeom prst="rect">
            <a:avLst/>
          </a:prstGeom>
        </p:spPr>
      </p:pic>
      <p:sp>
        <p:nvSpPr>
          <p:cNvPr id="11" name="TextBox 10">
            <a:extLst>
              <a:ext uri="{FF2B5EF4-FFF2-40B4-BE49-F238E27FC236}">
                <a16:creationId xmlns:a16="http://schemas.microsoft.com/office/drawing/2014/main" id="{FFEDA725-0686-8D40-A57A-67430103B2F0}"/>
              </a:ext>
            </a:extLst>
          </p:cNvPr>
          <p:cNvSpPr txBox="1"/>
          <p:nvPr userDrawn="1"/>
        </p:nvSpPr>
        <p:spPr>
          <a:xfrm>
            <a:off x="11311128" y="6108192"/>
            <a:ext cx="521208" cy="276999"/>
          </a:xfrm>
          <a:prstGeom prst="rect">
            <a:avLst/>
          </a:prstGeom>
          <a:noFill/>
        </p:spPr>
        <p:txBody>
          <a:bodyPr wrap="square" rtlCol="0">
            <a:spAutoFit/>
          </a:bodyPr>
          <a:lstStyle/>
          <a:p>
            <a:pPr algn="r"/>
            <a:fld id="{90F21B5F-06DF-1840-B2F7-3636C65A51F9}" type="slidenum">
              <a:rPr lang="en-US" sz="1200" b="0" i="0" smtClean="0">
                <a:solidFill>
                  <a:schemeClr val="bg1">
                    <a:lumMod val="65000"/>
                  </a:schemeClr>
                </a:solidFill>
                <a:latin typeface="Montserrat Medium" pitchFamily="2" charset="77"/>
              </a:rPr>
              <a:pPr algn="r"/>
              <a:t>‹#›</a:t>
            </a:fld>
            <a:endParaRPr lang="en-US" sz="1200" b="0" i="0" dirty="0">
              <a:solidFill>
                <a:schemeClr val="bg1">
                  <a:lumMod val="65000"/>
                </a:schemeClr>
              </a:solidFill>
              <a:latin typeface="Montserrat Medium" pitchFamily="2" charset="77"/>
            </a:endParaRPr>
          </a:p>
        </p:txBody>
      </p:sp>
      <p:sp>
        <p:nvSpPr>
          <p:cNvPr id="12" name="Rectangle 11">
            <a:extLst>
              <a:ext uri="{FF2B5EF4-FFF2-40B4-BE49-F238E27FC236}">
                <a16:creationId xmlns:a16="http://schemas.microsoft.com/office/drawing/2014/main" id="{19390071-B18E-E241-8082-DE4EF3E5EAE8}"/>
              </a:ext>
            </a:extLst>
          </p:cNvPr>
          <p:cNvSpPr/>
          <p:nvPr userDrawn="1"/>
        </p:nvSpPr>
        <p:spPr>
          <a:xfrm>
            <a:off x="10157021" y="6374907"/>
            <a:ext cx="1808508" cy="215444"/>
          </a:xfrm>
          <a:prstGeom prst="rect">
            <a:avLst/>
          </a:prstGeom>
        </p:spPr>
        <p:txBody>
          <a:bodyPr wrap="none">
            <a:spAutoFit/>
          </a:bodyPr>
          <a:lstStyle/>
          <a:p>
            <a:r>
              <a:rPr lang="en-US" sz="800" b="0" dirty="0">
                <a:solidFill>
                  <a:schemeClr val="bg1">
                    <a:lumMod val="75000"/>
                  </a:schemeClr>
                </a:solidFill>
                <a:effectLst/>
                <a:latin typeface="Montserrat" pitchFamily="2" charset="77"/>
              </a:rPr>
              <a:t>©2022 ESIG. All rights Reserved.</a:t>
            </a:r>
            <a:endParaRPr lang="en-US" sz="800" b="0" dirty="0">
              <a:solidFill>
                <a:schemeClr val="bg1">
                  <a:lumMod val="75000"/>
                </a:schemeClr>
              </a:solidFill>
              <a:effectLst/>
              <a:latin typeface="Montserrat SemiBold" pitchFamily="2" charset="77"/>
            </a:endParaRPr>
          </a:p>
        </p:txBody>
      </p:sp>
    </p:spTree>
    <p:extLst>
      <p:ext uri="{BB962C8B-B14F-4D97-AF65-F5344CB8AC3E}">
        <p14:creationId xmlns:p14="http://schemas.microsoft.com/office/powerpoint/2010/main" val="99713265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Title,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4AAC3D4-C28D-E042-887C-2CEBC9BD7C5D}"/>
              </a:ext>
            </a:extLst>
          </p:cNvPr>
          <p:cNvSpPr/>
          <p:nvPr userDrawn="1"/>
        </p:nvSpPr>
        <p:spPr>
          <a:xfrm>
            <a:off x="4151376" y="1426464"/>
            <a:ext cx="3931920" cy="54315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4" name="Title 1">
            <a:extLst>
              <a:ext uri="{FF2B5EF4-FFF2-40B4-BE49-F238E27FC236}">
                <a16:creationId xmlns:a16="http://schemas.microsoft.com/office/drawing/2014/main" id="{D2776BFF-2D8E-5443-9DD8-7518895CAD4D}"/>
              </a:ext>
            </a:extLst>
          </p:cNvPr>
          <p:cNvSpPr>
            <a:spLocks noGrp="1"/>
          </p:cNvSpPr>
          <p:nvPr>
            <p:ph type="title"/>
          </p:nvPr>
        </p:nvSpPr>
        <p:spPr>
          <a:xfrm>
            <a:off x="762000" y="1"/>
            <a:ext cx="10018776" cy="1417320"/>
          </a:xfrm>
          <a:prstGeom prst="rect">
            <a:avLst/>
          </a:prstGeom>
        </p:spPr>
        <p:txBody>
          <a:bodyPr lIns="0" anchor="ctr"/>
          <a:lstStyle>
            <a:lvl1pPr>
              <a:defRPr b="0" i="0">
                <a:solidFill>
                  <a:schemeClr val="bg1"/>
                </a:solidFill>
                <a:latin typeface="Montserrat" pitchFamily="2" charset="77"/>
              </a:defRPr>
            </a:lvl1pPr>
          </a:lstStyle>
          <a:p>
            <a:r>
              <a:rPr lang="en-US"/>
              <a:t>Click to edit Master title style</a:t>
            </a:r>
            <a:endParaRPr lang="en-US" dirty="0"/>
          </a:p>
        </p:txBody>
      </p:sp>
      <p:sp>
        <p:nvSpPr>
          <p:cNvPr id="8" name="Content Placeholder 2">
            <a:extLst>
              <a:ext uri="{FF2B5EF4-FFF2-40B4-BE49-F238E27FC236}">
                <a16:creationId xmlns:a16="http://schemas.microsoft.com/office/drawing/2014/main" id="{8E3667D3-938E-2B4A-81B9-3C6F05497602}"/>
              </a:ext>
            </a:extLst>
          </p:cNvPr>
          <p:cNvSpPr>
            <a:spLocks noGrp="1"/>
          </p:cNvSpPr>
          <p:nvPr>
            <p:ph sz="quarter" idx="12"/>
          </p:nvPr>
        </p:nvSpPr>
        <p:spPr>
          <a:xfrm>
            <a:off x="762000" y="1855789"/>
            <a:ext cx="3110591" cy="4435283"/>
          </a:xfrm>
          <a:prstGeom prst="rect">
            <a:avLst/>
          </a:prstGeom>
        </p:spPr>
        <p:txBody>
          <a:bodyPr/>
          <a:lstStyle>
            <a:lvl1pPr marL="0" indent="0">
              <a:buClr>
                <a:srgbClr val="F15934"/>
              </a:buClr>
              <a:buSzPct val="60000"/>
              <a:buNone/>
              <a:tabLst/>
              <a:defRPr sz="1800" b="1" i="0">
                <a:solidFill>
                  <a:srgbClr val="F15934"/>
                </a:solidFill>
                <a:latin typeface="Montserrat SemiBold" pitchFamily="2" charset="77"/>
              </a:defRPr>
            </a:lvl1pPr>
            <a:lvl2pPr>
              <a:buClr>
                <a:srgbClr val="F15934"/>
              </a:buClr>
              <a:buSzPct val="60000"/>
              <a:defRPr sz="1800" b="0" i="0">
                <a:solidFill>
                  <a:schemeClr val="tx1">
                    <a:lumMod val="50000"/>
                    <a:lumOff val="50000"/>
                  </a:schemeClr>
                </a:solidFill>
                <a:latin typeface="Adobe Garamond Pro" panose="02020502060506020403" pitchFamily="18" charset="77"/>
              </a:defRPr>
            </a:lvl2pPr>
            <a:lvl3pPr>
              <a:buClr>
                <a:srgbClr val="F15934"/>
              </a:buClr>
              <a:buSzPct val="60000"/>
              <a:defRPr sz="1600" b="0" i="0">
                <a:solidFill>
                  <a:schemeClr val="tx1">
                    <a:lumMod val="50000"/>
                    <a:lumOff val="50000"/>
                  </a:schemeClr>
                </a:solidFill>
                <a:latin typeface="Adobe Garamond Pro" panose="02020502060506020403" pitchFamily="18" charset="77"/>
              </a:defRPr>
            </a:lvl3pPr>
            <a:lvl4pPr>
              <a:buClr>
                <a:srgbClr val="F15934"/>
              </a:buClr>
              <a:buSzPct val="60000"/>
              <a:defRPr sz="1600" b="0" i="0">
                <a:solidFill>
                  <a:schemeClr val="tx1">
                    <a:lumMod val="50000"/>
                    <a:lumOff val="50000"/>
                  </a:schemeClr>
                </a:solidFill>
                <a:latin typeface="Adobe Garamond Pro" panose="02020502060506020403" pitchFamily="18" charset="77"/>
              </a:defRPr>
            </a:lvl4pPr>
            <a:lvl5pPr>
              <a:buClr>
                <a:srgbClr val="F15934"/>
              </a:buClr>
              <a:buSzPct val="60000"/>
              <a:defRPr sz="1600" b="0" i="0">
                <a:solidFill>
                  <a:schemeClr val="tx1">
                    <a:lumMod val="50000"/>
                    <a:lumOff val="50000"/>
                  </a:schemeClr>
                </a:solidFill>
                <a:latin typeface="Adobe Garamond Pro" panose="02020502060506020403" pitchFamily="18"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E2D8C58B-BEAE-6E4C-BA5B-5BBE275957B9}"/>
              </a:ext>
            </a:extLst>
          </p:cNvPr>
          <p:cNvSpPr>
            <a:spLocks noGrp="1"/>
          </p:cNvSpPr>
          <p:nvPr>
            <p:ph sz="quarter" idx="13"/>
          </p:nvPr>
        </p:nvSpPr>
        <p:spPr>
          <a:xfrm>
            <a:off x="4544568" y="1855789"/>
            <a:ext cx="3110591" cy="4435283"/>
          </a:xfrm>
          <a:prstGeom prst="rect">
            <a:avLst/>
          </a:prstGeom>
        </p:spPr>
        <p:txBody>
          <a:bodyPr/>
          <a:lstStyle>
            <a:lvl1pPr marL="0" indent="0">
              <a:buClr>
                <a:srgbClr val="F15934"/>
              </a:buClr>
              <a:buSzPct val="60000"/>
              <a:buNone/>
              <a:tabLst/>
              <a:defRPr sz="1800" b="1" i="0">
                <a:solidFill>
                  <a:srgbClr val="F15934"/>
                </a:solidFill>
                <a:latin typeface="Montserrat SemiBold" pitchFamily="2" charset="77"/>
              </a:defRPr>
            </a:lvl1pPr>
            <a:lvl2pPr>
              <a:buClr>
                <a:srgbClr val="F15934"/>
              </a:buClr>
              <a:buSzPct val="60000"/>
              <a:defRPr sz="1800" b="0" i="0">
                <a:solidFill>
                  <a:schemeClr val="tx1">
                    <a:lumMod val="50000"/>
                    <a:lumOff val="50000"/>
                  </a:schemeClr>
                </a:solidFill>
                <a:latin typeface="Adobe Garamond Pro" panose="02020502060506020403" pitchFamily="18" charset="77"/>
              </a:defRPr>
            </a:lvl2pPr>
            <a:lvl3pPr>
              <a:buClr>
                <a:srgbClr val="F15934"/>
              </a:buClr>
              <a:buSzPct val="60000"/>
              <a:defRPr sz="1600" b="0" i="0">
                <a:solidFill>
                  <a:schemeClr val="tx1">
                    <a:lumMod val="50000"/>
                    <a:lumOff val="50000"/>
                  </a:schemeClr>
                </a:solidFill>
                <a:latin typeface="Adobe Garamond Pro" panose="02020502060506020403" pitchFamily="18" charset="77"/>
              </a:defRPr>
            </a:lvl3pPr>
            <a:lvl4pPr>
              <a:buClr>
                <a:srgbClr val="F15934"/>
              </a:buClr>
              <a:buSzPct val="60000"/>
              <a:defRPr sz="1600" b="0" i="0">
                <a:solidFill>
                  <a:schemeClr val="tx1">
                    <a:lumMod val="50000"/>
                    <a:lumOff val="50000"/>
                  </a:schemeClr>
                </a:solidFill>
                <a:latin typeface="Adobe Garamond Pro" panose="02020502060506020403" pitchFamily="18" charset="77"/>
              </a:defRPr>
            </a:lvl4pPr>
            <a:lvl5pPr>
              <a:buClr>
                <a:srgbClr val="F15934"/>
              </a:buClr>
              <a:buSzPct val="60000"/>
              <a:defRPr sz="1600" b="0" i="0">
                <a:solidFill>
                  <a:schemeClr val="tx1">
                    <a:lumMod val="50000"/>
                    <a:lumOff val="50000"/>
                  </a:schemeClr>
                </a:solidFill>
                <a:latin typeface="Adobe Garamond Pro" panose="02020502060506020403" pitchFamily="18"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8E4576EE-45A6-FC4E-BADD-BAAC199F036E}"/>
              </a:ext>
            </a:extLst>
          </p:cNvPr>
          <p:cNvSpPr>
            <a:spLocks noGrp="1"/>
          </p:cNvSpPr>
          <p:nvPr>
            <p:ph sz="quarter" idx="14"/>
          </p:nvPr>
        </p:nvSpPr>
        <p:spPr>
          <a:xfrm>
            <a:off x="8409432" y="1855789"/>
            <a:ext cx="3110591" cy="4435283"/>
          </a:xfrm>
          <a:prstGeom prst="rect">
            <a:avLst/>
          </a:prstGeom>
        </p:spPr>
        <p:txBody>
          <a:bodyPr/>
          <a:lstStyle>
            <a:lvl1pPr marL="0" indent="0">
              <a:buClr>
                <a:srgbClr val="F15934"/>
              </a:buClr>
              <a:buSzPct val="60000"/>
              <a:buNone/>
              <a:tabLst/>
              <a:defRPr sz="1800" b="1" i="0">
                <a:solidFill>
                  <a:srgbClr val="F15934"/>
                </a:solidFill>
                <a:latin typeface="Montserrat SemiBold" pitchFamily="2" charset="77"/>
              </a:defRPr>
            </a:lvl1pPr>
            <a:lvl2pPr>
              <a:buClr>
                <a:srgbClr val="F15934"/>
              </a:buClr>
              <a:buSzPct val="60000"/>
              <a:defRPr sz="1800" b="0" i="0">
                <a:solidFill>
                  <a:schemeClr val="tx1">
                    <a:lumMod val="50000"/>
                    <a:lumOff val="50000"/>
                  </a:schemeClr>
                </a:solidFill>
                <a:latin typeface="Adobe Garamond Pro" panose="02020502060506020403" pitchFamily="18" charset="77"/>
              </a:defRPr>
            </a:lvl2pPr>
            <a:lvl3pPr>
              <a:buClr>
                <a:srgbClr val="F15934"/>
              </a:buClr>
              <a:buSzPct val="60000"/>
              <a:defRPr sz="1600" b="0" i="0">
                <a:solidFill>
                  <a:schemeClr val="tx1">
                    <a:lumMod val="50000"/>
                    <a:lumOff val="50000"/>
                  </a:schemeClr>
                </a:solidFill>
                <a:latin typeface="Adobe Garamond Pro" panose="02020502060506020403" pitchFamily="18" charset="77"/>
              </a:defRPr>
            </a:lvl3pPr>
            <a:lvl4pPr>
              <a:buClr>
                <a:srgbClr val="F15934"/>
              </a:buClr>
              <a:buSzPct val="60000"/>
              <a:defRPr sz="1600" b="0" i="0">
                <a:solidFill>
                  <a:schemeClr val="tx1">
                    <a:lumMod val="50000"/>
                    <a:lumOff val="50000"/>
                  </a:schemeClr>
                </a:solidFill>
                <a:latin typeface="Adobe Garamond Pro" panose="02020502060506020403" pitchFamily="18" charset="77"/>
              </a:defRPr>
            </a:lvl4pPr>
            <a:lvl5pPr>
              <a:buClr>
                <a:srgbClr val="F15934"/>
              </a:buClr>
              <a:buSzPct val="60000"/>
              <a:defRPr sz="1600" b="0" i="0">
                <a:solidFill>
                  <a:schemeClr val="tx1">
                    <a:lumMod val="50000"/>
                    <a:lumOff val="50000"/>
                  </a:schemeClr>
                </a:solidFill>
                <a:latin typeface="Adobe Garamond Pro" panose="02020502060506020403" pitchFamily="18"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370907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FCC18CFF-3ACC-124D-A5D8-85C3268CCE61}"/>
              </a:ext>
            </a:extLst>
          </p:cNvPr>
          <p:cNvSpPr>
            <a:spLocks noGrp="1"/>
          </p:cNvSpPr>
          <p:nvPr>
            <p:ph type="pic" sz="quarter" idx="11"/>
          </p:nvPr>
        </p:nvSpPr>
        <p:spPr>
          <a:xfrm>
            <a:off x="6546850" y="0"/>
            <a:ext cx="5645150" cy="6858000"/>
          </a:xfrm>
          <a:prstGeom prst="rect">
            <a:avLst/>
          </a:prstGeom>
        </p:spPr>
        <p:txBody>
          <a:bodyPr/>
          <a:lstStyle/>
          <a:p>
            <a:r>
              <a:rPr lang="en-US"/>
              <a:t>Click icon to add picture</a:t>
            </a:r>
            <a:endParaRPr lang="en-US" dirty="0"/>
          </a:p>
        </p:txBody>
      </p:sp>
      <p:sp>
        <p:nvSpPr>
          <p:cNvPr id="3" name="TextBox 2">
            <a:extLst>
              <a:ext uri="{FF2B5EF4-FFF2-40B4-BE49-F238E27FC236}">
                <a16:creationId xmlns:a16="http://schemas.microsoft.com/office/drawing/2014/main" id="{D3201DCF-858F-4B4F-AEB0-9FE083ACDFE5}"/>
              </a:ext>
            </a:extLst>
          </p:cNvPr>
          <p:cNvSpPr txBox="1"/>
          <p:nvPr userDrawn="1"/>
        </p:nvSpPr>
        <p:spPr>
          <a:xfrm>
            <a:off x="11311128" y="6108192"/>
            <a:ext cx="521208" cy="276999"/>
          </a:xfrm>
          <a:prstGeom prst="rect">
            <a:avLst/>
          </a:prstGeom>
          <a:noFill/>
        </p:spPr>
        <p:txBody>
          <a:bodyPr wrap="square" rtlCol="0">
            <a:spAutoFit/>
          </a:bodyPr>
          <a:lstStyle/>
          <a:p>
            <a:pPr algn="r"/>
            <a:fld id="{90F21B5F-06DF-1840-B2F7-3636C65A51F9}" type="slidenum">
              <a:rPr lang="en-US" sz="1200" b="0" i="0" smtClean="0">
                <a:solidFill>
                  <a:schemeClr val="bg1">
                    <a:lumMod val="65000"/>
                  </a:schemeClr>
                </a:solidFill>
                <a:latin typeface="Montserrat Medium" pitchFamily="2" charset="77"/>
              </a:rPr>
              <a:pPr algn="r"/>
              <a:t>‹#›</a:t>
            </a:fld>
            <a:endParaRPr lang="en-US" sz="1200" b="0" i="0" dirty="0">
              <a:solidFill>
                <a:schemeClr val="bg1">
                  <a:lumMod val="65000"/>
                </a:schemeClr>
              </a:solidFill>
              <a:latin typeface="Montserrat Medium" pitchFamily="2" charset="77"/>
            </a:endParaRPr>
          </a:p>
        </p:txBody>
      </p:sp>
      <p:sp>
        <p:nvSpPr>
          <p:cNvPr id="4" name="Content Placeholder 2">
            <a:extLst>
              <a:ext uri="{FF2B5EF4-FFF2-40B4-BE49-F238E27FC236}">
                <a16:creationId xmlns:a16="http://schemas.microsoft.com/office/drawing/2014/main" id="{AB526064-51DA-114D-B6D1-B01DD7DBDDC1}"/>
              </a:ext>
            </a:extLst>
          </p:cNvPr>
          <p:cNvSpPr>
            <a:spLocks noGrp="1"/>
          </p:cNvSpPr>
          <p:nvPr>
            <p:ph sz="quarter" idx="10"/>
          </p:nvPr>
        </p:nvSpPr>
        <p:spPr>
          <a:xfrm>
            <a:off x="762000" y="804673"/>
            <a:ext cx="5026152" cy="5321807"/>
          </a:xfrm>
          <a:prstGeom prst="rect">
            <a:avLst/>
          </a:prstGeom>
        </p:spPr>
        <p:txBody>
          <a:bodyPr/>
          <a:lstStyle>
            <a:lvl1pPr marL="117475" indent="-117475">
              <a:buClr>
                <a:srgbClr val="F15934"/>
              </a:buClr>
              <a:buSzPct val="60000"/>
              <a:tabLst/>
              <a:defRPr sz="1800" b="0" i="0">
                <a:solidFill>
                  <a:schemeClr val="tx1">
                    <a:lumMod val="50000"/>
                    <a:lumOff val="50000"/>
                  </a:schemeClr>
                </a:solidFill>
                <a:latin typeface="Adobe Garamond Pro" panose="02020502060506020403" pitchFamily="18" charset="77"/>
              </a:defRPr>
            </a:lvl1pPr>
            <a:lvl2pPr>
              <a:buClr>
                <a:srgbClr val="F15934"/>
              </a:buClr>
              <a:buSzPct val="60000"/>
              <a:defRPr sz="1800" b="0" i="0">
                <a:solidFill>
                  <a:schemeClr val="tx1">
                    <a:lumMod val="50000"/>
                    <a:lumOff val="50000"/>
                  </a:schemeClr>
                </a:solidFill>
                <a:latin typeface="Adobe Garamond Pro" panose="02020502060506020403" pitchFamily="18" charset="77"/>
              </a:defRPr>
            </a:lvl2pPr>
            <a:lvl3pPr>
              <a:buClr>
                <a:srgbClr val="F15934"/>
              </a:buClr>
              <a:buSzPct val="60000"/>
              <a:defRPr sz="1600" b="0" i="0">
                <a:solidFill>
                  <a:schemeClr val="tx1">
                    <a:lumMod val="50000"/>
                    <a:lumOff val="50000"/>
                  </a:schemeClr>
                </a:solidFill>
                <a:latin typeface="Adobe Garamond Pro" panose="02020502060506020403" pitchFamily="18" charset="77"/>
              </a:defRPr>
            </a:lvl3pPr>
            <a:lvl4pPr>
              <a:buClr>
                <a:srgbClr val="F15934"/>
              </a:buClr>
              <a:buSzPct val="60000"/>
              <a:defRPr sz="1600" b="0" i="0">
                <a:solidFill>
                  <a:schemeClr val="tx1">
                    <a:lumMod val="50000"/>
                    <a:lumOff val="50000"/>
                  </a:schemeClr>
                </a:solidFill>
                <a:latin typeface="Adobe Garamond Pro" panose="02020502060506020403" pitchFamily="18" charset="77"/>
              </a:defRPr>
            </a:lvl4pPr>
            <a:lvl5pPr>
              <a:buClr>
                <a:srgbClr val="F15934"/>
              </a:buClr>
              <a:buSzPct val="60000"/>
              <a:defRPr sz="1600" b="0" i="0">
                <a:solidFill>
                  <a:schemeClr val="tx1">
                    <a:lumMod val="50000"/>
                    <a:lumOff val="50000"/>
                  </a:schemeClr>
                </a:solidFill>
                <a:latin typeface="Adobe Garamond Pro" panose="02020502060506020403" pitchFamily="18"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a:extLst>
              <a:ext uri="{FF2B5EF4-FFF2-40B4-BE49-F238E27FC236}">
                <a16:creationId xmlns:a16="http://schemas.microsoft.com/office/drawing/2014/main" id="{6105BCA0-4929-8544-B288-C74A4899E1CD}"/>
              </a:ext>
            </a:extLst>
          </p:cNvPr>
          <p:cNvSpPr/>
          <p:nvPr userDrawn="1"/>
        </p:nvSpPr>
        <p:spPr>
          <a:xfrm>
            <a:off x="10157021" y="6374907"/>
            <a:ext cx="1808508" cy="215444"/>
          </a:xfrm>
          <a:prstGeom prst="rect">
            <a:avLst/>
          </a:prstGeom>
        </p:spPr>
        <p:txBody>
          <a:bodyPr wrap="none">
            <a:spAutoFit/>
          </a:bodyPr>
          <a:lstStyle/>
          <a:p>
            <a:r>
              <a:rPr lang="en-US" sz="800" b="0" dirty="0">
                <a:solidFill>
                  <a:schemeClr val="bg1">
                    <a:lumMod val="75000"/>
                  </a:schemeClr>
                </a:solidFill>
                <a:effectLst/>
                <a:latin typeface="Montserrat" pitchFamily="2" charset="77"/>
              </a:rPr>
              <a:t>©2022 ESIG. All rights Reserved.</a:t>
            </a:r>
            <a:endParaRPr lang="en-US" sz="800" b="0" dirty="0">
              <a:solidFill>
                <a:schemeClr val="bg1">
                  <a:lumMod val="75000"/>
                </a:schemeClr>
              </a:solidFill>
              <a:effectLst/>
              <a:latin typeface="Montserrat SemiBold" pitchFamily="2" charset="77"/>
            </a:endParaRPr>
          </a:p>
        </p:txBody>
      </p:sp>
    </p:spTree>
    <p:extLst>
      <p:ext uri="{BB962C8B-B14F-4D97-AF65-F5344CB8AC3E}">
        <p14:creationId xmlns:p14="http://schemas.microsoft.com/office/powerpoint/2010/main" val="7516476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D0E8738-52F8-3B4D-8F30-939ADE9ADA94}"/>
              </a:ext>
            </a:extLst>
          </p:cNvPr>
          <p:cNvPicPr>
            <a:picLocks noChangeAspect="1"/>
          </p:cNvPicPr>
          <p:nvPr userDrawn="1"/>
        </p:nvPicPr>
        <p:blipFill>
          <a:blip r:embed="rId2"/>
          <a:stretch>
            <a:fillRect/>
          </a:stretch>
        </p:blipFill>
        <p:spPr>
          <a:xfrm>
            <a:off x="0" y="0"/>
            <a:ext cx="5842000" cy="6858000"/>
          </a:xfrm>
          <a:prstGeom prst="rect">
            <a:avLst/>
          </a:prstGeom>
        </p:spPr>
      </p:pic>
      <p:pic>
        <p:nvPicPr>
          <p:cNvPr id="6" name="Picture 5">
            <a:extLst>
              <a:ext uri="{FF2B5EF4-FFF2-40B4-BE49-F238E27FC236}">
                <a16:creationId xmlns:a16="http://schemas.microsoft.com/office/drawing/2014/main" id="{3AF1AF86-4775-4B49-9184-091E9128735F}"/>
              </a:ext>
            </a:extLst>
          </p:cNvPr>
          <p:cNvPicPr>
            <a:picLocks noChangeAspect="1"/>
          </p:cNvPicPr>
          <p:nvPr userDrawn="1"/>
        </p:nvPicPr>
        <p:blipFill>
          <a:blip r:embed="rId3"/>
          <a:stretch>
            <a:fillRect/>
          </a:stretch>
        </p:blipFill>
        <p:spPr>
          <a:xfrm>
            <a:off x="490728" y="4123944"/>
            <a:ext cx="1711757" cy="2139696"/>
          </a:xfrm>
          <a:prstGeom prst="rect">
            <a:avLst/>
          </a:prstGeom>
        </p:spPr>
      </p:pic>
      <p:sp>
        <p:nvSpPr>
          <p:cNvPr id="11" name="Rectangle 10">
            <a:extLst>
              <a:ext uri="{FF2B5EF4-FFF2-40B4-BE49-F238E27FC236}">
                <a16:creationId xmlns:a16="http://schemas.microsoft.com/office/drawing/2014/main" id="{A7F1C996-3C78-604E-8E86-C9A00628EBA6}"/>
              </a:ext>
            </a:extLst>
          </p:cNvPr>
          <p:cNvSpPr/>
          <p:nvPr userDrawn="1"/>
        </p:nvSpPr>
        <p:spPr>
          <a:xfrm>
            <a:off x="10157021" y="6374907"/>
            <a:ext cx="1808508" cy="215444"/>
          </a:xfrm>
          <a:prstGeom prst="rect">
            <a:avLst/>
          </a:prstGeom>
        </p:spPr>
        <p:txBody>
          <a:bodyPr wrap="none">
            <a:spAutoFit/>
          </a:bodyPr>
          <a:lstStyle/>
          <a:p>
            <a:r>
              <a:rPr lang="en-US" sz="800" b="0" dirty="0">
                <a:solidFill>
                  <a:schemeClr val="bg1"/>
                </a:solidFill>
                <a:effectLst/>
                <a:latin typeface="Montserrat" pitchFamily="2" charset="77"/>
              </a:rPr>
              <a:t>©2022 ESIG. All rights Reserved.</a:t>
            </a:r>
            <a:endParaRPr lang="en-US" sz="800" b="0" dirty="0">
              <a:solidFill>
                <a:schemeClr val="bg1"/>
              </a:solidFill>
              <a:effectLst/>
              <a:latin typeface="Montserrat SemiBold" pitchFamily="2" charset="77"/>
            </a:endParaRPr>
          </a:p>
        </p:txBody>
      </p:sp>
      <p:sp>
        <p:nvSpPr>
          <p:cNvPr id="12" name="TextBox 11">
            <a:extLst>
              <a:ext uri="{FF2B5EF4-FFF2-40B4-BE49-F238E27FC236}">
                <a16:creationId xmlns:a16="http://schemas.microsoft.com/office/drawing/2014/main" id="{73B7F524-9FDB-8E4C-B3AB-1D000B078C31}"/>
              </a:ext>
            </a:extLst>
          </p:cNvPr>
          <p:cNvSpPr txBox="1"/>
          <p:nvPr userDrawn="1"/>
        </p:nvSpPr>
        <p:spPr>
          <a:xfrm>
            <a:off x="11274552" y="6099048"/>
            <a:ext cx="521208" cy="276999"/>
          </a:xfrm>
          <a:prstGeom prst="rect">
            <a:avLst/>
          </a:prstGeom>
          <a:noFill/>
        </p:spPr>
        <p:txBody>
          <a:bodyPr wrap="square" rtlCol="0">
            <a:spAutoFit/>
          </a:bodyPr>
          <a:lstStyle/>
          <a:p>
            <a:pPr algn="r"/>
            <a:fld id="{90F21B5F-06DF-1840-B2F7-3636C65A51F9}" type="slidenum">
              <a:rPr lang="en-US" sz="1200" b="0" i="0" smtClean="0">
                <a:solidFill>
                  <a:schemeClr val="bg1"/>
                </a:solidFill>
                <a:latin typeface="Montserrat Medium" pitchFamily="2" charset="77"/>
              </a:rPr>
              <a:pPr algn="r"/>
              <a:t>‹#›</a:t>
            </a:fld>
            <a:endParaRPr lang="en-US" sz="1200" b="0" i="0" dirty="0">
              <a:solidFill>
                <a:schemeClr val="bg1"/>
              </a:solidFill>
              <a:latin typeface="Montserrat Medium" pitchFamily="2" charset="77"/>
            </a:endParaRPr>
          </a:p>
        </p:txBody>
      </p:sp>
      <p:sp>
        <p:nvSpPr>
          <p:cNvPr id="9" name="TextBox 8">
            <a:extLst>
              <a:ext uri="{FF2B5EF4-FFF2-40B4-BE49-F238E27FC236}">
                <a16:creationId xmlns:a16="http://schemas.microsoft.com/office/drawing/2014/main" id="{47DA6BAB-A4FE-E945-99F3-FAA70212572B}"/>
              </a:ext>
            </a:extLst>
          </p:cNvPr>
          <p:cNvSpPr txBox="1"/>
          <p:nvPr userDrawn="1"/>
        </p:nvSpPr>
        <p:spPr>
          <a:xfrm>
            <a:off x="11463528" y="6260592"/>
            <a:ext cx="521208" cy="276999"/>
          </a:xfrm>
          <a:prstGeom prst="rect">
            <a:avLst/>
          </a:prstGeom>
          <a:noFill/>
        </p:spPr>
        <p:txBody>
          <a:bodyPr wrap="square" rtlCol="0">
            <a:spAutoFit/>
          </a:bodyPr>
          <a:lstStyle/>
          <a:p>
            <a:pPr algn="r"/>
            <a:fld id="{90F21B5F-06DF-1840-B2F7-3636C65A51F9}" type="slidenum">
              <a:rPr lang="en-US" sz="1200" b="0" i="0" smtClean="0">
                <a:solidFill>
                  <a:schemeClr val="bg1">
                    <a:lumMod val="65000"/>
                  </a:schemeClr>
                </a:solidFill>
                <a:latin typeface="Montserrat Medium" pitchFamily="2" charset="77"/>
              </a:rPr>
              <a:pPr algn="r"/>
              <a:t>‹#›</a:t>
            </a:fld>
            <a:endParaRPr lang="en-US" sz="1200" b="0" i="0" dirty="0">
              <a:solidFill>
                <a:schemeClr val="bg1">
                  <a:lumMod val="65000"/>
                </a:schemeClr>
              </a:solidFill>
              <a:latin typeface="Montserrat Medium" pitchFamily="2" charset="77"/>
            </a:endParaRPr>
          </a:p>
        </p:txBody>
      </p:sp>
      <p:sp>
        <p:nvSpPr>
          <p:cNvPr id="10" name="Rectangle 9">
            <a:extLst>
              <a:ext uri="{FF2B5EF4-FFF2-40B4-BE49-F238E27FC236}">
                <a16:creationId xmlns:a16="http://schemas.microsoft.com/office/drawing/2014/main" id="{DF03549B-0803-754F-9635-CE3109E84F6E}"/>
              </a:ext>
            </a:extLst>
          </p:cNvPr>
          <p:cNvSpPr/>
          <p:nvPr userDrawn="1"/>
        </p:nvSpPr>
        <p:spPr>
          <a:xfrm>
            <a:off x="10309421" y="6527307"/>
            <a:ext cx="1808508" cy="215444"/>
          </a:xfrm>
          <a:prstGeom prst="rect">
            <a:avLst/>
          </a:prstGeom>
        </p:spPr>
        <p:txBody>
          <a:bodyPr wrap="none">
            <a:spAutoFit/>
          </a:bodyPr>
          <a:lstStyle/>
          <a:p>
            <a:r>
              <a:rPr lang="en-US" sz="800" b="0" dirty="0">
                <a:solidFill>
                  <a:schemeClr val="bg1">
                    <a:lumMod val="75000"/>
                  </a:schemeClr>
                </a:solidFill>
                <a:effectLst/>
                <a:latin typeface="Montserrat" pitchFamily="2" charset="77"/>
              </a:rPr>
              <a:t>©2022 ESIG. All rights Reserved.</a:t>
            </a:r>
            <a:endParaRPr lang="en-US" sz="800" b="0" dirty="0">
              <a:solidFill>
                <a:schemeClr val="bg1">
                  <a:lumMod val="75000"/>
                </a:schemeClr>
              </a:solidFill>
              <a:effectLst/>
              <a:latin typeface="Montserrat SemiBold" pitchFamily="2" charset="77"/>
            </a:endParaRPr>
          </a:p>
        </p:txBody>
      </p:sp>
      <p:sp>
        <p:nvSpPr>
          <p:cNvPr id="5" name="TextBox 4">
            <a:extLst>
              <a:ext uri="{FF2B5EF4-FFF2-40B4-BE49-F238E27FC236}">
                <a16:creationId xmlns:a16="http://schemas.microsoft.com/office/drawing/2014/main" id="{B24B3583-FCEF-F245-8A7A-6DC03E730E3E}"/>
              </a:ext>
            </a:extLst>
          </p:cNvPr>
          <p:cNvSpPr txBox="1"/>
          <p:nvPr userDrawn="1"/>
        </p:nvSpPr>
        <p:spPr>
          <a:xfrm>
            <a:off x="6474241" y="2777334"/>
            <a:ext cx="2817677" cy="1754326"/>
          </a:xfrm>
          <a:prstGeom prst="rect">
            <a:avLst/>
          </a:prstGeom>
          <a:noFill/>
        </p:spPr>
        <p:txBody>
          <a:bodyPr wrap="square" rtlCol="0">
            <a:spAutoFit/>
          </a:bodyPr>
          <a:lstStyle/>
          <a:p>
            <a:r>
              <a:rPr lang="en-US" sz="5400" b="0" i="0" dirty="0">
                <a:solidFill>
                  <a:srgbClr val="F15934"/>
                </a:solidFill>
                <a:latin typeface="Montserrat" pitchFamily="2" charset="77"/>
              </a:rPr>
              <a:t>THANK </a:t>
            </a:r>
          </a:p>
          <a:p>
            <a:r>
              <a:rPr lang="en-US" sz="5400" b="0" i="0" dirty="0">
                <a:solidFill>
                  <a:srgbClr val="F15934"/>
                </a:solidFill>
                <a:latin typeface="Montserrat" pitchFamily="2" charset="77"/>
              </a:rPr>
              <a:t>YOU</a:t>
            </a:r>
          </a:p>
        </p:txBody>
      </p:sp>
      <p:sp>
        <p:nvSpPr>
          <p:cNvPr id="13" name="Text Placeholder 9">
            <a:extLst>
              <a:ext uri="{FF2B5EF4-FFF2-40B4-BE49-F238E27FC236}">
                <a16:creationId xmlns:a16="http://schemas.microsoft.com/office/drawing/2014/main" id="{B518C828-5381-C946-9457-D9797D1A4D68}"/>
              </a:ext>
            </a:extLst>
          </p:cNvPr>
          <p:cNvSpPr>
            <a:spLocks noGrp="1"/>
          </p:cNvSpPr>
          <p:nvPr>
            <p:ph type="body" sz="quarter" idx="10" hasCustomPrompt="1"/>
          </p:nvPr>
        </p:nvSpPr>
        <p:spPr>
          <a:xfrm>
            <a:off x="6583806" y="4855528"/>
            <a:ext cx="3985582" cy="329120"/>
          </a:xfrm>
          <a:prstGeom prst="rect">
            <a:avLst/>
          </a:prstGeom>
        </p:spPr>
        <p:txBody>
          <a:bodyPr/>
          <a:lstStyle>
            <a:lvl1pPr marL="0" indent="0">
              <a:buNone/>
              <a:defRPr sz="2000" b="0" i="0">
                <a:solidFill>
                  <a:srgbClr val="4297CB"/>
                </a:solidFill>
                <a:latin typeface="Montserrat SemiBold" pitchFamily="2" charset="77"/>
              </a:defRPr>
            </a:lvl1pPr>
            <a:lvl2pPr marL="285750" indent="0">
              <a:buNone/>
              <a:defRPr b="1" i="0">
                <a:latin typeface="Montserrat SemiBold" pitchFamily="2" charset="77"/>
              </a:defRPr>
            </a:lvl2pPr>
            <a:lvl3pPr marL="682625" indent="0">
              <a:buNone/>
              <a:defRPr b="1" i="0">
                <a:latin typeface="Montserrat SemiBold" pitchFamily="2" charset="77"/>
              </a:defRPr>
            </a:lvl3pPr>
            <a:lvl4pPr marL="1092200" indent="0">
              <a:buNone/>
              <a:defRPr b="1" i="0">
                <a:latin typeface="Montserrat SemiBold" pitchFamily="2" charset="77"/>
              </a:defRPr>
            </a:lvl4pPr>
            <a:lvl5pPr marL="1377950" indent="0">
              <a:buNone/>
              <a:defRPr b="1" i="0">
                <a:latin typeface="Montserrat SemiBold" pitchFamily="2" charset="77"/>
              </a:defRPr>
            </a:lvl5pPr>
          </a:lstStyle>
          <a:p>
            <a:pPr lvl="0"/>
            <a:r>
              <a:rPr lang="en-US" dirty="0"/>
              <a:t>Author</a:t>
            </a:r>
          </a:p>
        </p:txBody>
      </p:sp>
      <p:sp>
        <p:nvSpPr>
          <p:cNvPr id="14" name="Text Placeholder 9">
            <a:extLst>
              <a:ext uri="{FF2B5EF4-FFF2-40B4-BE49-F238E27FC236}">
                <a16:creationId xmlns:a16="http://schemas.microsoft.com/office/drawing/2014/main" id="{4D026F84-2862-5545-9177-281BB9EEFA8C}"/>
              </a:ext>
            </a:extLst>
          </p:cNvPr>
          <p:cNvSpPr>
            <a:spLocks noGrp="1"/>
          </p:cNvSpPr>
          <p:nvPr>
            <p:ph type="body" sz="quarter" idx="12" hasCustomPrompt="1"/>
          </p:nvPr>
        </p:nvSpPr>
        <p:spPr>
          <a:xfrm>
            <a:off x="6583806" y="5365375"/>
            <a:ext cx="3985582" cy="662671"/>
          </a:xfrm>
          <a:prstGeom prst="rect">
            <a:avLst/>
          </a:prstGeom>
        </p:spPr>
        <p:txBody>
          <a:bodyPr anchor="b"/>
          <a:lstStyle>
            <a:lvl1pPr marL="0" indent="0">
              <a:buNone/>
              <a:defRPr sz="1500" b="0" i="1">
                <a:solidFill>
                  <a:schemeClr val="bg1">
                    <a:lumMod val="65000"/>
                  </a:schemeClr>
                </a:solidFill>
                <a:latin typeface="Montserrat" pitchFamily="2" charset="77"/>
              </a:defRPr>
            </a:lvl1pPr>
            <a:lvl2pPr marL="285750" indent="0">
              <a:buNone/>
              <a:defRPr b="1" i="0">
                <a:latin typeface="Montserrat SemiBold" pitchFamily="2" charset="77"/>
              </a:defRPr>
            </a:lvl2pPr>
            <a:lvl3pPr marL="682625" indent="0">
              <a:buNone/>
              <a:defRPr b="1" i="0">
                <a:latin typeface="Montserrat SemiBold" pitchFamily="2" charset="77"/>
              </a:defRPr>
            </a:lvl3pPr>
            <a:lvl4pPr marL="1092200" indent="0">
              <a:buNone/>
              <a:defRPr b="1" i="0">
                <a:latin typeface="Montserrat SemiBold" pitchFamily="2" charset="77"/>
              </a:defRPr>
            </a:lvl4pPr>
            <a:lvl5pPr marL="1377950" indent="0">
              <a:buNone/>
              <a:defRPr b="1" i="0">
                <a:latin typeface="Montserrat SemiBold" pitchFamily="2" charset="77"/>
              </a:defRPr>
            </a:lvl5pPr>
          </a:lstStyle>
          <a:p>
            <a:pPr lvl="0"/>
            <a:r>
              <a:rPr lang="en-US" dirty="0"/>
              <a:t>Contact info</a:t>
            </a:r>
          </a:p>
        </p:txBody>
      </p:sp>
    </p:spTree>
    <p:extLst>
      <p:ext uri="{BB962C8B-B14F-4D97-AF65-F5344CB8AC3E}">
        <p14:creationId xmlns:p14="http://schemas.microsoft.com/office/powerpoint/2010/main" val="30707921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Title, Content and Photo">
  <p:cSld name="5_Title, Content and Photo">
    <p:spTree>
      <p:nvGrpSpPr>
        <p:cNvPr id="1" name="Shape 23"/>
        <p:cNvGrpSpPr/>
        <p:nvPr/>
      </p:nvGrpSpPr>
      <p:grpSpPr>
        <a:xfrm>
          <a:off x="0" y="0"/>
          <a:ext cx="0" cy="0"/>
          <a:chOff x="0" y="0"/>
          <a:chExt cx="0" cy="0"/>
        </a:xfrm>
      </p:grpSpPr>
      <p:sp>
        <p:nvSpPr>
          <p:cNvPr id="24" name="Google Shape;24;p20"/>
          <p:cNvSpPr txBox="1">
            <a:spLocks noGrp="1"/>
          </p:cNvSpPr>
          <p:nvPr>
            <p:ph type="title"/>
          </p:nvPr>
        </p:nvSpPr>
        <p:spPr>
          <a:xfrm>
            <a:off x="762000" y="1"/>
            <a:ext cx="10018776" cy="1417320"/>
          </a:xfrm>
          <a:prstGeom prst="rect">
            <a:avLst/>
          </a:prstGeom>
          <a:noFill/>
          <a:ln>
            <a:noFill/>
          </a:ln>
        </p:spPr>
        <p:txBody>
          <a:bodyPr spcFirstLastPara="1" wrap="square" lIns="0" tIns="45700" rIns="91425" bIns="45700" anchor="ctr" anchorCtr="0">
            <a:noAutofit/>
          </a:bodyPr>
          <a:lstStyle>
            <a:lvl1pPr marR="0" lvl="0" algn="l" rtl="0">
              <a:lnSpc>
                <a:spcPct val="90000"/>
              </a:lnSpc>
              <a:spcBef>
                <a:spcPts val="0"/>
              </a:spcBef>
              <a:spcAft>
                <a:spcPts val="0"/>
              </a:spcAft>
              <a:buClr>
                <a:schemeClr val="lt1"/>
              </a:buClr>
              <a:buSzPts val="3200"/>
              <a:buFont typeface="Montserrat"/>
              <a:buNone/>
              <a:defRPr sz="3200" b="0" i="0" u="none" strike="noStrike" cap="none">
                <a:solidFill>
                  <a:schemeClr val="lt1"/>
                </a:solidFill>
                <a:latin typeface="Montserrat"/>
                <a:ea typeface="Montserrat"/>
                <a:cs typeface="Montserrat"/>
                <a:sym typeface="Montserrat"/>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25" name="Google Shape;25;p20"/>
          <p:cNvSpPr txBox="1">
            <a:spLocks noGrp="1"/>
          </p:cNvSpPr>
          <p:nvPr>
            <p:ph type="body" idx="1"/>
          </p:nvPr>
        </p:nvSpPr>
        <p:spPr>
          <a:xfrm>
            <a:off x="762000" y="1855789"/>
            <a:ext cx="10631400" cy="4435200"/>
          </a:xfrm>
          <a:prstGeom prst="rect">
            <a:avLst/>
          </a:prstGeom>
          <a:noFill/>
          <a:ln>
            <a:noFill/>
          </a:ln>
        </p:spPr>
        <p:txBody>
          <a:bodyPr spcFirstLastPara="1" wrap="square" lIns="91425" tIns="45700" rIns="91425" bIns="45700" anchor="t" anchorCtr="0">
            <a:noAutofit/>
          </a:bodyPr>
          <a:lstStyle>
            <a:lvl1pPr marL="457200" marR="0" lvl="0" indent="-297180" algn="l" rtl="0">
              <a:lnSpc>
                <a:spcPct val="90000"/>
              </a:lnSpc>
              <a:spcBef>
                <a:spcPts val="1000"/>
              </a:spcBef>
              <a:spcAft>
                <a:spcPts val="0"/>
              </a:spcAft>
              <a:buClr>
                <a:srgbClr val="F15934"/>
              </a:buClr>
              <a:buSzPts val="1080"/>
              <a:buFont typeface="Noto Sans Symbols"/>
              <a:buChar char="▪"/>
              <a:defRPr sz="1800" b="0" i="0" u="none" strike="noStrike" cap="none">
                <a:solidFill>
                  <a:srgbClr val="7F7F7F"/>
                </a:solidFill>
                <a:latin typeface="EB Garamond"/>
                <a:ea typeface="EB Garamond"/>
                <a:cs typeface="EB Garamond"/>
                <a:sym typeface="EB Garamond"/>
              </a:defRPr>
            </a:lvl1pPr>
            <a:lvl2pPr marL="914400" marR="0" lvl="1" indent="-297180" algn="l" rtl="0">
              <a:lnSpc>
                <a:spcPct val="90000"/>
              </a:lnSpc>
              <a:spcBef>
                <a:spcPts val="500"/>
              </a:spcBef>
              <a:spcAft>
                <a:spcPts val="0"/>
              </a:spcAft>
              <a:buClr>
                <a:srgbClr val="F15934"/>
              </a:buClr>
              <a:buSzPts val="1080"/>
              <a:buFont typeface="Noto Sans Symbols"/>
              <a:buChar char="▪"/>
              <a:defRPr sz="1800" b="0" i="0" u="none" strike="noStrike" cap="none">
                <a:solidFill>
                  <a:srgbClr val="7F7F7F"/>
                </a:solidFill>
                <a:latin typeface="EB Garamond"/>
                <a:ea typeface="EB Garamond"/>
                <a:cs typeface="EB Garamond"/>
                <a:sym typeface="EB Garamond"/>
              </a:defRPr>
            </a:lvl2pPr>
            <a:lvl3pPr marL="1371600" marR="0" lvl="2" indent="-289560" algn="l" rtl="0">
              <a:lnSpc>
                <a:spcPct val="90000"/>
              </a:lnSpc>
              <a:spcBef>
                <a:spcPts val="500"/>
              </a:spcBef>
              <a:spcAft>
                <a:spcPts val="0"/>
              </a:spcAft>
              <a:buClr>
                <a:srgbClr val="F15934"/>
              </a:buClr>
              <a:buSzPts val="960"/>
              <a:buFont typeface="Noto Sans Symbols"/>
              <a:buChar char="▪"/>
              <a:defRPr sz="1600" b="0" i="0" u="none" strike="noStrike" cap="none">
                <a:solidFill>
                  <a:srgbClr val="7F7F7F"/>
                </a:solidFill>
                <a:latin typeface="EB Garamond"/>
                <a:ea typeface="EB Garamond"/>
                <a:cs typeface="EB Garamond"/>
                <a:sym typeface="EB Garamond"/>
              </a:defRPr>
            </a:lvl3pPr>
            <a:lvl4pPr marL="1828800" marR="0" lvl="3" indent="-289560" algn="l" rtl="0">
              <a:lnSpc>
                <a:spcPct val="90000"/>
              </a:lnSpc>
              <a:spcBef>
                <a:spcPts val="500"/>
              </a:spcBef>
              <a:spcAft>
                <a:spcPts val="0"/>
              </a:spcAft>
              <a:buClr>
                <a:srgbClr val="F15934"/>
              </a:buClr>
              <a:buSzPts val="960"/>
              <a:buFont typeface="Noto Sans Symbols"/>
              <a:buChar char="▪"/>
              <a:defRPr sz="1600" b="0" i="0" u="none" strike="noStrike" cap="none">
                <a:solidFill>
                  <a:srgbClr val="7F7F7F"/>
                </a:solidFill>
                <a:latin typeface="EB Garamond"/>
                <a:ea typeface="EB Garamond"/>
                <a:cs typeface="EB Garamond"/>
                <a:sym typeface="EB Garamond"/>
              </a:defRPr>
            </a:lvl4pPr>
            <a:lvl5pPr marL="2286000" marR="0" lvl="4" indent="-289560" algn="l" rtl="0">
              <a:lnSpc>
                <a:spcPct val="90000"/>
              </a:lnSpc>
              <a:spcBef>
                <a:spcPts val="500"/>
              </a:spcBef>
              <a:spcAft>
                <a:spcPts val="0"/>
              </a:spcAft>
              <a:buClr>
                <a:srgbClr val="F15934"/>
              </a:buClr>
              <a:buSzPts val="960"/>
              <a:buFont typeface="Noto Sans Symbols"/>
              <a:buChar char="▪"/>
              <a:defRPr sz="1600" b="0" i="0" u="none" strike="noStrike" cap="none">
                <a:solidFill>
                  <a:srgbClr val="7F7F7F"/>
                </a:solidFill>
                <a:latin typeface="EB Garamond"/>
                <a:ea typeface="EB Garamond"/>
                <a:cs typeface="EB Garamond"/>
                <a:sym typeface="EB Garamond"/>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9pPr>
          </a:lstStyle>
          <a:p>
            <a:endParaRPr/>
          </a:p>
        </p:txBody>
      </p:sp>
    </p:spTree>
    <p:extLst>
      <p:ext uri="{BB962C8B-B14F-4D97-AF65-F5344CB8AC3E}">
        <p14:creationId xmlns:p14="http://schemas.microsoft.com/office/powerpoint/2010/main" val="36640344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Titleslid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FF67407-EAE9-4174-9D0B-7BB531965B12}"/>
              </a:ext>
            </a:extLst>
          </p:cNvPr>
          <p:cNvGraphicFramePr>
            <a:graphicFrameLocks noChangeAspect="1"/>
          </p:cNvGraphicFramePr>
          <p:nvPr userDrawn="1">
            <p:custDataLst>
              <p:tags r:id="rId1"/>
            </p:custDataLst>
            <p:extLst>
              <p:ext uri="{D42A27DB-BD31-4B8C-83A1-F6EECF244321}">
                <p14:modId xmlns:p14="http://schemas.microsoft.com/office/powerpoint/2010/main" val="900571399"/>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4" name="Objekt 3" hidden="1">
                        <a:extLst>
                          <a:ext uri="{FF2B5EF4-FFF2-40B4-BE49-F238E27FC236}">
                            <a16:creationId xmlns:a16="http://schemas.microsoft.com/office/drawing/2014/main" id="{FFF67407-EAE9-4174-9D0B-7BB531965B12}"/>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3" name="Untertitel 2"/>
          <p:cNvSpPr>
            <a:spLocks noGrp="1"/>
          </p:cNvSpPr>
          <p:nvPr>
            <p:ph type="subTitle" idx="1" hasCustomPrompt="1"/>
          </p:nvPr>
        </p:nvSpPr>
        <p:spPr bwMode="gray">
          <a:xfrm>
            <a:off x="783167" y="4566920"/>
            <a:ext cx="8112000" cy="1351280"/>
          </a:xfrm>
        </p:spPr>
        <p:txBody>
          <a:bodyPr/>
          <a:lstStyle>
            <a:lvl1pPr marL="0" indent="0" algn="l">
              <a:buNone/>
              <a:defRPr sz="2667">
                <a:solidFill>
                  <a:schemeClr val="accent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Click to edit Master subtitle style</a:t>
            </a:r>
          </a:p>
        </p:txBody>
      </p:sp>
      <p:sp>
        <p:nvSpPr>
          <p:cNvPr id="23" name="Titel 22"/>
          <p:cNvSpPr>
            <a:spLocks noGrp="1"/>
          </p:cNvSpPr>
          <p:nvPr>
            <p:ph type="title" hasCustomPrompt="1"/>
          </p:nvPr>
        </p:nvSpPr>
        <p:spPr>
          <a:xfrm>
            <a:off x="783167" y="2688000"/>
            <a:ext cx="8112000" cy="1440000"/>
          </a:xfrm>
        </p:spPr>
        <p:txBody>
          <a:bodyPr vert="horz"/>
          <a:lstStyle/>
          <a:p>
            <a:r>
              <a:rPr lang="en-US" noProof="0" dirty="0"/>
              <a:t>Click to edit Master title style</a:t>
            </a:r>
          </a:p>
        </p:txBody>
      </p:sp>
      <p:grpSp>
        <p:nvGrpSpPr>
          <p:cNvPr id="8" name="Gruppieren 7">
            <a:extLst>
              <a:ext uri="{FF2B5EF4-FFF2-40B4-BE49-F238E27FC236}">
                <a16:creationId xmlns:a16="http://schemas.microsoft.com/office/drawing/2014/main" id="{B3713BD4-876C-40D4-832D-DA02A114D79E}"/>
              </a:ext>
            </a:extLst>
          </p:cNvPr>
          <p:cNvGrpSpPr/>
          <p:nvPr userDrawn="1"/>
        </p:nvGrpSpPr>
        <p:grpSpPr>
          <a:xfrm>
            <a:off x="384000" y="384000"/>
            <a:ext cx="11424000" cy="6189305"/>
            <a:chOff x="288000" y="287999"/>
            <a:chExt cx="8568000" cy="4641979"/>
          </a:xfrm>
        </p:grpSpPr>
        <p:sp>
          <p:nvSpPr>
            <p:cNvPr id="9" name="Freihandform 8">
              <a:extLst>
                <a:ext uri="{FF2B5EF4-FFF2-40B4-BE49-F238E27FC236}">
                  <a16:creationId xmlns:a16="http://schemas.microsoft.com/office/drawing/2014/main" id="{5C4AEE47-8A1A-4170-B64B-604DDB9E47BF}"/>
                </a:ext>
              </a:extLst>
            </p:cNvPr>
            <p:cNvSpPr/>
            <p:nvPr/>
          </p:nvSpPr>
          <p:spPr bwMode="gray">
            <a:xfrm>
              <a:off x="288000" y="287999"/>
              <a:ext cx="8568000" cy="4423499"/>
            </a:xfrm>
            <a:custGeom>
              <a:avLst/>
              <a:gdLst>
                <a:gd name="connsiteX0" fmla="*/ 0 w 8568000"/>
                <a:gd name="connsiteY0" fmla="*/ 0 h 4423499"/>
                <a:gd name="connsiteX1" fmla="*/ 8568000 w 8568000"/>
                <a:gd name="connsiteY1" fmla="*/ 0 h 4423499"/>
                <a:gd name="connsiteX2" fmla="*/ 8568000 w 8568000"/>
                <a:gd name="connsiteY2" fmla="*/ 4423499 h 4423499"/>
                <a:gd name="connsiteX3" fmla="*/ 0 w 8568000"/>
                <a:gd name="connsiteY3" fmla="*/ 4423499 h 4423499"/>
                <a:gd name="connsiteX4" fmla="*/ 0 w 8568000"/>
                <a:gd name="connsiteY4" fmla="*/ 0 h 4423499"/>
                <a:gd name="connsiteX0" fmla="*/ 0 w 8568000"/>
                <a:gd name="connsiteY0" fmla="*/ 0 h 4423499"/>
                <a:gd name="connsiteX1" fmla="*/ 8568000 w 8568000"/>
                <a:gd name="connsiteY1" fmla="*/ 0 h 4423499"/>
                <a:gd name="connsiteX2" fmla="*/ 8568000 w 8568000"/>
                <a:gd name="connsiteY2" fmla="*/ 4423499 h 4423499"/>
                <a:gd name="connsiteX3" fmla="*/ 5990880 w 8568000"/>
                <a:gd name="connsiteY3" fmla="*/ 4413541 h 4423499"/>
                <a:gd name="connsiteX4" fmla="*/ 0 w 8568000"/>
                <a:gd name="connsiteY4" fmla="*/ 4423499 h 4423499"/>
                <a:gd name="connsiteX5" fmla="*/ 0 w 8568000"/>
                <a:gd name="connsiteY5" fmla="*/ 0 h 4423499"/>
                <a:gd name="connsiteX0" fmla="*/ 0 w 8568000"/>
                <a:gd name="connsiteY0" fmla="*/ 0 h 4423499"/>
                <a:gd name="connsiteX1" fmla="*/ 8568000 w 8568000"/>
                <a:gd name="connsiteY1" fmla="*/ 0 h 4423499"/>
                <a:gd name="connsiteX2" fmla="*/ 8568000 w 8568000"/>
                <a:gd name="connsiteY2" fmla="*/ 4423499 h 4423499"/>
                <a:gd name="connsiteX3" fmla="*/ 7758720 w 8568000"/>
                <a:gd name="connsiteY3" fmla="*/ 4070641 h 4423499"/>
                <a:gd name="connsiteX4" fmla="*/ 0 w 8568000"/>
                <a:gd name="connsiteY4" fmla="*/ 4423499 h 4423499"/>
                <a:gd name="connsiteX5" fmla="*/ 0 w 8568000"/>
                <a:gd name="connsiteY5" fmla="*/ 0 h 4423499"/>
                <a:gd name="connsiteX0" fmla="*/ 0 w 8568000"/>
                <a:gd name="connsiteY0" fmla="*/ 0 h 4423499"/>
                <a:gd name="connsiteX1" fmla="*/ 8568000 w 8568000"/>
                <a:gd name="connsiteY1" fmla="*/ 0 h 4423499"/>
                <a:gd name="connsiteX2" fmla="*/ 8568000 w 8568000"/>
                <a:gd name="connsiteY2" fmla="*/ 4423499 h 4423499"/>
                <a:gd name="connsiteX3" fmla="*/ 7758720 w 8568000"/>
                <a:gd name="connsiteY3" fmla="*/ 4070641 h 4423499"/>
                <a:gd name="connsiteX4" fmla="*/ 4878360 w 8568000"/>
                <a:gd name="connsiteY4" fmla="*/ 4184941 h 4423499"/>
                <a:gd name="connsiteX5" fmla="*/ 0 w 8568000"/>
                <a:gd name="connsiteY5" fmla="*/ 4423499 h 4423499"/>
                <a:gd name="connsiteX6" fmla="*/ 0 w 8568000"/>
                <a:gd name="connsiteY6" fmla="*/ 0 h 4423499"/>
                <a:gd name="connsiteX0" fmla="*/ 4878360 w 8568000"/>
                <a:gd name="connsiteY0" fmla="*/ 4184941 h 4423499"/>
                <a:gd name="connsiteX1" fmla="*/ 0 w 8568000"/>
                <a:gd name="connsiteY1" fmla="*/ 4423499 h 4423499"/>
                <a:gd name="connsiteX2" fmla="*/ 0 w 8568000"/>
                <a:gd name="connsiteY2" fmla="*/ 0 h 4423499"/>
                <a:gd name="connsiteX3" fmla="*/ 8568000 w 8568000"/>
                <a:gd name="connsiteY3" fmla="*/ 0 h 4423499"/>
                <a:gd name="connsiteX4" fmla="*/ 8568000 w 8568000"/>
                <a:gd name="connsiteY4" fmla="*/ 4423499 h 4423499"/>
                <a:gd name="connsiteX5" fmla="*/ 7850160 w 8568000"/>
                <a:gd name="connsiteY5" fmla="*/ 4162081 h 4423499"/>
                <a:gd name="connsiteX0" fmla="*/ 4878360 w 8568000"/>
                <a:gd name="connsiteY0" fmla="*/ 4184941 h 4451641"/>
                <a:gd name="connsiteX1" fmla="*/ 0 w 8568000"/>
                <a:gd name="connsiteY1" fmla="*/ 4423499 h 4451641"/>
                <a:gd name="connsiteX2" fmla="*/ 0 w 8568000"/>
                <a:gd name="connsiteY2" fmla="*/ 0 h 4451641"/>
                <a:gd name="connsiteX3" fmla="*/ 8568000 w 8568000"/>
                <a:gd name="connsiteY3" fmla="*/ 0 h 4451641"/>
                <a:gd name="connsiteX4" fmla="*/ 8568000 w 8568000"/>
                <a:gd name="connsiteY4" fmla="*/ 4423499 h 4451641"/>
                <a:gd name="connsiteX5" fmla="*/ 8314980 w 8568000"/>
                <a:gd name="connsiteY5" fmla="*/ 4451641 h 4451641"/>
                <a:gd name="connsiteX0" fmla="*/ 4878360 w 8568000"/>
                <a:gd name="connsiteY0" fmla="*/ 4184941 h 4423499"/>
                <a:gd name="connsiteX1" fmla="*/ 0 w 8568000"/>
                <a:gd name="connsiteY1" fmla="*/ 4423499 h 4423499"/>
                <a:gd name="connsiteX2" fmla="*/ 0 w 8568000"/>
                <a:gd name="connsiteY2" fmla="*/ 0 h 4423499"/>
                <a:gd name="connsiteX3" fmla="*/ 8568000 w 8568000"/>
                <a:gd name="connsiteY3" fmla="*/ 0 h 4423499"/>
                <a:gd name="connsiteX4" fmla="*/ 8568000 w 8568000"/>
                <a:gd name="connsiteY4" fmla="*/ 4423499 h 4423499"/>
                <a:gd name="connsiteX5" fmla="*/ 8292120 w 8568000"/>
                <a:gd name="connsiteY5" fmla="*/ 4413541 h 4423499"/>
                <a:gd name="connsiteX0" fmla="*/ 4878360 w 8568000"/>
                <a:gd name="connsiteY0" fmla="*/ 4184941 h 4423499"/>
                <a:gd name="connsiteX1" fmla="*/ 0 w 8568000"/>
                <a:gd name="connsiteY1" fmla="*/ 4423499 h 4423499"/>
                <a:gd name="connsiteX2" fmla="*/ 0 w 8568000"/>
                <a:gd name="connsiteY2" fmla="*/ 0 h 4423499"/>
                <a:gd name="connsiteX3" fmla="*/ 8568000 w 8568000"/>
                <a:gd name="connsiteY3" fmla="*/ 0 h 4423499"/>
                <a:gd name="connsiteX4" fmla="*/ 8568000 w 8568000"/>
                <a:gd name="connsiteY4" fmla="*/ 4423499 h 4423499"/>
                <a:gd name="connsiteX5" fmla="*/ 8292120 w 8568000"/>
                <a:gd name="connsiteY5" fmla="*/ 4413541 h 4423499"/>
                <a:gd name="connsiteX0" fmla="*/ 4878360 w 8568000"/>
                <a:gd name="connsiteY0" fmla="*/ 4184941 h 4423499"/>
                <a:gd name="connsiteX1" fmla="*/ 0 w 8568000"/>
                <a:gd name="connsiteY1" fmla="*/ 4423499 h 4423499"/>
                <a:gd name="connsiteX2" fmla="*/ 0 w 8568000"/>
                <a:gd name="connsiteY2" fmla="*/ 0 h 4423499"/>
                <a:gd name="connsiteX3" fmla="*/ 8568000 w 8568000"/>
                <a:gd name="connsiteY3" fmla="*/ 0 h 4423499"/>
                <a:gd name="connsiteX4" fmla="*/ 8568000 w 8568000"/>
                <a:gd name="connsiteY4" fmla="*/ 4423499 h 4423499"/>
                <a:gd name="connsiteX5" fmla="*/ 8436320 w 8568000"/>
                <a:gd name="connsiteY5" fmla="*/ 4248643 h 4423499"/>
                <a:gd name="connsiteX0" fmla="*/ 4878360 w 8568000"/>
                <a:gd name="connsiteY0" fmla="*/ 4184941 h 4423499"/>
                <a:gd name="connsiteX1" fmla="*/ 0 w 8568000"/>
                <a:gd name="connsiteY1" fmla="*/ 4423499 h 4423499"/>
                <a:gd name="connsiteX2" fmla="*/ 0 w 8568000"/>
                <a:gd name="connsiteY2" fmla="*/ 0 h 4423499"/>
                <a:gd name="connsiteX3" fmla="*/ 8568000 w 8568000"/>
                <a:gd name="connsiteY3" fmla="*/ 0 h 4423499"/>
                <a:gd name="connsiteX4" fmla="*/ 8568000 w 8568000"/>
                <a:gd name="connsiteY4" fmla="*/ 4423499 h 4423499"/>
                <a:gd name="connsiteX5" fmla="*/ 8280000 w 8568000"/>
                <a:gd name="connsiteY5" fmla="*/ 4423499 h 4423499"/>
                <a:gd name="connsiteX0" fmla="*/ 6395736 w 8568000"/>
                <a:gd name="connsiteY0" fmla="*/ 4423701 h 4423701"/>
                <a:gd name="connsiteX1" fmla="*/ 0 w 8568000"/>
                <a:gd name="connsiteY1" fmla="*/ 4423499 h 4423701"/>
                <a:gd name="connsiteX2" fmla="*/ 0 w 8568000"/>
                <a:gd name="connsiteY2" fmla="*/ 0 h 4423701"/>
                <a:gd name="connsiteX3" fmla="*/ 8568000 w 8568000"/>
                <a:gd name="connsiteY3" fmla="*/ 0 h 4423701"/>
                <a:gd name="connsiteX4" fmla="*/ 8568000 w 8568000"/>
                <a:gd name="connsiteY4" fmla="*/ 4423499 h 4423701"/>
                <a:gd name="connsiteX5" fmla="*/ 8280000 w 8568000"/>
                <a:gd name="connsiteY5" fmla="*/ 4423499 h 4423701"/>
                <a:gd name="connsiteX0" fmla="*/ 7306261 w 8568000"/>
                <a:gd name="connsiteY0" fmla="*/ 3285781 h 4423499"/>
                <a:gd name="connsiteX1" fmla="*/ 0 w 8568000"/>
                <a:gd name="connsiteY1" fmla="*/ 4423499 h 4423499"/>
                <a:gd name="connsiteX2" fmla="*/ 0 w 8568000"/>
                <a:gd name="connsiteY2" fmla="*/ 0 h 4423499"/>
                <a:gd name="connsiteX3" fmla="*/ 8568000 w 8568000"/>
                <a:gd name="connsiteY3" fmla="*/ 0 h 4423499"/>
                <a:gd name="connsiteX4" fmla="*/ 8568000 w 8568000"/>
                <a:gd name="connsiteY4" fmla="*/ 4423499 h 4423499"/>
                <a:gd name="connsiteX5" fmla="*/ 8280000 w 8568000"/>
                <a:gd name="connsiteY5" fmla="*/ 4423499 h 4423499"/>
                <a:gd name="connsiteX0" fmla="*/ 7306261 w 8568000"/>
                <a:gd name="connsiteY0" fmla="*/ 3285781 h 4423499"/>
                <a:gd name="connsiteX1" fmla="*/ 5868960 w 8568000"/>
                <a:gd name="connsiteY1" fmla="*/ 4329721 h 4423499"/>
                <a:gd name="connsiteX2" fmla="*/ 0 w 8568000"/>
                <a:gd name="connsiteY2" fmla="*/ 4423499 h 4423499"/>
                <a:gd name="connsiteX3" fmla="*/ 0 w 8568000"/>
                <a:gd name="connsiteY3" fmla="*/ 0 h 4423499"/>
                <a:gd name="connsiteX4" fmla="*/ 8568000 w 8568000"/>
                <a:gd name="connsiteY4" fmla="*/ 0 h 4423499"/>
                <a:gd name="connsiteX5" fmla="*/ 8568000 w 8568000"/>
                <a:gd name="connsiteY5" fmla="*/ 4423499 h 4423499"/>
                <a:gd name="connsiteX6" fmla="*/ 8280000 w 8568000"/>
                <a:gd name="connsiteY6" fmla="*/ 4423499 h 4423499"/>
                <a:gd name="connsiteX0" fmla="*/ 7306261 w 8568000"/>
                <a:gd name="connsiteY0" fmla="*/ 3285781 h 4423499"/>
                <a:gd name="connsiteX1" fmla="*/ 0 w 8568000"/>
                <a:gd name="connsiteY1" fmla="*/ 4423499 h 4423499"/>
                <a:gd name="connsiteX2" fmla="*/ 0 w 8568000"/>
                <a:gd name="connsiteY2" fmla="*/ 0 h 4423499"/>
                <a:gd name="connsiteX3" fmla="*/ 8568000 w 8568000"/>
                <a:gd name="connsiteY3" fmla="*/ 0 h 4423499"/>
                <a:gd name="connsiteX4" fmla="*/ 8568000 w 8568000"/>
                <a:gd name="connsiteY4" fmla="*/ 4423499 h 4423499"/>
                <a:gd name="connsiteX5" fmla="*/ 8280000 w 8568000"/>
                <a:gd name="connsiteY5" fmla="*/ 4423499 h 4423499"/>
                <a:gd name="connsiteX0" fmla="*/ 5971552 w 8568000"/>
                <a:gd name="connsiteY0" fmla="*/ 4423499 h 4423499"/>
                <a:gd name="connsiteX1" fmla="*/ 0 w 8568000"/>
                <a:gd name="connsiteY1" fmla="*/ 4423499 h 4423499"/>
                <a:gd name="connsiteX2" fmla="*/ 0 w 8568000"/>
                <a:gd name="connsiteY2" fmla="*/ 0 h 4423499"/>
                <a:gd name="connsiteX3" fmla="*/ 8568000 w 8568000"/>
                <a:gd name="connsiteY3" fmla="*/ 0 h 4423499"/>
                <a:gd name="connsiteX4" fmla="*/ 8568000 w 8568000"/>
                <a:gd name="connsiteY4" fmla="*/ 4423499 h 4423499"/>
                <a:gd name="connsiteX5" fmla="*/ 8280000 w 8568000"/>
                <a:gd name="connsiteY5" fmla="*/ 4423499 h 4423499"/>
                <a:gd name="connsiteX0" fmla="*/ 5971552 w 8568000"/>
                <a:gd name="connsiteY0" fmla="*/ 4423499 h 4423499"/>
                <a:gd name="connsiteX1" fmla="*/ 6482648 w 8568000"/>
                <a:gd name="connsiteY1" fmla="*/ 3542523 h 4423499"/>
                <a:gd name="connsiteX2" fmla="*/ 0 w 8568000"/>
                <a:gd name="connsiteY2" fmla="*/ 4423499 h 4423499"/>
                <a:gd name="connsiteX3" fmla="*/ 0 w 8568000"/>
                <a:gd name="connsiteY3" fmla="*/ 0 h 4423499"/>
                <a:gd name="connsiteX4" fmla="*/ 8568000 w 8568000"/>
                <a:gd name="connsiteY4" fmla="*/ 0 h 4423499"/>
                <a:gd name="connsiteX5" fmla="*/ 8568000 w 8568000"/>
                <a:gd name="connsiteY5" fmla="*/ 4423499 h 4423499"/>
                <a:gd name="connsiteX6" fmla="*/ 8280000 w 8568000"/>
                <a:gd name="connsiteY6" fmla="*/ 4423499 h 4423499"/>
                <a:gd name="connsiteX0" fmla="*/ 5971552 w 8568000"/>
                <a:gd name="connsiteY0" fmla="*/ 4423499 h 4423499"/>
                <a:gd name="connsiteX1" fmla="*/ 0 w 8568000"/>
                <a:gd name="connsiteY1" fmla="*/ 4423499 h 4423499"/>
                <a:gd name="connsiteX2" fmla="*/ 0 w 8568000"/>
                <a:gd name="connsiteY2" fmla="*/ 0 h 4423499"/>
                <a:gd name="connsiteX3" fmla="*/ 8568000 w 8568000"/>
                <a:gd name="connsiteY3" fmla="*/ 0 h 4423499"/>
                <a:gd name="connsiteX4" fmla="*/ 8568000 w 8568000"/>
                <a:gd name="connsiteY4" fmla="*/ 4423499 h 4423499"/>
                <a:gd name="connsiteX5" fmla="*/ 8280000 w 8568000"/>
                <a:gd name="connsiteY5" fmla="*/ 4423499 h 4423499"/>
                <a:gd name="connsiteX0" fmla="*/ 7027200 w 8568000"/>
                <a:gd name="connsiteY0" fmla="*/ 3137191 h 4423499"/>
                <a:gd name="connsiteX1" fmla="*/ 0 w 8568000"/>
                <a:gd name="connsiteY1" fmla="*/ 4423499 h 4423499"/>
                <a:gd name="connsiteX2" fmla="*/ 0 w 8568000"/>
                <a:gd name="connsiteY2" fmla="*/ 0 h 4423499"/>
                <a:gd name="connsiteX3" fmla="*/ 8568000 w 8568000"/>
                <a:gd name="connsiteY3" fmla="*/ 0 h 4423499"/>
                <a:gd name="connsiteX4" fmla="*/ 8568000 w 8568000"/>
                <a:gd name="connsiteY4" fmla="*/ 4423499 h 4423499"/>
                <a:gd name="connsiteX5" fmla="*/ 8280000 w 8568000"/>
                <a:gd name="connsiteY5" fmla="*/ 4423499 h 4423499"/>
                <a:gd name="connsiteX0" fmla="*/ 5971552 w 8568000"/>
                <a:gd name="connsiteY0" fmla="*/ 4423499 h 4423499"/>
                <a:gd name="connsiteX1" fmla="*/ 0 w 8568000"/>
                <a:gd name="connsiteY1" fmla="*/ 4423499 h 4423499"/>
                <a:gd name="connsiteX2" fmla="*/ 0 w 8568000"/>
                <a:gd name="connsiteY2" fmla="*/ 0 h 4423499"/>
                <a:gd name="connsiteX3" fmla="*/ 8568000 w 8568000"/>
                <a:gd name="connsiteY3" fmla="*/ 0 h 4423499"/>
                <a:gd name="connsiteX4" fmla="*/ 8568000 w 8568000"/>
                <a:gd name="connsiteY4" fmla="*/ 4423499 h 4423499"/>
                <a:gd name="connsiteX5" fmla="*/ 8280000 w 8568000"/>
                <a:gd name="connsiteY5" fmla="*/ 4423499 h 4423499"/>
                <a:gd name="connsiteX0" fmla="*/ 6198525 w 8568000"/>
                <a:gd name="connsiteY0" fmla="*/ 4051591 h 4423499"/>
                <a:gd name="connsiteX1" fmla="*/ 0 w 8568000"/>
                <a:gd name="connsiteY1" fmla="*/ 4423499 h 4423499"/>
                <a:gd name="connsiteX2" fmla="*/ 0 w 8568000"/>
                <a:gd name="connsiteY2" fmla="*/ 0 h 4423499"/>
                <a:gd name="connsiteX3" fmla="*/ 8568000 w 8568000"/>
                <a:gd name="connsiteY3" fmla="*/ 0 h 4423499"/>
                <a:gd name="connsiteX4" fmla="*/ 8568000 w 8568000"/>
                <a:gd name="connsiteY4" fmla="*/ 4423499 h 4423499"/>
                <a:gd name="connsiteX5" fmla="*/ 8280000 w 8568000"/>
                <a:gd name="connsiteY5" fmla="*/ 4423499 h 4423499"/>
                <a:gd name="connsiteX0" fmla="*/ 5969647 w 8568000"/>
                <a:gd name="connsiteY0" fmla="*/ 4423499 h 4423499"/>
                <a:gd name="connsiteX1" fmla="*/ 0 w 8568000"/>
                <a:gd name="connsiteY1" fmla="*/ 4423499 h 4423499"/>
                <a:gd name="connsiteX2" fmla="*/ 0 w 8568000"/>
                <a:gd name="connsiteY2" fmla="*/ 0 h 4423499"/>
                <a:gd name="connsiteX3" fmla="*/ 8568000 w 8568000"/>
                <a:gd name="connsiteY3" fmla="*/ 0 h 4423499"/>
                <a:gd name="connsiteX4" fmla="*/ 8568000 w 8568000"/>
                <a:gd name="connsiteY4" fmla="*/ 4423499 h 4423499"/>
                <a:gd name="connsiteX5" fmla="*/ 8280000 w 8568000"/>
                <a:gd name="connsiteY5" fmla="*/ 4423499 h 4423499"/>
                <a:gd name="connsiteX0" fmla="*/ 5971552 w 8568000"/>
                <a:gd name="connsiteY0" fmla="*/ 4423499 h 4423499"/>
                <a:gd name="connsiteX1" fmla="*/ 0 w 8568000"/>
                <a:gd name="connsiteY1" fmla="*/ 4423499 h 4423499"/>
                <a:gd name="connsiteX2" fmla="*/ 0 w 8568000"/>
                <a:gd name="connsiteY2" fmla="*/ 0 h 4423499"/>
                <a:gd name="connsiteX3" fmla="*/ 8568000 w 8568000"/>
                <a:gd name="connsiteY3" fmla="*/ 0 h 4423499"/>
                <a:gd name="connsiteX4" fmla="*/ 8568000 w 8568000"/>
                <a:gd name="connsiteY4" fmla="*/ 4423499 h 4423499"/>
                <a:gd name="connsiteX5" fmla="*/ 8280000 w 8568000"/>
                <a:gd name="connsiteY5" fmla="*/ 4423499 h 442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68000" h="4423499">
                  <a:moveTo>
                    <a:pt x="5971552" y="4423499"/>
                  </a:moveTo>
                  <a:lnTo>
                    <a:pt x="0" y="4423499"/>
                  </a:lnTo>
                  <a:lnTo>
                    <a:pt x="0" y="0"/>
                  </a:lnTo>
                  <a:lnTo>
                    <a:pt x="8568000" y="0"/>
                  </a:lnTo>
                  <a:lnTo>
                    <a:pt x="8568000" y="4423499"/>
                  </a:lnTo>
                  <a:lnTo>
                    <a:pt x="8280000" y="4423499"/>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dirty="0"/>
            </a:p>
          </p:txBody>
        </p:sp>
        <p:pic>
          <p:nvPicPr>
            <p:cNvPr id="10" name="Picture 3" descr="E:\DBBFtemp\Output_DBBF\VDE\Bereiche\VDE_FNN_rgb.png">
              <a:extLst>
                <a:ext uri="{FF2B5EF4-FFF2-40B4-BE49-F238E27FC236}">
                  <a16:creationId xmlns:a16="http://schemas.microsoft.com/office/drawing/2014/main" id="{9027428F-8FC6-4BF7-BF9A-BB463623AFDE}"/>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6547552" y="4497978"/>
              <a:ext cx="1736895" cy="432000"/>
            </a:xfrm>
            <a:prstGeom prst="rect">
              <a:avLst/>
            </a:prstGeom>
            <a:noFill/>
            <a:extLst>
              <a:ext uri="{909E8E84-426E-40DD-AFC4-6F175D3DCCD1}">
                <a14:hiddenFill xmlns:a14="http://schemas.microsoft.com/office/drawing/2010/main">
                  <a:solidFill>
                    <a:srgbClr val="FFFFFF"/>
                  </a:solidFill>
                </a14:hiddenFill>
              </a:ext>
            </a:extLst>
          </p:spPr>
        </p:pic>
      </p:grpSp>
      <p:pic>
        <p:nvPicPr>
          <p:cNvPr id="1026" name="Picture 2" descr="DIgSILENT Webshop">
            <a:extLst>
              <a:ext uri="{FF2B5EF4-FFF2-40B4-BE49-F238E27FC236}">
                <a16:creationId xmlns:a16="http://schemas.microsoft.com/office/drawing/2014/main" id="{1FE29195-DB4A-271F-AF84-2851CD9C5821}"/>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r="76724"/>
          <a:stretch/>
        </p:blipFill>
        <p:spPr bwMode="auto">
          <a:xfrm>
            <a:off x="10388115" y="664055"/>
            <a:ext cx="858496" cy="864000"/>
          </a:xfrm>
          <a:prstGeom prst="rect">
            <a:avLst/>
          </a:prstGeom>
          <a:noFill/>
          <a:extLst>
            <a:ext uri="{909E8E84-426E-40DD-AFC4-6F175D3DCCD1}">
              <a14:hiddenFill xmlns:a14="http://schemas.microsoft.com/office/drawing/2010/main">
                <a:solidFill>
                  <a:srgbClr val="FFFFFF"/>
                </a:solidFill>
              </a14:hiddenFill>
            </a:ext>
          </a:extLst>
        </p:spPr>
      </p:pic>
      <p:pic>
        <p:nvPicPr>
          <p:cNvPr id="5" name="Grafik 4">
            <a:extLst>
              <a:ext uri="{FF2B5EF4-FFF2-40B4-BE49-F238E27FC236}">
                <a16:creationId xmlns:a16="http://schemas.microsoft.com/office/drawing/2014/main" id="{D9656D86-4292-401A-DD50-08D96A3433BB}"/>
              </a:ext>
            </a:extLst>
          </p:cNvPr>
          <p:cNvPicPr>
            <a:picLocks noChangeAspect="1"/>
          </p:cNvPicPr>
          <p:nvPr userDrawn="1"/>
        </p:nvPicPr>
        <p:blipFill>
          <a:blip r:embed="rId7"/>
          <a:stretch>
            <a:fillRect/>
          </a:stretch>
        </p:blipFill>
        <p:spPr>
          <a:xfrm>
            <a:off x="7941381" y="648984"/>
            <a:ext cx="1731471" cy="864000"/>
          </a:xfrm>
          <a:prstGeom prst="rect">
            <a:avLst/>
          </a:prstGeom>
        </p:spPr>
      </p:pic>
      <p:pic>
        <p:nvPicPr>
          <p:cNvPr id="12" name="Grafik 11">
            <a:extLst>
              <a:ext uri="{FF2B5EF4-FFF2-40B4-BE49-F238E27FC236}">
                <a16:creationId xmlns:a16="http://schemas.microsoft.com/office/drawing/2014/main" id="{DFCC83E1-14D2-5C98-07BA-A1FCEDA56502}"/>
              </a:ext>
            </a:extLst>
          </p:cNvPr>
          <p:cNvPicPr>
            <a:picLocks noChangeAspect="1"/>
          </p:cNvPicPr>
          <p:nvPr userDrawn="1"/>
        </p:nvPicPr>
        <p:blipFill>
          <a:blip r:embed="rId8"/>
          <a:stretch>
            <a:fillRect/>
          </a:stretch>
        </p:blipFill>
        <p:spPr>
          <a:xfrm>
            <a:off x="2885376" y="664875"/>
            <a:ext cx="4340741" cy="864000"/>
          </a:xfrm>
          <a:prstGeom prst="rect">
            <a:avLst/>
          </a:prstGeom>
        </p:spPr>
      </p:pic>
      <p:pic>
        <p:nvPicPr>
          <p:cNvPr id="15" name="Grafik 14">
            <a:extLst>
              <a:ext uri="{FF2B5EF4-FFF2-40B4-BE49-F238E27FC236}">
                <a16:creationId xmlns:a16="http://schemas.microsoft.com/office/drawing/2014/main" id="{63758B2A-B419-7014-E424-406BD54BD6E2}"/>
              </a:ext>
            </a:extLst>
          </p:cNvPr>
          <p:cNvPicPr>
            <a:picLocks noChangeAspect="1"/>
          </p:cNvPicPr>
          <p:nvPr userDrawn="1"/>
        </p:nvPicPr>
        <p:blipFill>
          <a:blip r:embed="rId9"/>
          <a:stretch>
            <a:fillRect/>
          </a:stretch>
        </p:blipFill>
        <p:spPr>
          <a:xfrm>
            <a:off x="783167" y="648984"/>
            <a:ext cx="1386947" cy="864000"/>
          </a:xfrm>
          <a:prstGeom prst="rect">
            <a:avLst/>
          </a:prstGeom>
        </p:spPr>
      </p:pic>
    </p:spTree>
    <p:extLst>
      <p:ext uri="{BB962C8B-B14F-4D97-AF65-F5344CB8AC3E}">
        <p14:creationId xmlns:p14="http://schemas.microsoft.com/office/powerpoint/2010/main" val="35717793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grey">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13336633-D454-4C12-B16C-AB077B33DFAD}"/>
              </a:ext>
            </a:extLst>
          </p:cNvPr>
          <p:cNvGraphicFramePr>
            <a:graphicFrameLocks noChangeAspect="1"/>
          </p:cNvGraphicFramePr>
          <p:nvPr userDrawn="1">
            <p:custDataLst>
              <p:tags r:id="rId1"/>
            </p:custDataLst>
            <p:extLst>
              <p:ext uri="{D42A27DB-BD31-4B8C-83A1-F6EECF244321}">
                <p14:modId xmlns:p14="http://schemas.microsoft.com/office/powerpoint/2010/main" val="169228431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8" name="Objekt 7" hidden="1">
                        <a:extLst>
                          <a:ext uri="{FF2B5EF4-FFF2-40B4-BE49-F238E27FC236}">
                            <a16:creationId xmlns:a16="http://schemas.microsoft.com/office/drawing/2014/main" id="{13336633-D454-4C12-B16C-AB077B33DFAD}"/>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3" name="Inhaltsplatzhalter 2"/>
          <p:cNvSpPr>
            <a:spLocks noGrp="1"/>
          </p:cNvSpPr>
          <p:nvPr>
            <p:ph idx="1" hasCustomPrompt="1"/>
          </p:nvPr>
        </p:nvSpPr>
        <p:spPr bwMode="gray">
          <a:xfrm>
            <a:off x="768000" y="1460500"/>
            <a:ext cx="10656000" cy="4273552"/>
          </a:xfrm>
          <a:solidFill>
            <a:srgbClr val="EAEAEA"/>
          </a:solidFill>
          <a:ln>
            <a:noFill/>
          </a:ln>
        </p:spPr>
        <p:txBody>
          <a:bodyPr lIns="180000" tIns="108000" rIns="180000" bIns="1080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a:p>
            <a:pPr lvl="4"/>
            <a:endParaRPr lang="en-US" noProof="0" dirty="0"/>
          </a:p>
        </p:txBody>
      </p:sp>
      <p:sp>
        <p:nvSpPr>
          <p:cNvPr id="2" name="Titel 1"/>
          <p:cNvSpPr>
            <a:spLocks noGrp="1"/>
          </p:cNvSpPr>
          <p:nvPr>
            <p:ph type="title" hasCustomPrompt="1"/>
          </p:nvPr>
        </p:nvSpPr>
        <p:spPr bwMode="gray"/>
        <p:txBody>
          <a:bodyPr vert="horz"/>
          <a:lstStyle/>
          <a:p>
            <a:r>
              <a:rPr lang="en-US" dirty="0"/>
              <a:t>Click to add title</a:t>
            </a:r>
            <a:endParaRPr lang="en-US" noProof="0" dirty="0"/>
          </a:p>
        </p:txBody>
      </p:sp>
      <p:sp>
        <p:nvSpPr>
          <p:cNvPr id="4" name="Datumsplatzhalter 3"/>
          <p:cNvSpPr>
            <a:spLocks noGrp="1"/>
          </p:cNvSpPr>
          <p:nvPr>
            <p:ph type="dt" sz="half" idx="10"/>
          </p:nvPr>
        </p:nvSpPr>
        <p:spPr bwMode="gray"/>
        <p:txBody>
          <a:bodyPr/>
          <a:lstStyle/>
          <a:p>
            <a:fld id="{6E462D0E-818A-492F-89A2-836C1BD1561F}" type="datetime1">
              <a:rPr lang="en-US" noProof="0" smtClean="0"/>
              <a:t>6/19/2025</a:t>
            </a:fld>
            <a:endParaRPr lang="en-US" noProof="0" dirty="0"/>
          </a:p>
        </p:txBody>
      </p:sp>
      <p:sp>
        <p:nvSpPr>
          <p:cNvPr id="5" name="Fußzeilenplatzhalter 4"/>
          <p:cNvSpPr>
            <a:spLocks noGrp="1"/>
          </p:cNvSpPr>
          <p:nvPr>
            <p:ph type="ftr" sz="quarter" idx="11"/>
          </p:nvPr>
        </p:nvSpPr>
        <p:spPr bwMode="gray"/>
        <p:txBody>
          <a:bodyPr/>
          <a:lstStyle/>
          <a:p>
            <a:r>
              <a:rPr lang="en-US" noProof="0" dirty="0"/>
              <a:t>© Forum Network Technology/Network Operation in the VDE</a:t>
            </a:r>
          </a:p>
        </p:txBody>
      </p:sp>
      <p:sp>
        <p:nvSpPr>
          <p:cNvPr id="6" name="Foliennummernplatzhalter 5"/>
          <p:cNvSpPr>
            <a:spLocks noGrp="1"/>
          </p:cNvSpPr>
          <p:nvPr>
            <p:ph type="sldNum" sz="quarter" idx="12"/>
          </p:nvPr>
        </p:nvSpPr>
        <p:spPr bwMode="gray"/>
        <p:txBody>
          <a:bodyPr/>
          <a:lstStyle/>
          <a:p>
            <a:fld id="{2AA1E7D3-1333-45EE-ABB9-51527D316BA3}" type="slidenum">
              <a:rPr lang="en-US" noProof="0" smtClean="0"/>
              <a:pPr/>
              <a:t>‹#›</a:t>
            </a:fld>
            <a:endParaRPr lang="en-US" noProof="0" dirty="0"/>
          </a:p>
        </p:txBody>
      </p:sp>
    </p:spTree>
    <p:extLst>
      <p:ext uri="{BB962C8B-B14F-4D97-AF65-F5344CB8AC3E}">
        <p14:creationId xmlns:p14="http://schemas.microsoft.com/office/powerpoint/2010/main" val="58804194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Picture and text">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5B8CD451-D154-4F46-9DDC-86D26662CB13}"/>
              </a:ext>
            </a:extLst>
          </p:cNvPr>
          <p:cNvGraphicFramePr>
            <a:graphicFrameLocks noChangeAspect="1"/>
          </p:cNvGraphicFramePr>
          <p:nvPr userDrawn="1">
            <p:custDataLst>
              <p:tags r:id="rId1"/>
            </p:custDataLst>
            <p:extLst>
              <p:ext uri="{D42A27DB-BD31-4B8C-83A1-F6EECF244321}">
                <p14:modId xmlns:p14="http://schemas.microsoft.com/office/powerpoint/2010/main" val="26083279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9" name="Objekt 8" hidden="1">
                        <a:extLst>
                          <a:ext uri="{FF2B5EF4-FFF2-40B4-BE49-F238E27FC236}">
                            <a16:creationId xmlns:a16="http://schemas.microsoft.com/office/drawing/2014/main" id="{5B8CD451-D154-4F46-9DDC-86D26662CB13}"/>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3" name="Inhaltsplatzhalter 2"/>
          <p:cNvSpPr>
            <a:spLocks noGrp="1"/>
          </p:cNvSpPr>
          <p:nvPr>
            <p:ph idx="1" hasCustomPrompt="1"/>
          </p:nvPr>
        </p:nvSpPr>
        <p:spPr bwMode="gray">
          <a:xfrm>
            <a:off x="4896000" y="1460500"/>
            <a:ext cx="6528000" cy="4273552"/>
          </a:xfrm>
          <a:solidFill>
            <a:srgbClr val="EAEAEA"/>
          </a:solidFill>
          <a:ln>
            <a:noFill/>
          </a:ln>
        </p:spPr>
        <p:txBody>
          <a:bodyPr lIns="180000" tIns="108000" rIns="180000" bIns="108000" anchor="ct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a:p>
            <a:pPr lvl="4"/>
            <a:endParaRPr lang="en-US" noProof="0" dirty="0"/>
          </a:p>
        </p:txBody>
      </p:sp>
      <p:sp>
        <p:nvSpPr>
          <p:cNvPr id="2" name="Titel 1"/>
          <p:cNvSpPr>
            <a:spLocks noGrp="1"/>
          </p:cNvSpPr>
          <p:nvPr>
            <p:ph type="title" hasCustomPrompt="1"/>
          </p:nvPr>
        </p:nvSpPr>
        <p:spPr bwMode="gray">
          <a:xfrm>
            <a:off x="768000" y="333200"/>
            <a:ext cx="10080000" cy="864000"/>
          </a:xfrm>
        </p:spPr>
        <p:txBody>
          <a:bodyPr vert="horz"/>
          <a:lstStyle/>
          <a:p>
            <a:r>
              <a:rPr lang="en-US" dirty="0"/>
              <a:t>Click to add title</a:t>
            </a:r>
            <a:endParaRPr lang="en-US" noProof="0" dirty="0"/>
          </a:p>
        </p:txBody>
      </p:sp>
      <p:sp>
        <p:nvSpPr>
          <p:cNvPr id="4" name="Datumsplatzhalter 3"/>
          <p:cNvSpPr>
            <a:spLocks noGrp="1"/>
          </p:cNvSpPr>
          <p:nvPr>
            <p:ph type="dt" sz="half" idx="10"/>
          </p:nvPr>
        </p:nvSpPr>
        <p:spPr bwMode="gray"/>
        <p:txBody>
          <a:bodyPr/>
          <a:lstStyle/>
          <a:p>
            <a:fld id="{BD0015E1-38B8-4DFB-A644-43EDEF5D1A88}" type="datetime1">
              <a:rPr lang="en-US" noProof="0" smtClean="0"/>
              <a:t>6/19/2025</a:t>
            </a:fld>
            <a:endParaRPr lang="en-US" noProof="0" dirty="0"/>
          </a:p>
        </p:txBody>
      </p:sp>
      <p:sp>
        <p:nvSpPr>
          <p:cNvPr id="5" name="Fußzeilenplatzhalter 4"/>
          <p:cNvSpPr>
            <a:spLocks noGrp="1"/>
          </p:cNvSpPr>
          <p:nvPr>
            <p:ph type="ftr" sz="quarter" idx="11"/>
          </p:nvPr>
        </p:nvSpPr>
        <p:spPr bwMode="gray"/>
        <p:txBody>
          <a:bodyPr/>
          <a:lstStyle/>
          <a:p>
            <a:r>
              <a:rPr lang="en-US" noProof="0" dirty="0"/>
              <a:t>© Forum Network Technology/Network Operation in the VDE</a:t>
            </a:r>
          </a:p>
        </p:txBody>
      </p:sp>
      <p:sp>
        <p:nvSpPr>
          <p:cNvPr id="6" name="Foliennummernplatzhalter 5"/>
          <p:cNvSpPr>
            <a:spLocks noGrp="1"/>
          </p:cNvSpPr>
          <p:nvPr>
            <p:ph type="sldNum" sz="quarter" idx="12"/>
          </p:nvPr>
        </p:nvSpPr>
        <p:spPr bwMode="gray"/>
        <p:txBody>
          <a:bodyPr/>
          <a:lstStyle/>
          <a:p>
            <a:fld id="{2AA1E7D3-1333-45EE-ABB9-51527D316BA3}" type="slidenum">
              <a:rPr lang="en-US" noProof="0" smtClean="0"/>
              <a:pPr/>
              <a:t>‹#›</a:t>
            </a:fld>
            <a:endParaRPr lang="en-US" noProof="0" dirty="0"/>
          </a:p>
        </p:txBody>
      </p:sp>
      <p:sp>
        <p:nvSpPr>
          <p:cNvPr id="8" name="Bildplatzhalter 7"/>
          <p:cNvSpPr>
            <a:spLocks noGrp="1"/>
          </p:cNvSpPr>
          <p:nvPr>
            <p:ph type="pic" sz="quarter" idx="13" hasCustomPrompt="1"/>
          </p:nvPr>
        </p:nvSpPr>
        <p:spPr bwMode="gray">
          <a:xfrm>
            <a:off x="768000" y="1460500"/>
            <a:ext cx="3936000" cy="4273552"/>
          </a:xfrm>
          <a:solidFill>
            <a:srgbClr val="C7D6F1"/>
          </a:solidFill>
          <a:ln>
            <a:noFill/>
          </a:ln>
        </p:spPr>
        <p:txBody>
          <a:bodyPr anchor="t"/>
          <a:lstStyle>
            <a:lvl1pPr marL="0" indent="0" algn="l">
              <a:spcBef>
                <a:spcPts val="0"/>
              </a:spcBef>
              <a:buNone/>
              <a:defRPr/>
            </a:lvl1pPr>
          </a:lstStyle>
          <a:p>
            <a:r>
              <a:rPr lang="en-US" noProof="0" dirty="0"/>
              <a:t>Drag image or video</a:t>
            </a:r>
            <a:br>
              <a:rPr lang="en-US" noProof="0" dirty="0"/>
            </a:br>
            <a:r>
              <a:rPr lang="en-US" noProof="0" dirty="0"/>
              <a:t>to the spacer</a:t>
            </a:r>
            <a:br>
              <a:rPr lang="en-US" noProof="0" dirty="0"/>
            </a:br>
            <a:r>
              <a:rPr lang="en-US" noProof="0" dirty="0"/>
              <a:t>or add by clicking on</a:t>
            </a:r>
            <a:br>
              <a:rPr lang="en-US" noProof="0" dirty="0"/>
            </a:br>
            <a:r>
              <a:rPr lang="en-US" noProof="0" dirty="0"/>
              <a:t>the corresponding icon</a:t>
            </a:r>
          </a:p>
        </p:txBody>
      </p:sp>
    </p:spTree>
    <p:extLst>
      <p:ext uri="{BB962C8B-B14F-4D97-AF65-F5344CB8AC3E}">
        <p14:creationId xmlns:p14="http://schemas.microsoft.com/office/powerpoint/2010/main" val="171715827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textes with title">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C77EDA68-1794-46C8-A42A-E56B603143AA}"/>
              </a:ext>
            </a:extLst>
          </p:cNvPr>
          <p:cNvGraphicFramePr>
            <a:graphicFrameLocks noChangeAspect="1"/>
          </p:cNvGraphicFramePr>
          <p:nvPr userDrawn="1">
            <p:custDataLst>
              <p:tags r:id="rId1"/>
            </p:custDataLst>
            <p:extLst>
              <p:ext uri="{D42A27DB-BD31-4B8C-83A1-F6EECF244321}">
                <p14:modId xmlns:p14="http://schemas.microsoft.com/office/powerpoint/2010/main" val="356162958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12" name="Objekt 11" hidden="1">
                        <a:extLst>
                          <a:ext uri="{FF2B5EF4-FFF2-40B4-BE49-F238E27FC236}">
                            <a16:creationId xmlns:a16="http://schemas.microsoft.com/office/drawing/2014/main" id="{C77EDA68-1794-46C8-A42A-E56B603143AA}"/>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3" name="Textplatzhalter 2"/>
          <p:cNvSpPr>
            <a:spLocks noGrp="1"/>
          </p:cNvSpPr>
          <p:nvPr>
            <p:ph type="body" idx="1"/>
          </p:nvPr>
        </p:nvSpPr>
        <p:spPr bwMode="gray">
          <a:xfrm>
            <a:off x="768000" y="1463676"/>
            <a:ext cx="5184000" cy="480000"/>
          </a:xfrm>
          <a:solidFill>
            <a:srgbClr val="0064B4"/>
          </a:solidFill>
          <a:ln>
            <a:noFill/>
          </a:ln>
        </p:spPr>
        <p:txBody>
          <a:bodyPr lIns="180000" rIns="180000" anchor="ctr" anchorCtr="0"/>
          <a:lstStyle>
            <a:lvl1pPr marL="0" indent="0">
              <a:buNone/>
              <a:defRPr sz="1867" b="1">
                <a:solidFill>
                  <a:schemeClr val="bg1"/>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de-DE" noProof="0"/>
              <a:t>Mastertextformat bearbeiten</a:t>
            </a:r>
          </a:p>
        </p:txBody>
      </p:sp>
      <p:sp>
        <p:nvSpPr>
          <p:cNvPr id="4" name="Inhaltsplatzhalter 3"/>
          <p:cNvSpPr>
            <a:spLocks noGrp="1"/>
          </p:cNvSpPr>
          <p:nvPr>
            <p:ph sz="half" idx="2" hasCustomPrompt="1"/>
          </p:nvPr>
        </p:nvSpPr>
        <p:spPr bwMode="gray">
          <a:xfrm>
            <a:off x="768000" y="1943678"/>
            <a:ext cx="5184000" cy="3790373"/>
          </a:xfrm>
          <a:solidFill>
            <a:srgbClr val="EAEAEA"/>
          </a:solidFill>
          <a:ln>
            <a:noFill/>
          </a:ln>
        </p:spPr>
        <p:txBody>
          <a:bodyPr lIns="180000" tIns="108000" rIns="180000" bIns="108000"/>
          <a:lstStyle>
            <a:lvl1pPr>
              <a:defRPr sz="1867"/>
            </a:lvl1pPr>
            <a:lvl2pPr>
              <a:defRPr sz="1867"/>
            </a:lvl2pPr>
            <a:lvl3pPr>
              <a:defRPr sz="1867"/>
            </a:lvl3pPr>
            <a:lvl4pPr>
              <a:defRPr sz="1867"/>
            </a:lvl4pPr>
            <a:lvl5pPr>
              <a:defRPr sz="1867"/>
            </a:lvl5pPr>
            <a:lvl6pPr>
              <a:defRPr sz="2133"/>
            </a:lvl6pPr>
            <a:lvl7pPr>
              <a:defRPr sz="2133"/>
            </a:lvl7pPr>
            <a:lvl8pPr>
              <a:defRPr sz="2133"/>
            </a:lvl8pPr>
            <a:lvl9pPr>
              <a:defRPr sz="21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a:p>
            <a:pPr lvl="4"/>
            <a:endParaRPr lang="en-US" noProof="0" dirty="0"/>
          </a:p>
        </p:txBody>
      </p:sp>
      <p:sp>
        <p:nvSpPr>
          <p:cNvPr id="5" name="Textplatzhalter 4"/>
          <p:cNvSpPr>
            <a:spLocks noGrp="1"/>
          </p:cNvSpPr>
          <p:nvPr>
            <p:ph type="body" sz="quarter" idx="3"/>
          </p:nvPr>
        </p:nvSpPr>
        <p:spPr bwMode="gray">
          <a:xfrm>
            <a:off x="6240000" y="1463676"/>
            <a:ext cx="5184000" cy="480000"/>
          </a:xfrm>
          <a:solidFill>
            <a:srgbClr val="0064B4"/>
          </a:solidFill>
          <a:ln>
            <a:noFill/>
          </a:ln>
        </p:spPr>
        <p:txBody>
          <a:bodyPr lIns="180000" rIns="180000" anchor="ctr" anchorCtr="0"/>
          <a:lstStyle>
            <a:lvl1pPr marL="0" indent="0">
              <a:buNone/>
              <a:defRPr sz="1867" b="1">
                <a:solidFill>
                  <a:schemeClr val="bg1"/>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de-DE" noProof="0"/>
              <a:t>Mastertextformat bearbeiten</a:t>
            </a:r>
          </a:p>
        </p:txBody>
      </p:sp>
      <p:sp>
        <p:nvSpPr>
          <p:cNvPr id="6" name="Inhaltsplatzhalter 5"/>
          <p:cNvSpPr>
            <a:spLocks noGrp="1"/>
          </p:cNvSpPr>
          <p:nvPr>
            <p:ph sz="quarter" idx="4" hasCustomPrompt="1"/>
          </p:nvPr>
        </p:nvSpPr>
        <p:spPr bwMode="gray">
          <a:xfrm>
            <a:off x="6240000" y="1943678"/>
            <a:ext cx="5184000" cy="3790373"/>
          </a:xfrm>
          <a:solidFill>
            <a:srgbClr val="EAEAEA"/>
          </a:solidFill>
          <a:ln>
            <a:noFill/>
          </a:ln>
        </p:spPr>
        <p:txBody>
          <a:bodyPr lIns="180000" tIns="108000" rIns="180000" bIns="108000"/>
          <a:lstStyle>
            <a:lvl1pPr>
              <a:defRPr sz="1867"/>
            </a:lvl1pPr>
            <a:lvl2pPr>
              <a:defRPr sz="1867"/>
            </a:lvl2pPr>
            <a:lvl3pPr>
              <a:defRPr sz="1867"/>
            </a:lvl3pPr>
            <a:lvl4pPr>
              <a:defRPr sz="1867"/>
            </a:lvl4pPr>
            <a:lvl5pPr>
              <a:defRPr sz="1867"/>
            </a:lvl5pPr>
            <a:lvl6pPr>
              <a:defRPr sz="2133"/>
            </a:lvl6pPr>
            <a:lvl7pPr>
              <a:defRPr sz="2133"/>
            </a:lvl7pPr>
            <a:lvl8pPr>
              <a:defRPr sz="2133"/>
            </a:lvl8pPr>
            <a:lvl9pPr>
              <a:defRPr sz="21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sp>
        <p:nvSpPr>
          <p:cNvPr id="7" name="Datumsplatzhalter 6"/>
          <p:cNvSpPr>
            <a:spLocks noGrp="1"/>
          </p:cNvSpPr>
          <p:nvPr>
            <p:ph type="dt" sz="half" idx="10"/>
          </p:nvPr>
        </p:nvSpPr>
        <p:spPr bwMode="gray"/>
        <p:txBody>
          <a:bodyPr/>
          <a:lstStyle/>
          <a:p>
            <a:fld id="{90E21D89-0C95-493B-985C-69C54507D293}" type="datetime1">
              <a:rPr lang="en-US" noProof="0" smtClean="0"/>
              <a:t>6/19/2025</a:t>
            </a:fld>
            <a:endParaRPr lang="en-US" noProof="0" dirty="0"/>
          </a:p>
        </p:txBody>
      </p:sp>
      <p:sp>
        <p:nvSpPr>
          <p:cNvPr id="8" name="Fußzeilenplatzhalter 7"/>
          <p:cNvSpPr>
            <a:spLocks noGrp="1"/>
          </p:cNvSpPr>
          <p:nvPr>
            <p:ph type="ftr" sz="quarter" idx="11"/>
          </p:nvPr>
        </p:nvSpPr>
        <p:spPr bwMode="gray"/>
        <p:txBody>
          <a:bodyPr/>
          <a:lstStyle/>
          <a:p>
            <a:r>
              <a:rPr lang="en-US" noProof="0" dirty="0"/>
              <a:t>© Forum Network Technology/Network Operation in the VDE</a:t>
            </a:r>
          </a:p>
        </p:txBody>
      </p:sp>
      <p:sp>
        <p:nvSpPr>
          <p:cNvPr id="9" name="Foliennummernplatzhalter 8"/>
          <p:cNvSpPr>
            <a:spLocks noGrp="1"/>
          </p:cNvSpPr>
          <p:nvPr>
            <p:ph type="sldNum" sz="quarter" idx="12"/>
          </p:nvPr>
        </p:nvSpPr>
        <p:spPr bwMode="gray"/>
        <p:txBody>
          <a:bodyPr/>
          <a:lstStyle/>
          <a:p>
            <a:fld id="{2AA1E7D3-1333-45EE-ABB9-51527D316BA3}" type="slidenum">
              <a:rPr lang="en-US" noProof="0" smtClean="0"/>
              <a:pPr/>
              <a:t>‹#›</a:t>
            </a:fld>
            <a:endParaRPr lang="en-US" noProof="0" dirty="0"/>
          </a:p>
        </p:txBody>
      </p:sp>
      <p:sp>
        <p:nvSpPr>
          <p:cNvPr id="10" name="Titel 9">
            <a:extLst>
              <a:ext uri="{FF2B5EF4-FFF2-40B4-BE49-F238E27FC236}">
                <a16:creationId xmlns:a16="http://schemas.microsoft.com/office/drawing/2014/main" id="{A2A82093-1DD2-44C2-AB38-EA89E3BB0464}"/>
              </a:ext>
            </a:extLst>
          </p:cNvPr>
          <p:cNvSpPr>
            <a:spLocks noGrp="1"/>
          </p:cNvSpPr>
          <p:nvPr>
            <p:ph type="title" hasCustomPrompt="1"/>
          </p:nvPr>
        </p:nvSpPr>
        <p:spPr/>
        <p:txBody>
          <a:bodyPr vert="horz"/>
          <a:lstStyle/>
          <a:p>
            <a:r>
              <a:rPr lang="en-US" dirty="0"/>
              <a:t>Click to add title</a:t>
            </a:r>
          </a:p>
        </p:txBody>
      </p:sp>
    </p:spTree>
    <p:extLst>
      <p:ext uri="{BB962C8B-B14F-4D97-AF65-F5344CB8AC3E}">
        <p14:creationId xmlns:p14="http://schemas.microsoft.com/office/powerpoint/2010/main" val="5578375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Only title">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F634BA8A-6E58-430D-9D1C-DF9E792374A1}"/>
              </a:ext>
            </a:extLst>
          </p:cNvPr>
          <p:cNvGraphicFramePr>
            <a:graphicFrameLocks noChangeAspect="1"/>
          </p:cNvGraphicFramePr>
          <p:nvPr userDrawn="1">
            <p:custDataLst>
              <p:tags r:id="rId1"/>
            </p:custDataLst>
            <p:extLst>
              <p:ext uri="{D42A27DB-BD31-4B8C-83A1-F6EECF244321}">
                <p14:modId xmlns:p14="http://schemas.microsoft.com/office/powerpoint/2010/main" val="245344036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7" name="Objekt 6" hidden="1">
                        <a:extLst>
                          <a:ext uri="{FF2B5EF4-FFF2-40B4-BE49-F238E27FC236}">
                            <a16:creationId xmlns:a16="http://schemas.microsoft.com/office/drawing/2014/main" id="{F634BA8A-6E58-430D-9D1C-DF9E792374A1}"/>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2" name="Titel 1"/>
          <p:cNvSpPr>
            <a:spLocks noGrp="1"/>
          </p:cNvSpPr>
          <p:nvPr>
            <p:ph type="title" hasCustomPrompt="1"/>
          </p:nvPr>
        </p:nvSpPr>
        <p:spPr/>
        <p:txBody>
          <a:bodyPr vert="horz"/>
          <a:lstStyle/>
          <a:p>
            <a:r>
              <a:rPr lang="en-US" dirty="0"/>
              <a:t>Click to add title</a:t>
            </a:r>
            <a:endParaRPr lang="en-US" noProof="0" dirty="0"/>
          </a:p>
        </p:txBody>
      </p:sp>
      <p:sp>
        <p:nvSpPr>
          <p:cNvPr id="3" name="Datumsplatzhalter 2"/>
          <p:cNvSpPr>
            <a:spLocks noGrp="1"/>
          </p:cNvSpPr>
          <p:nvPr>
            <p:ph type="dt" sz="half" idx="10"/>
          </p:nvPr>
        </p:nvSpPr>
        <p:spPr>
          <a:xfrm>
            <a:off x="384000" y="6497381"/>
            <a:ext cx="1200000" cy="184665"/>
          </a:xfrm>
        </p:spPr>
        <p:txBody>
          <a:bodyPr/>
          <a:lstStyle/>
          <a:p>
            <a:fld id="{BB71886C-2A2F-4799-B9F4-C1B20D212AE1}" type="datetime1">
              <a:rPr lang="en-US" noProof="0" smtClean="0"/>
              <a:t>6/19/2025</a:t>
            </a:fld>
            <a:endParaRPr lang="en-US" noProof="0" dirty="0"/>
          </a:p>
        </p:txBody>
      </p:sp>
      <p:sp>
        <p:nvSpPr>
          <p:cNvPr id="4" name="Fußzeilenplatzhalter 3"/>
          <p:cNvSpPr>
            <a:spLocks noGrp="1"/>
          </p:cNvSpPr>
          <p:nvPr>
            <p:ph type="ftr" sz="quarter" idx="11"/>
          </p:nvPr>
        </p:nvSpPr>
        <p:spPr>
          <a:xfrm>
            <a:off x="1788160" y="6497381"/>
            <a:ext cx="3860800" cy="184665"/>
          </a:xfrm>
        </p:spPr>
        <p:txBody>
          <a:bodyPr/>
          <a:lstStyle/>
          <a:p>
            <a:r>
              <a:rPr lang="en-US" noProof="0" dirty="0"/>
              <a:t>© Forum Network Technology/Network Operation in the VDE</a:t>
            </a:r>
          </a:p>
        </p:txBody>
      </p:sp>
      <p:sp>
        <p:nvSpPr>
          <p:cNvPr id="5" name="Foliennummernplatzhalter 4"/>
          <p:cNvSpPr>
            <a:spLocks noGrp="1"/>
          </p:cNvSpPr>
          <p:nvPr>
            <p:ph type="sldNum" sz="quarter" idx="12"/>
          </p:nvPr>
        </p:nvSpPr>
        <p:spPr>
          <a:xfrm>
            <a:off x="9888000" y="6497381"/>
            <a:ext cx="1920000" cy="184665"/>
          </a:xfrm>
        </p:spPr>
        <p:txBody>
          <a:bodyPr/>
          <a:lstStyle/>
          <a:p>
            <a:fld id="{2AA1E7D3-1333-45EE-ABB9-51527D316BA3}" type="slidenum">
              <a:rPr lang="en-US" noProof="0" smtClean="0"/>
              <a:pPr/>
              <a:t>‹#›</a:t>
            </a:fld>
            <a:endParaRPr lang="en-US" noProof="0" dirty="0"/>
          </a:p>
        </p:txBody>
      </p:sp>
    </p:spTree>
    <p:extLst>
      <p:ext uri="{BB962C8B-B14F-4D97-AF65-F5344CB8AC3E}">
        <p14:creationId xmlns:p14="http://schemas.microsoft.com/office/powerpoint/2010/main" val="24416530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979FEE69-14EC-463E-8642-1D5943B98D28}" type="datetime1">
              <a:rPr lang="en-US" noProof="0" smtClean="0"/>
              <a:t>6/19/2025</a:t>
            </a:fld>
            <a:endParaRPr lang="en-US" noProof="0" dirty="0"/>
          </a:p>
        </p:txBody>
      </p:sp>
      <p:sp>
        <p:nvSpPr>
          <p:cNvPr id="3" name="Fußzeilenplatzhalter 2"/>
          <p:cNvSpPr>
            <a:spLocks noGrp="1"/>
          </p:cNvSpPr>
          <p:nvPr>
            <p:ph type="ftr" sz="quarter" idx="11"/>
          </p:nvPr>
        </p:nvSpPr>
        <p:spPr/>
        <p:txBody>
          <a:bodyPr/>
          <a:lstStyle/>
          <a:p>
            <a:r>
              <a:rPr lang="en-US" noProof="0" dirty="0"/>
              <a:t>© Forum Network Technology/Network Operation in the VDE</a:t>
            </a:r>
          </a:p>
        </p:txBody>
      </p:sp>
      <p:sp>
        <p:nvSpPr>
          <p:cNvPr id="4" name="Foliennummernplatzhalter 3"/>
          <p:cNvSpPr>
            <a:spLocks noGrp="1"/>
          </p:cNvSpPr>
          <p:nvPr>
            <p:ph type="sldNum" sz="quarter" idx="12"/>
          </p:nvPr>
        </p:nvSpPr>
        <p:spPr/>
        <p:txBody>
          <a:bodyPr/>
          <a:lstStyle/>
          <a:p>
            <a:fld id="{2AA1E7D3-1333-45EE-ABB9-51527D316BA3}" type="slidenum">
              <a:rPr lang="en-US" noProof="0" smtClean="0"/>
              <a:pPr/>
              <a:t>‹#›</a:t>
            </a:fld>
            <a:endParaRPr lang="en-US" noProof="0" dirty="0"/>
          </a:p>
        </p:txBody>
      </p:sp>
    </p:spTree>
    <p:extLst>
      <p:ext uri="{BB962C8B-B14F-4D97-AF65-F5344CB8AC3E}">
        <p14:creationId xmlns:p14="http://schemas.microsoft.com/office/powerpoint/2010/main" val="19862450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uthor Bio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4DB68AD-5D1E-DB4B-91F2-5C15BA550E7B}"/>
              </a:ext>
            </a:extLst>
          </p:cNvPr>
          <p:cNvPicPr>
            <a:picLocks noChangeAspect="1"/>
          </p:cNvPicPr>
          <p:nvPr userDrawn="1"/>
        </p:nvPicPr>
        <p:blipFill rotWithShape="1">
          <a:blip r:embed="rId2"/>
          <a:srcRect t="375"/>
          <a:stretch/>
        </p:blipFill>
        <p:spPr>
          <a:xfrm>
            <a:off x="0" y="0"/>
            <a:ext cx="12207240" cy="2432304"/>
          </a:xfrm>
          <a:prstGeom prst="rect">
            <a:avLst/>
          </a:prstGeom>
        </p:spPr>
      </p:pic>
      <p:sp>
        <p:nvSpPr>
          <p:cNvPr id="4" name="Title 1">
            <a:extLst>
              <a:ext uri="{FF2B5EF4-FFF2-40B4-BE49-F238E27FC236}">
                <a16:creationId xmlns:a16="http://schemas.microsoft.com/office/drawing/2014/main" id="{D2776BFF-2D8E-5443-9DD8-7518895CAD4D}"/>
              </a:ext>
            </a:extLst>
          </p:cNvPr>
          <p:cNvSpPr>
            <a:spLocks noGrp="1"/>
          </p:cNvSpPr>
          <p:nvPr>
            <p:ph type="title"/>
          </p:nvPr>
        </p:nvSpPr>
        <p:spPr>
          <a:xfrm>
            <a:off x="762000" y="0"/>
            <a:ext cx="10018776" cy="2423159"/>
          </a:xfrm>
          <a:prstGeom prst="rect">
            <a:avLst/>
          </a:prstGeom>
        </p:spPr>
        <p:txBody>
          <a:bodyPr lIns="0" anchor="ctr"/>
          <a:lstStyle>
            <a:lvl1pPr>
              <a:defRPr b="0" i="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pic>
        <p:nvPicPr>
          <p:cNvPr id="6" name="Picture 5">
            <a:extLst>
              <a:ext uri="{FF2B5EF4-FFF2-40B4-BE49-F238E27FC236}">
                <a16:creationId xmlns:a16="http://schemas.microsoft.com/office/drawing/2014/main" id="{9626153A-BB35-364D-AAAE-F8CEF086FE95}"/>
              </a:ext>
            </a:extLst>
          </p:cNvPr>
          <p:cNvPicPr>
            <a:picLocks noChangeAspect="1"/>
          </p:cNvPicPr>
          <p:nvPr userDrawn="1"/>
        </p:nvPicPr>
        <p:blipFill>
          <a:blip r:embed="rId3"/>
          <a:stretch>
            <a:fillRect/>
          </a:stretch>
        </p:blipFill>
        <p:spPr>
          <a:xfrm>
            <a:off x="10942320" y="54864"/>
            <a:ext cx="1024129" cy="1280160"/>
          </a:xfrm>
          <a:prstGeom prst="rect">
            <a:avLst/>
          </a:prstGeom>
        </p:spPr>
      </p:pic>
      <p:sp>
        <p:nvSpPr>
          <p:cNvPr id="11" name="TextBox 10">
            <a:extLst>
              <a:ext uri="{FF2B5EF4-FFF2-40B4-BE49-F238E27FC236}">
                <a16:creationId xmlns:a16="http://schemas.microsoft.com/office/drawing/2014/main" id="{FFEDA725-0686-8D40-A57A-67430103B2F0}"/>
              </a:ext>
            </a:extLst>
          </p:cNvPr>
          <p:cNvSpPr txBox="1"/>
          <p:nvPr userDrawn="1"/>
        </p:nvSpPr>
        <p:spPr>
          <a:xfrm>
            <a:off x="11311128" y="6108192"/>
            <a:ext cx="521208" cy="276999"/>
          </a:xfrm>
          <a:prstGeom prst="rect">
            <a:avLst/>
          </a:prstGeom>
          <a:noFill/>
        </p:spPr>
        <p:txBody>
          <a:bodyPr wrap="square" rtlCol="0">
            <a:spAutoFit/>
          </a:bodyPr>
          <a:lstStyle/>
          <a:p>
            <a:pPr algn="r"/>
            <a:fld id="{90F21B5F-06DF-1840-B2F7-3636C65A51F9}" type="slidenum">
              <a:rPr lang="en-US" sz="1200" b="0" i="0" smtClean="0">
                <a:solidFill>
                  <a:schemeClr val="bg1">
                    <a:lumMod val="65000"/>
                  </a:schemeClr>
                </a:solidFill>
                <a:latin typeface="Montserrat Medium" pitchFamily="2" charset="77"/>
              </a:rPr>
              <a:pPr algn="r"/>
              <a:t>‹#›</a:t>
            </a:fld>
            <a:endParaRPr lang="en-US" sz="1200" b="0" i="0" dirty="0">
              <a:solidFill>
                <a:schemeClr val="bg1">
                  <a:lumMod val="65000"/>
                </a:schemeClr>
              </a:solidFill>
              <a:latin typeface="Montserrat Medium" pitchFamily="2" charset="77"/>
            </a:endParaRPr>
          </a:p>
        </p:txBody>
      </p:sp>
      <p:sp>
        <p:nvSpPr>
          <p:cNvPr id="12" name="Rectangle 11">
            <a:extLst>
              <a:ext uri="{FF2B5EF4-FFF2-40B4-BE49-F238E27FC236}">
                <a16:creationId xmlns:a16="http://schemas.microsoft.com/office/drawing/2014/main" id="{19390071-B18E-E241-8082-DE4EF3E5EAE8}"/>
              </a:ext>
            </a:extLst>
          </p:cNvPr>
          <p:cNvSpPr/>
          <p:nvPr userDrawn="1"/>
        </p:nvSpPr>
        <p:spPr>
          <a:xfrm>
            <a:off x="10157021" y="6374907"/>
            <a:ext cx="1808508" cy="215444"/>
          </a:xfrm>
          <a:prstGeom prst="rect">
            <a:avLst/>
          </a:prstGeom>
        </p:spPr>
        <p:txBody>
          <a:bodyPr wrap="none">
            <a:spAutoFit/>
          </a:bodyPr>
          <a:lstStyle/>
          <a:p>
            <a:r>
              <a:rPr lang="en-US" sz="800" b="0" dirty="0">
                <a:solidFill>
                  <a:schemeClr val="bg1">
                    <a:lumMod val="75000"/>
                  </a:schemeClr>
                </a:solidFill>
                <a:effectLst/>
                <a:latin typeface="Montserrat" pitchFamily="2" charset="77"/>
              </a:rPr>
              <a:t>©2022 ESIG. All rights Reserved.</a:t>
            </a:r>
            <a:endParaRPr lang="en-US" sz="800" b="0" dirty="0">
              <a:solidFill>
                <a:schemeClr val="bg1">
                  <a:lumMod val="75000"/>
                </a:schemeClr>
              </a:solidFill>
              <a:effectLst/>
              <a:latin typeface="Montserrat SemiBold" pitchFamily="2" charset="77"/>
            </a:endParaRPr>
          </a:p>
        </p:txBody>
      </p:sp>
      <p:sp>
        <p:nvSpPr>
          <p:cNvPr id="7" name="Text Placeholder 6">
            <a:extLst>
              <a:ext uri="{FF2B5EF4-FFF2-40B4-BE49-F238E27FC236}">
                <a16:creationId xmlns:a16="http://schemas.microsoft.com/office/drawing/2014/main" id="{80608B13-5B2D-DC4D-A252-9B4F170B3C9C}"/>
              </a:ext>
            </a:extLst>
          </p:cNvPr>
          <p:cNvSpPr>
            <a:spLocks noGrp="1"/>
          </p:cNvSpPr>
          <p:nvPr>
            <p:ph type="body" sz="quarter" idx="10"/>
          </p:nvPr>
        </p:nvSpPr>
        <p:spPr>
          <a:xfrm>
            <a:off x="1316736" y="5669217"/>
            <a:ext cx="3264535" cy="283527"/>
          </a:xfrm>
          <a:prstGeom prst="rect">
            <a:avLst/>
          </a:prstGeom>
        </p:spPr>
        <p:txBody>
          <a:bodyPr/>
          <a:lstStyle>
            <a:lvl1pPr marL="0" indent="0" algn="ctr">
              <a:buNone/>
              <a:defRPr sz="1600">
                <a:solidFill>
                  <a:srgbClr val="204C8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9" name="Picture Placeholder 8">
            <a:extLst>
              <a:ext uri="{FF2B5EF4-FFF2-40B4-BE49-F238E27FC236}">
                <a16:creationId xmlns:a16="http://schemas.microsoft.com/office/drawing/2014/main" id="{EDC7BB8C-8A58-9349-BA13-0A4B7AE4FE5D}"/>
              </a:ext>
            </a:extLst>
          </p:cNvPr>
          <p:cNvSpPr>
            <a:spLocks noGrp="1"/>
          </p:cNvSpPr>
          <p:nvPr>
            <p:ph type="pic" sz="quarter" idx="11"/>
          </p:nvPr>
        </p:nvSpPr>
        <p:spPr>
          <a:xfrm>
            <a:off x="1033463" y="1691641"/>
            <a:ext cx="3785425" cy="3774702"/>
          </a:xfrm>
          <a:prstGeom prst="ellipse">
            <a:avLst/>
          </a:prstGeom>
          <a:solidFill>
            <a:schemeClr val="bg1">
              <a:lumMod val="95000"/>
            </a:schemeClr>
          </a:solidFill>
        </p:spPr>
        <p:txBody>
          <a:bodyPr/>
          <a:lstStyle>
            <a:lvl1pPr marL="0" indent="0">
              <a:buNone/>
              <a:defRPr/>
            </a:lvl1pPr>
          </a:lstStyle>
          <a:p>
            <a:r>
              <a:rPr lang="en-US"/>
              <a:t>Click icon to add picture</a:t>
            </a:r>
            <a:endParaRPr lang="en-US" dirty="0"/>
          </a:p>
        </p:txBody>
      </p:sp>
      <p:sp>
        <p:nvSpPr>
          <p:cNvPr id="15" name="Content Placeholder 14">
            <a:extLst>
              <a:ext uri="{FF2B5EF4-FFF2-40B4-BE49-F238E27FC236}">
                <a16:creationId xmlns:a16="http://schemas.microsoft.com/office/drawing/2014/main" id="{CCB9364F-A7F6-7342-97C1-28DE6F323A57}"/>
              </a:ext>
            </a:extLst>
          </p:cNvPr>
          <p:cNvSpPr>
            <a:spLocks noGrp="1"/>
          </p:cNvSpPr>
          <p:nvPr>
            <p:ph sz="quarter" idx="12"/>
          </p:nvPr>
        </p:nvSpPr>
        <p:spPr>
          <a:xfrm>
            <a:off x="5505450" y="3100388"/>
            <a:ext cx="5815013" cy="3190875"/>
          </a:xfrm>
          <a:prstGeom prst="rect">
            <a:avLst/>
          </a:prstGeom>
        </p:spPr>
        <p:txBody>
          <a:bodyPr/>
          <a:lstStyle>
            <a:lvl1pPr marL="0" indent="0">
              <a:buNone/>
              <a:defRPr b="0" i="0">
                <a:solidFill>
                  <a:schemeClr val="tx1"/>
                </a:solidFill>
                <a:latin typeface="Arial" panose="020B0604020202020204" pitchFamily="34" charset="0"/>
                <a:cs typeface="Arial" panose="020B0604020202020204" pitchFamily="34" charset="0"/>
              </a:defRPr>
            </a:lvl1pPr>
            <a:lvl2pPr marL="285750" indent="0">
              <a:buNone/>
              <a:defRPr b="0" i="0">
                <a:solidFill>
                  <a:schemeClr val="bg1">
                    <a:lumMod val="50000"/>
                  </a:schemeClr>
                </a:solidFill>
                <a:latin typeface="Adobe Garamond Pro" panose="02020502060506020403" pitchFamily="18" charset="77"/>
              </a:defRPr>
            </a:lvl2pPr>
            <a:lvl3pPr marL="682625" indent="0">
              <a:buNone/>
              <a:defRPr b="0" i="0">
                <a:solidFill>
                  <a:schemeClr val="bg1">
                    <a:lumMod val="50000"/>
                  </a:schemeClr>
                </a:solidFill>
                <a:latin typeface="Adobe Garamond Pro" panose="02020502060506020403" pitchFamily="18" charset="77"/>
              </a:defRPr>
            </a:lvl3pPr>
            <a:lvl4pPr marL="1092200" indent="0">
              <a:buNone/>
              <a:defRPr b="0" i="0">
                <a:solidFill>
                  <a:schemeClr val="bg1">
                    <a:lumMod val="50000"/>
                  </a:schemeClr>
                </a:solidFill>
                <a:latin typeface="Adobe Garamond Pro" panose="02020502060506020403" pitchFamily="18" charset="77"/>
              </a:defRPr>
            </a:lvl4pPr>
            <a:lvl5pPr marL="1377950" indent="0">
              <a:buNone/>
              <a:defRPr b="0" i="0">
                <a:solidFill>
                  <a:schemeClr val="bg1">
                    <a:lumMod val="50000"/>
                  </a:schemeClr>
                </a:solidFill>
                <a:latin typeface="Adobe Garamond Pro" panose="02020502060506020403" pitchFamily="18" charset="77"/>
              </a:defRPr>
            </a:lvl5pPr>
          </a:lstStyle>
          <a:p>
            <a:pPr lvl="0"/>
            <a:r>
              <a:rPr lang="en-US"/>
              <a:t>Click to edit Master text styles</a:t>
            </a:r>
          </a:p>
        </p:txBody>
      </p:sp>
      <p:sp>
        <p:nvSpPr>
          <p:cNvPr id="16" name="Text Placeholder 6">
            <a:extLst>
              <a:ext uri="{FF2B5EF4-FFF2-40B4-BE49-F238E27FC236}">
                <a16:creationId xmlns:a16="http://schemas.microsoft.com/office/drawing/2014/main" id="{137C2613-436D-7646-847D-F9820E259E91}"/>
              </a:ext>
            </a:extLst>
          </p:cNvPr>
          <p:cNvSpPr>
            <a:spLocks noGrp="1"/>
          </p:cNvSpPr>
          <p:nvPr>
            <p:ph type="body" sz="quarter" idx="13"/>
          </p:nvPr>
        </p:nvSpPr>
        <p:spPr>
          <a:xfrm>
            <a:off x="1316736" y="6007736"/>
            <a:ext cx="3264535" cy="283527"/>
          </a:xfrm>
          <a:prstGeom prst="rect">
            <a:avLst/>
          </a:prstGeom>
        </p:spPr>
        <p:txBody>
          <a:bodyPr/>
          <a:lstStyle>
            <a:lvl1pPr marL="0" indent="0" algn="ctr">
              <a:buNone/>
              <a:defRPr sz="1600" b="0" i="0">
                <a:solidFill>
                  <a:schemeClr val="tx1"/>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99982254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ntertitle with picture (two-lin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3CC62981-EA5F-4F09-80CA-0A625030061A}"/>
              </a:ext>
            </a:extLst>
          </p:cNvPr>
          <p:cNvGraphicFramePr>
            <a:graphicFrameLocks noChangeAspect="1"/>
          </p:cNvGraphicFramePr>
          <p:nvPr userDrawn="1">
            <p:custDataLst>
              <p:tags r:id="rId1"/>
            </p:custDataLst>
            <p:extLst>
              <p:ext uri="{D42A27DB-BD31-4B8C-83A1-F6EECF244321}">
                <p14:modId xmlns:p14="http://schemas.microsoft.com/office/powerpoint/2010/main" val="271433928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8" name="Objekt 7" hidden="1">
                        <a:extLst>
                          <a:ext uri="{FF2B5EF4-FFF2-40B4-BE49-F238E27FC236}">
                            <a16:creationId xmlns:a16="http://schemas.microsoft.com/office/drawing/2014/main" id="{3CC62981-EA5F-4F09-80CA-0A625030061A}"/>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2" name="Titel 1"/>
          <p:cNvSpPr>
            <a:spLocks noGrp="1"/>
          </p:cNvSpPr>
          <p:nvPr>
            <p:ph type="title" hasCustomPrompt="1"/>
          </p:nvPr>
        </p:nvSpPr>
        <p:spPr bwMode="gray">
          <a:xfrm>
            <a:off x="768000" y="333200"/>
            <a:ext cx="10080000" cy="864000"/>
          </a:xfrm>
        </p:spPr>
        <p:txBody>
          <a:bodyPr vert="horz"/>
          <a:lstStyle/>
          <a:p>
            <a:r>
              <a:rPr lang="en-US" dirty="0"/>
              <a:t>Click to add title</a:t>
            </a:r>
            <a:endParaRPr lang="en-US" noProof="0" dirty="0"/>
          </a:p>
        </p:txBody>
      </p:sp>
      <p:sp>
        <p:nvSpPr>
          <p:cNvPr id="4" name="Datumsplatzhalter 3"/>
          <p:cNvSpPr>
            <a:spLocks noGrp="1"/>
          </p:cNvSpPr>
          <p:nvPr>
            <p:ph type="dt" sz="half" idx="10"/>
          </p:nvPr>
        </p:nvSpPr>
        <p:spPr bwMode="gray"/>
        <p:txBody>
          <a:bodyPr/>
          <a:lstStyle/>
          <a:p>
            <a:fld id="{8B6F73CC-D645-4E6D-8DE3-0A1B4B6A8051}" type="datetime1">
              <a:rPr lang="en-US" noProof="0" smtClean="0"/>
              <a:t>6/19/2025</a:t>
            </a:fld>
            <a:endParaRPr lang="en-US" noProof="0" dirty="0"/>
          </a:p>
        </p:txBody>
      </p:sp>
      <p:sp>
        <p:nvSpPr>
          <p:cNvPr id="5" name="Fußzeilenplatzhalter 4"/>
          <p:cNvSpPr>
            <a:spLocks noGrp="1"/>
          </p:cNvSpPr>
          <p:nvPr>
            <p:ph type="ftr" sz="quarter" idx="11"/>
          </p:nvPr>
        </p:nvSpPr>
        <p:spPr bwMode="gray"/>
        <p:txBody>
          <a:bodyPr/>
          <a:lstStyle/>
          <a:p>
            <a:r>
              <a:rPr lang="en-US" noProof="0" dirty="0"/>
              <a:t>© Forum Network Technology/Network Operation in the VDE</a:t>
            </a:r>
          </a:p>
        </p:txBody>
      </p:sp>
      <p:sp>
        <p:nvSpPr>
          <p:cNvPr id="6" name="Foliennummernplatzhalter 5"/>
          <p:cNvSpPr>
            <a:spLocks noGrp="1"/>
          </p:cNvSpPr>
          <p:nvPr>
            <p:ph type="sldNum" sz="quarter" idx="12"/>
          </p:nvPr>
        </p:nvSpPr>
        <p:spPr bwMode="gray"/>
        <p:txBody>
          <a:bodyPr/>
          <a:lstStyle/>
          <a:p>
            <a:fld id="{2AA1E7D3-1333-45EE-ABB9-51527D316BA3}" type="slidenum">
              <a:rPr lang="en-US" noProof="0" smtClean="0"/>
              <a:pPr/>
              <a:t>‹#›</a:t>
            </a:fld>
            <a:endParaRPr lang="en-US" noProof="0" dirty="0"/>
          </a:p>
        </p:txBody>
      </p:sp>
      <p:sp>
        <p:nvSpPr>
          <p:cNvPr id="7" name="Bildplatzhalter 8">
            <a:extLst>
              <a:ext uri="{FF2B5EF4-FFF2-40B4-BE49-F238E27FC236}">
                <a16:creationId xmlns:a16="http://schemas.microsoft.com/office/drawing/2014/main" id="{27FED6EE-7826-464E-B382-FC82B9D5AF87}"/>
              </a:ext>
            </a:extLst>
          </p:cNvPr>
          <p:cNvSpPr>
            <a:spLocks noGrp="1"/>
          </p:cNvSpPr>
          <p:nvPr>
            <p:ph type="pic" sz="quarter" idx="16" hasCustomPrompt="1"/>
          </p:nvPr>
        </p:nvSpPr>
        <p:spPr>
          <a:xfrm>
            <a:off x="768351" y="1460501"/>
            <a:ext cx="10655300" cy="4273551"/>
          </a:xfrm>
          <a:solidFill>
            <a:srgbClr val="C7D6F1"/>
          </a:solidFill>
        </p:spPr>
        <p:txBody>
          <a:bodyPr/>
          <a:lstStyle>
            <a:lvl1pPr marL="0" indent="0">
              <a:spcBef>
                <a:spcPts val="0"/>
              </a:spcBef>
              <a:buNone/>
              <a:defRPr/>
            </a:lvl1pPr>
          </a:lstStyle>
          <a:p>
            <a:r>
              <a:rPr lang="en-US" noProof="0" dirty="0"/>
              <a:t>Drag image or video to the spacer</a:t>
            </a:r>
            <a:br>
              <a:rPr lang="en-US" noProof="0" dirty="0"/>
            </a:br>
            <a:r>
              <a:rPr lang="en-US" noProof="0" dirty="0"/>
              <a:t>or add by clicking on the corresponding icon</a:t>
            </a:r>
          </a:p>
        </p:txBody>
      </p:sp>
    </p:spTree>
    <p:extLst>
      <p:ext uri="{BB962C8B-B14F-4D97-AF65-F5344CB8AC3E}">
        <p14:creationId xmlns:p14="http://schemas.microsoft.com/office/powerpoint/2010/main" val="371375406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Intertitle with picture (one-lin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C6DDD4C-5DD2-45F4-95CA-1614FBEAF2E6}"/>
              </a:ext>
            </a:extLst>
          </p:cNvPr>
          <p:cNvGraphicFramePr>
            <a:graphicFrameLocks noChangeAspect="1"/>
          </p:cNvGraphicFramePr>
          <p:nvPr userDrawn="1">
            <p:custDataLst>
              <p:tags r:id="rId1"/>
            </p:custDataLst>
            <p:extLst>
              <p:ext uri="{D42A27DB-BD31-4B8C-83A1-F6EECF244321}">
                <p14:modId xmlns:p14="http://schemas.microsoft.com/office/powerpoint/2010/main" val="327384231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5" name="Objekt 4" hidden="1">
                        <a:extLst>
                          <a:ext uri="{FF2B5EF4-FFF2-40B4-BE49-F238E27FC236}">
                            <a16:creationId xmlns:a16="http://schemas.microsoft.com/office/drawing/2014/main" id="{6C6DDD4C-5DD2-45F4-95CA-1614FBEAF2E6}"/>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6" name="Bildplatzhalter 8">
            <a:extLst>
              <a:ext uri="{FF2B5EF4-FFF2-40B4-BE49-F238E27FC236}">
                <a16:creationId xmlns:a16="http://schemas.microsoft.com/office/drawing/2014/main" id="{EFEB2563-40FC-4BBD-AE2F-1A1DBB048E38}"/>
              </a:ext>
            </a:extLst>
          </p:cNvPr>
          <p:cNvSpPr>
            <a:spLocks noGrp="1"/>
          </p:cNvSpPr>
          <p:nvPr>
            <p:ph type="pic" sz="quarter" idx="16" hasCustomPrompt="1"/>
          </p:nvPr>
        </p:nvSpPr>
        <p:spPr>
          <a:xfrm>
            <a:off x="0" y="0"/>
            <a:ext cx="12192000" cy="6858000"/>
          </a:xfrm>
          <a:solidFill>
            <a:srgbClr val="C7D6F1"/>
          </a:solidFill>
        </p:spPr>
        <p:txBody>
          <a:bodyPr/>
          <a:lstStyle>
            <a:lvl1pPr marL="0" indent="0">
              <a:spcBef>
                <a:spcPts val="0"/>
              </a:spcBef>
              <a:buNone/>
              <a:defRPr/>
            </a:lvl1pPr>
          </a:lstStyle>
          <a:p>
            <a:r>
              <a:rPr lang="en-US" noProof="0" dirty="0"/>
              <a:t>Drag image or video to the spacer</a:t>
            </a:r>
            <a:br>
              <a:rPr lang="en-US" noProof="0" dirty="0"/>
            </a:br>
            <a:r>
              <a:rPr lang="en-US" noProof="0" dirty="0"/>
              <a:t>or add by clicking on the corresponding icon</a:t>
            </a:r>
          </a:p>
        </p:txBody>
      </p:sp>
      <p:sp>
        <p:nvSpPr>
          <p:cNvPr id="2" name="Titel 1"/>
          <p:cNvSpPr>
            <a:spLocks noGrp="1"/>
          </p:cNvSpPr>
          <p:nvPr>
            <p:ph type="title" hasCustomPrompt="1"/>
          </p:nvPr>
        </p:nvSpPr>
        <p:spPr bwMode="gray">
          <a:xfrm>
            <a:off x="0" y="4254501"/>
            <a:ext cx="12192000" cy="1479551"/>
          </a:xfrm>
          <a:gradFill flip="none" rotWithShape="1">
            <a:gsLst>
              <a:gs pos="75000">
                <a:srgbClr val="FFFFFF"/>
              </a:gs>
              <a:gs pos="46000">
                <a:srgbClr val="FFFFFF">
                  <a:alpha val="90000"/>
                </a:srgbClr>
              </a:gs>
              <a:gs pos="0">
                <a:schemeClr val="bg2">
                  <a:alpha val="90000"/>
                </a:schemeClr>
              </a:gs>
              <a:gs pos="100000">
                <a:schemeClr val="bg1">
                  <a:alpha val="0"/>
                </a:schemeClr>
              </a:gs>
            </a:gsLst>
            <a:lin ang="0" scaled="1"/>
            <a:tileRect/>
          </a:gradFill>
        </p:spPr>
        <p:txBody>
          <a:bodyPr vert="horz" wrap="square" lIns="576000" tIns="108000" rIns="144000" bIns="108000" anchor="ctr">
            <a:noAutofit/>
          </a:bodyPr>
          <a:lstStyle>
            <a:lvl1pPr>
              <a:defRPr lang="de-DE" sz="3200" noProof="0" dirty="0">
                <a:latin typeface="+mn-lt"/>
                <a:ea typeface="+mn-ea"/>
                <a:cs typeface="+mn-cs"/>
              </a:defRPr>
            </a:lvl1pPr>
          </a:lstStyle>
          <a:p>
            <a:pPr marL="0" lvl="0"/>
            <a:r>
              <a:rPr lang="en-US" dirty="0"/>
              <a:t>Click to add title</a:t>
            </a:r>
            <a:endParaRPr lang="en-US" noProof="0" dirty="0"/>
          </a:p>
        </p:txBody>
      </p:sp>
    </p:spTree>
    <p:extLst>
      <p:ext uri="{BB962C8B-B14F-4D97-AF65-F5344CB8AC3E}">
        <p14:creationId xmlns:p14="http://schemas.microsoft.com/office/powerpoint/2010/main" val="248270304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ntertitle with horizontal pictur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56A6F25-C6CA-4E86-B9AF-7AE0510090E8}"/>
              </a:ext>
            </a:extLst>
          </p:cNvPr>
          <p:cNvGraphicFramePr>
            <a:graphicFrameLocks noChangeAspect="1"/>
          </p:cNvGraphicFramePr>
          <p:nvPr userDrawn="1">
            <p:custDataLst>
              <p:tags r:id="rId1"/>
            </p:custDataLst>
            <p:extLst>
              <p:ext uri="{D42A27DB-BD31-4B8C-83A1-F6EECF244321}">
                <p14:modId xmlns:p14="http://schemas.microsoft.com/office/powerpoint/2010/main" val="2250660839"/>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3" name="Objekt 2" hidden="1">
                        <a:extLst>
                          <a:ext uri="{FF2B5EF4-FFF2-40B4-BE49-F238E27FC236}">
                            <a16:creationId xmlns:a16="http://schemas.microsoft.com/office/drawing/2014/main" id="{A56A6F25-C6CA-4E86-B9AF-7AE0510090E8}"/>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2D56660B-A744-44EB-97F4-CF25F23FA056}"/>
              </a:ext>
            </a:extLst>
          </p:cNvPr>
          <p:cNvSpPr>
            <a:spLocks noGrp="1"/>
          </p:cNvSpPr>
          <p:nvPr>
            <p:ph type="pic" sz="quarter" idx="16" hasCustomPrompt="1"/>
          </p:nvPr>
        </p:nvSpPr>
        <p:spPr>
          <a:xfrm>
            <a:off x="0" y="0"/>
            <a:ext cx="12192000" cy="4560000"/>
          </a:xfrm>
          <a:solidFill>
            <a:srgbClr val="C7D6F1"/>
          </a:solidFill>
        </p:spPr>
        <p:txBody>
          <a:bodyPr/>
          <a:lstStyle>
            <a:lvl1pPr marL="0" indent="0">
              <a:spcBef>
                <a:spcPts val="0"/>
              </a:spcBef>
              <a:buNone/>
              <a:defRPr/>
            </a:lvl1pPr>
          </a:lstStyle>
          <a:p>
            <a:r>
              <a:rPr lang="en-US" noProof="0" dirty="0"/>
              <a:t>Drag image or video to the spacer</a:t>
            </a:r>
            <a:br>
              <a:rPr lang="en-US" noProof="0" dirty="0"/>
            </a:br>
            <a:r>
              <a:rPr lang="en-US" noProof="0" dirty="0"/>
              <a:t>or add by clicking on the corresponding icon</a:t>
            </a:r>
          </a:p>
        </p:txBody>
      </p:sp>
      <p:sp>
        <p:nvSpPr>
          <p:cNvPr id="4" name="Datumsplatzhalter 3"/>
          <p:cNvSpPr>
            <a:spLocks noGrp="1"/>
          </p:cNvSpPr>
          <p:nvPr>
            <p:ph type="dt" sz="half" idx="10"/>
          </p:nvPr>
        </p:nvSpPr>
        <p:spPr bwMode="gray"/>
        <p:txBody>
          <a:bodyPr/>
          <a:lstStyle/>
          <a:p>
            <a:fld id="{E15048FE-2311-4D51-925F-6973B9229730}" type="datetime1">
              <a:rPr lang="en-US" noProof="0" smtClean="0"/>
              <a:t>6/19/2025</a:t>
            </a:fld>
            <a:endParaRPr lang="en-US" noProof="0" dirty="0"/>
          </a:p>
        </p:txBody>
      </p:sp>
      <p:sp>
        <p:nvSpPr>
          <p:cNvPr id="5" name="Fußzeilenplatzhalter 4"/>
          <p:cNvSpPr>
            <a:spLocks noGrp="1"/>
          </p:cNvSpPr>
          <p:nvPr>
            <p:ph type="ftr" sz="quarter" idx="11"/>
          </p:nvPr>
        </p:nvSpPr>
        <p:spPr bwMode="gray"/>
        <p:txBody>
          <a:bodyPr/>
          <a:lstStyle/>
          <a:p>
            <a:r>
              <a:rPr lang="en-US" noProof="0" dirty="0"/>
              <a:t>© Forum Network Technology/Network Operation in the VDE</a:t>
            </a:r>
          </a:p>
        </p:txBody>
      </p:sp>
      <p:sp>
        <p:nvSpPr>
          <p:cNvPr id="6" name="Foliennummernplatzhalter 5"/>
          <p:cNvSpPr>
            <a:spLocks noGrp="1"/>
          </p:cNvSpPr>
          <p:nvPr>
            <p:ph type="sldNum" sz="quarter" idx="12"/>
          </p:nvPr>
        </p:nvSpPr>
        <p:spPr bwMode="gray"/>
        <p:txBody>
          <a:bodyPr/>
          <a:lstStyle/>
          <a:p>
            <a:fld id="{2AA1E7D3-1333-45EE-ABB9-51527D316BA3}" type="slidenum">
              <a:rPr lang="en-US" noProof="0" smtClean="0"/>
              <a:pPr/>
              <a:t>‹#›</a:t>
            </a:fld>
            <a:endParaRPr lang="en-US" noProof="0" dirty="0"/>
          </a:p>
        </p:txBody>
      </p:sp>
      <p:sp>
        <p:nvSpPr>
          <p:cNvPr id="2" name="Titel 1"/>
          <p:cNvSpPr>
            <a:spLocks noGrp="1"/>
          </p:cNvSpPr>
          <p:nvPr>
            <p:ph type="title" hasCustomPrompt="1"/>
          </p:nvPr>
        </p:nvSpPr>
        <p:spPr bwMode="gray">
          <a:xfrm>
            <a:off x="384000" y="4800000"/>
            <a:ext cx="9792000" cy="576000"/>
          </a:xfrm>
        </p:spPr>
        <p:txBody>
          <a:bodyPr vert="horz" wrap="none" lIns="288000" tIns="72000" rIns="288000" bIns="72000" anchor="ctr"/>
          <a:lstStyle/>
          <a:p>
            <a:r>
              <a:rPr lang="en-US" dirty="0"/>
              <a:t>Click to add title</a:t>
            </a:r>
            <a:endParaRPr lang="en-US" noProof="0" dirty="0"/>
          </a:p>
        </p:txBody>
      </p:sp>
    </p:spTree>
    <p:extLst>
      <p:ext uri="{BB962C8B-B14F-4D97-AF65-F5344CB8AC3E}">
        <p14:creationId xmlns:p14="http://schemas.microsoft.com/office/powerpoint/2010/main" val="27165307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ntertitle with vertical picture">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2F3D9F3-C1CA-4854-A8A2-A0BF8852262D}"/>
              </a:ext>
            </a:extLst>
          </p:cNvPr>
          <p:cNvGraphicFramePr>
            <a:graphicFrameLocks noChangeAspect="1"/>
          </p:cNvGraphicFramePr>
          <p:nvPr userDrawn="1">
            <p:custDataLst>
              <p:tags r:id="rId1"/>
            </p:custDataLst>
            <p:extLst>
              <p:ext uri="{D42A27DB-BD31-4B8C-83A1-F6EECF244321}">
                <p14:modId xmlns:p14="http://schemas.microsoft.com/office/powerpoint/2010/main" val="288403951"/>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9" name="Objekt 8" hidden="1">
                        <a:extLst>
                          <a:ext uri="{FF2B5EF4-FFF2-40B4-BE49-F238E27FC236}">
                            <a16:creationId xmlns:a16="http://schemas.microsoft.com/office/drawing/2014/main" id="{02F3D9F3-C1CA-4854-A8A2-A0BF8852262D}"/>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10" name="Rechteck 9">
            <a:extLst>
              <a:ext uri="{FF2B5EF4-FFF2-40B4-BE49-F238E27FC236}">
                <a16:creationId xmlns:a16="http://schemas.microsoft.com/office/drawing/2014/main" id="{D3ADCC7A-A30B-4E08-AFF3-890AB9BC0E5D}"/>
              </a:ext>
            </a:extLst>
          </p:cNvPr>
          <p:cNvSpPr/>
          <p:nvPr userDrawn="1"/>
        </p:nvSpPr>
        <p:spPr bwMode="gray">
          <a:xfrm>
            <a:off x="1" y="6139452"/>
            <a:ext cx="6524625" cy="328965"/>
          </a:xfrm>
          <a:prstGeom prst="rect">
            <a:avLst/>
          </a:prstGeom>
          <a:solidFill>
            <a:schemeClr val="bg1"/>
          </a:solidFill>
          <a:ln w="9525" algn="ctr">
            <a:noFill/>
            <a:miter lim="800000"/>
            <a:headEnd/>
            <a:tailEnd/>
          </a:ln>
          <a:effectLst/>
        </p:spPr>
        <p:txBody>
          <a:bodyPr lIns="192000" tIns="48000" rIns="192000" bIns="48000" rtlCol="0" anchor="ctr"/>
          <a:lstStyle/>
          <a:p>
            <a:pPr algn="ctr"/>
            <a:endParaRPr lang="en-US" sz="1467" b="1" kern="0" dirty="0">
              <a:solidFill>
                <a:srgbClr val="FFFFFF"/>
              </a:solidFill>
            </a:endParaRPr>
          </a:p>
        </p:txBody>
      </p:sp>
      <p:sp>
        <p:nvSpPr>
          <p:cNvPr id="11" name="Bildplatzhalter 8">
            <a:extLst>
              <a:ext uri="{FF2B5EF4-FFF2-40B4-BE49-F238E27FC236}">
                <a16:creationId xmlns:a16="http://schemas.microsoft.com/office/drawing/2014/main" id="{D9073291-5F24-4931-96D3-DCBA035772FA}"/>
              </a:ext>
            </a:extLst>
          </p:cNvPr>
          <p:cNvSpPr>
            <a:spLocks noGrp="1"/>
          </p:cNvSpPr>
          <p:nvPr>
            <p:ph type="pic" sz="quarter" idx="16" hasCustomPrompt="1"/>
          </p:nvPr>
        </p:nvSpPr>
        <p:spPr>
          <a:xfrm>
            <a:off x="0" y="0"/>
            <a:ext cx="6215587" cy="6858000"/>
          </a:xfrm>
          <a:solidFill>
            <a:srgbClr val="C7D6F1"/>
          </a:solidFill>
        </p:spPr>
        <p:txBody>
          <a:bodyPr/>
          <a:lstStyle>
            <a:lvl1pPr marL="0" indent="0">
              <a:spcBef>
                <a:spcPts val="0"/>
              </a:spcBef>
              <a:buNone/>
              <a:defRPr/>
            </a:lvl1pPr>
          </a:lstStyle>
          <a:p>
            <a:r>
              <a:rPr lang="en-US" noProof="0" dirty="0"/>
              <a:t>Drag image or video to the spacer</a:t>
            </a:r>
            <a:br>
              <a:rPr lang="en-US" noProof="0" dirty="0"/>
            </a:br>
            <a:r>
              <a:rPr lang="en-US" noProof="0" dirty="0"/>
              <a:t>or add by clicking on the corresponding icon</a:t>
            </a:r>
          </a:p>
        </p:txBody>
      </p:sp>
      <p:sp>
        <p:nvSpPr>
          <p:cNvPr id="3" name="Inhaltsplatzhalter 2"/>
          <p:cNvSpPr>
            <a:spLocks noGrp="1"/>
          </p:cNvSpPr>
          <p:nvPr>
            <p:ph idx="1" hasCustomPrompt="1"/>
          </p:nvPr>
        </p:nvSpPr>
        <p:spPr bwMode="gray">
          <a:xfrm>
            <a:off x="6524626" y="1460499"/>
            <a:ext cx="4899375" cy="4299500"/>
          </a:xfrm>
          <a:solidFill>
            <a:srgbClr val="EAEAEA"/>
          </a:solidFill>
          <a:ln>
            <a:solidFill>
              <a:schemeClr val="bg1"/>
            </a:solidFill>
          </a:ln>
        </p:spPr>
        <p:txBody>
          <a:bodyPr lIns="180000" tIns="108000" rIns="180000" bIns="108000" anchor="t" anchorCtr="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a:p>
            <a:pPr lvl="4"/>
            <a:endParaRPr lang="en-US" noProof="0" dirty="0"/>
          </a:p>
        </p:txBody>
      </p:sp>
      <p:sp>
        <p:nvSpPr>
          <p:cNvPr id="2" name="Titel 1"/>
          <p:cNvSpPr>
            <a:spLocks noGrp="1"/>
          </p:cNvSpPr>
          <p:nvPr>
            <p:ph type="title" hasCustomPrompt="1"/>
          </p:nvPr>
        </p:nvSpPr>
        <p:spPr bwMode="gray">
          <a:xfrm>
            <a:off x="6524626" y="333200"/>
            <a:ext cx="4323375" cy="864000"/>
          </a:xfrm>
        </p:spPr>
        <p:txBody>
          <a:bodyPr vert="horz"/>
          <a:lstStyle/>
          <a:p>
            <a:r>
              <a:rPr lang="en-US" dirty="0"/>
              <a:t>Click to add title</a:t>
            </a:r>
            <a:endParaRPr lang="en-US" noProof="0" dirty="0"/>
          </a:p>
        </p:txBody>
      </p:sp>
      <p:sp>
        <p:nvSpPr>
          <p:cNvPr id="6" name="Foliennummernplatzhalter 5"/>
          <p:cNvSpPr>
            <a:spLocks noGrp="1"/>
          </p:cNvSpPr>
          <p:nvPr>
            <p:ph type="sldNum" sz="quarter" idx="12"/>
          </p:nvPr>
        </p:nvSpPr>
        <p:spPr bwMode="gray"/>
        <p:txBody>
          <a:bodyPr/>
          <a:lstStyle/>
          <a:p>
            <a:fld id="{2AA1E7D3-1333-45EE-ABB9-51527D316BA3}" type="slidenum">
              <a:rPr lang="en-US" noProof="0" smtClean="0"/>
              <a:pPr/>
              <a:t>‹#›</a:t>
            </a:fld>
            <a:endParaRPr lang="en-US" noProof="0" dirty="0"/>
          </a:p>
        </p:txBody>
      </p:sp>
    </p:spTree>
    <p:extLst>
      <p:ext uri="{BB962C8B-B14F-4D97-AF65-F5344CB8AC3E}">
        <p14:creationId xmlns:p14="http://schemas.microsoft.com/office/powerpoint/2010/main" val="4126213945"/>
      </p:ext>
    </p:extLst>
  </p:cSld>
  <p:clrMapOvr>
    <a:masterClrMapping/>
  </p:clrMapOvr>
  <p:extLst>
    <p:ext uri="{DCECCB84-F9BA-43D5-87BE-67443E8EF086}">
      <p15:sldGuideLst xmlns:p15="http://schemas.microsoft.com/office/powerpoint/2012/main">
        <p15:guide id="1" pos="3084">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ntertitle with title and text">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2F3D9F3-C1CA-4854-A8A2-A0BF8852262D}"/>
              </a:ext>
            </a:extLst>
          </p:cNvPr>
          <p:cNvGraphicFramePr>
            <a:graphicFrameLocks noChangeAspect="1"/>
          </p:cNvGraphicFramePr>
          <p:nvPr userDrawn="1">
            <p:custDataLst>
              <p:tags r:id="rId1"/>
            </p:custDataLst>
            <p:extLst>
              <p:ext uri="{D42A27DB-BD31-4B8C-83A1-F6EECF244321}">
                <p14:modId xmlns:p14="http://schemas.microsoft.com/office/powerpoint/2010/main" val="286430607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9" name="Objekt 8" hidden="1">
                        <a:extLst>
                          <a:ext uri="{FF2B5EF4-FFF2-40B4-BE49-F238E27FC236}">
                            <a16:creationId xmlns:a16="http://schemas.microsoft.com/office/drawing/2014/main" id="{02F3D9F3-C1CA-4854-A8A2-A0BF8852262D}"/>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28422082-618B-41C3-B58C-B89EEDCFC63D}"/>
              </a:ext>
            </a:extLst>
          </p:cNvPr>
          <p:cNvSpPr/>
          <p:nvPr userDrawn="1"/>
        </p:nvSpPr>
        <p:spPr bwMode="gray">
          <a:xfrm>
            <a:off x="1" y="6139452"/>
            <a:ext cx="6524625" cy="328965"/>
          </a:xfrm>
          <a:prstGeom prst="rect">
            <a:avLst/>
          </a:prstGeom>
          <a:solidFill>
            <a:schemeClr val="bg1"/>
          </a:solidFill>
          <a:ln w="9525" algn="ctr">
            <a:noFill/>
            <a:miter lim="800000"/>
            <a:headEnd/>
            <a:tailEnd/>
          </a:ln>
          <a:effectLst/>
        </p:spPr>
        <p:txBody>
          <a:bodyPr lIns="192000" tIns="48000" rIns="192000" bIns="48000" rtlCol="0" anchor="ctr"/>
          <a:lstStyle/>
          <a:p>
            <a:pPr algn="ctr"/>
            <a:endParaRPr lang="en-US" sz="1467" b="1" kern="0" dirty="0">
              <a:solidFill>
                <a:srgbClr val="FFFFFF"/>
              </a:solidFill>
            </a:endParaRPr>
          </a:p>
        </p:txBody>
      </p:sp>
      <p:sp>
        <p:nvSpPr>
          <p:cNvPr id="3" name="Inhaltsplatzhalter 2"/>
          <p:cNvSpPr>
            <a:spLocks noGrp="1"/>
          </p:cNvSpPr>
          <p:nvPr>
            <p:ph idx="1" hasCustomPrompt="1"/>
          </p:nvPr>
        </p:nvSpPr>
        <p:spPr bwMode="gray">
          <a:xfrm>
            <a:off x="6527800" y="1460501"/>
            <a:ext cx="4896200" cy="4273551"/>
          </a:xfrm>
          <a:noFill/>
          <a:ln>
            <a:noFill/>
          </a:ln>
        </p:spPr>
        <p:txBody>
          <a:bodyPr lIns="0" tIns="0" rIns="0" bIns="0" anchor="t" anchorCtr="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a:p>
            <a:pPr lvl="4"/>
            <a:endParaRPr lang="en-US" noProof="0" dirty="0"/>
          </a:p>
        </p:txBody>
      </p:sp>
      <p:sp>
        <p:nvSpPr>
          <p:cNvPr id="6" name="Foliennummernplatzhalter 5"/>
          <p:cNvSpPr>
            <a:spLocks noGrp="1"/>
          </p:cNvSpPr>
          <p:nvPr>
            <p:ph type="sldNum" sz="quarter" idx="12"/>
          </p:nvPr>
        </p:nvSpPr>
        <p:spPr bwMode="gray"/>
        <p:txBody>
          <a:bodyPr/>
          <a:lstStyle/>
          <a:p>
            <a:fld id="{2AA1E7D3-1333-45EE-ABB9-51527D316BA3}" type="slidenum">
              <a:rPr lang="en-US" noProof="0" smtClean="0"/>
              <a:pPr/>
              <a:t>‹#›</a:t>
            </a:fld>
            <a:endParaRPr lang="en-US" noProof="0" dirty="0"/>
          </a:p>
        </p:txBody>
      </p:sp>
      <p:sp>
        <p:nvSpPr>
          <p:cNvPr id="10" name="Bildplatzhalter 8">
            <a:extLst>
              <a:ext uri="{FF2B5EF4-FFF2-40B4-BE49-F238E27FC236}">
                <a16:creationId xmlns:a16="http://schemas.microsoft.com/office/drawing/2014/main" id="{BE5F104A-2593-4278-92E2-7BA8E151BDF7}"/>
              </a:ext>
            </a:extLst>
          </p:cNvPr>
          <p:cNvSpPr>
            <a:spLocks noGrp="1"/>
          </p:cNvSpPr>
          <p:nvPr>
            <p:ph type="pic" sz="quarter" idx="16" hasCustomPrompt="1"/>
          </p:nvPr>
        </p:nvSpPr>
        <p:spPr>
          <a:xfrm>
            <a:off x="0" y="0"/>
            <a:ext cx="6215587" cy="6858000"/>
          </a:xfrm>
          <a:solidFill>
            <a:srgbClr val="C7D6F1"/>
          </a:solidFill>
        </p:spPr>
        <p:txBody>
          <a:bodyPr/>
          <a:lstStyle>
            <a:lvl1pPr marL="0" indent="0">
              <a:spcBef>
                <a:spcPts val="0"/>
              </a:spcBef>
              <a:buNone/>
              <a:defRPr/>
            </a:lvl1pPr>
          </a:lstStyle>
          <a:p>
            <a:r>
              <a:rPr lang="en-US" noProof="0" dirty="0"/>
              <a:t>Drag image or video to the spacer</a:t>
            </a:r>
            <a:br>
              <a:rPr lang="en-US" noProof="0" dirty="0"/>
            </a:br>
            <a:r>
              <a:rPr lang="en-US" noProof="0" dirty="0"/>
              <a:t>or add by clicking on the corresponding icon</a:t>
            </a:r>
          </a:p>
        </p:txBody>
      </p:sp>
      <p:sp>
        <p:nvSpPr>
          <p:cNvPr id="4" name="Titel 3">
            <a:extLst>
              <a:ext uri="{FF2B5EF4-FFF2-40B4-BE49-F238E27FC236}">
                <a16:creationId xmlns:a16="http://schemas.microsoft.com/office/drawing/2014/main" id="{7CFB2EEB-2480-4C61-BCCF-71703FAFFAFB}"/>
              </a:ext>
            </a:extLst>
          </p:cNvPr>
          <p:cNvSpPr>
            <a:spLocks noGrp="1"/>
          </p:cNvSpPr>
          <p:nvPr>
            <p:ph type="title" hasCustomPrompt="1"/>
          </p:nvPr>
        </p:nvSpPr>
        <p:spPr>
          <a:xfrm>
            <a:off x="6524626" y="333200"/>
            <a:ext cx="4323375" cy="864000"/>
          </a:xfrm>
        </p:spPr>
        <p:txBody>
          <a:bodyPr vert="horz"/>
          <a:lstStyle/>
          <a:p>
            <a:r>
              <a:rPr lang="en-US" dirty="0"/>
              <a:t>Click to </a:t>
            </a:r>
            <a:r>
              <a:rPr lang="en-US"/>
              <a:t>add title</a:t>
            </a:r>
            <a:endParaRPr lang="en-US" dirty="0"/>
          </a:p>
        </p:txBody>
      </p:sp>
    </p:spTree>
    <p:extLst>
      <p:ext uri="{BB962C8B-B14F-4D97-AF65-F5344CB8AC3E}">
        <p14:creationId xmlns:p14="http://schemas.microsoft.com/office/powerpoint/2010/main" val="784135989"/>
      </p:ext>
    </p:extLst>
  </p:cSld>
  <p:clrMapOvr>
    <a:masterClrMapping/>
  </p:clrMapOvr>
  <p:extLst>
    <p:ext uri="{DCECCB84-F9BA-43D5-87BE-67443E8EF086}">
      <p15:sldGuideLst xmlns:p15="http://schemas.microsoft.com/office/powerpoint/2012/main">
        <p15:guide id="1" pos="3084">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icture left and text">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2F3D9F3-C1CA-4854-A8A2-A0BF8852262D}"/>
              </a:ext>
            </a:extLst>
          </p:cNvPr>
          <p:cNvGraphicFramePr>
            <a:graphicFrameLocks noChangeAspect="1"/>
          </p:cNvGraphicFramePr>
          <p:nvPr userDrawn="1">
            <p:custDataLst>
              <p:tags r:id="rId1"/>
            </p:custDataLst>
            <p:extLst>
              <p:ext uri="{D42A27DB-BD31-4B8C-83A1-F6EECF244321}">
                <p14:modId xmlns:p14="http://schemas.microsoft.com/office/powerpoint/2010/main" val="263649271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9" name="Objekt 8" hidden="1">
                        <a:extLst>
                          <a:ext uri="{FF2B5EF4-FFF2-40B4-BE49-F238E27FC236}">
                            <a16:creationId xmlns:a16="http://schemas.microsoft.com/office/drawing/2014/main" id="{02F3D9F3-C1CA-4854-A8A2-A0BF8852262D}"/>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10" name="Bildplatzhalter 8">
            <a:extLst>
              <a:ext uri="{FF2B5EF4-FFF2-40B4-BE49-F238E27FC236}">
                <a16:creationId xmlns:a16="http://schemas.microsoft.com/office/drawing/2014/main" id="{5282ED50-F4C0-4F8A-88CA-86C42E0B9B91}"/>
              </a:ext>
            </a:extLst>
          </p:cNvPr>
          <p:cNvSpPr>
            <a:spLocks noGrp="1"/>
          </p:cNvSpPr>
          <p:nvPr>
            <p:ph type="pic" sz="quarter" idx="16" hasCustomPrompt="1"/>
          </p:nvPr>
        </p:nvSpPr>
        <p:spPr>
          <a:xfrm>
            <a:off x="0" y="1460500"/>
            <a:ext cx="3683000" cy="4273552"/>
          </a:xfrm>
          <a:solidFill>
            <a:srgbClr val="C7D6F1"/>
          </a:solidFill>
        </p:spPr>
        <p:txBody>
          <a:bodyPr/>
          <a:lstStyle>
            <a:lvl1pPr marL="0" indent="0">
              <a:spcBef>
                <a:spcPts val="0"/>
              </a:spcBef>
              <a:buNone/>
              <a:defRPr/>
            </a:lvl1pPr>
          </a:lstStyle>
          <a:p>
            <a:r>
              <a:rPr lang="en-US" noProof="0" dirty="0"/>
              <a:t>Drag image or video to the spacer</a:t>
            </a:r>
            <a:br>
              <a:rPr lang="en-US" noProof="0" dirty="0"/>
            </a:br>
            <a:r>
              <a:rPr lang="en-US" noProof="0" dirty="0"/>
              <a:t>or add by clicking on the corresponding icon</a:t>
            </a:r>
          </a:p>
        </p:txBody>
      </p:sp>
      <p:sp>
        <p:nvSpPr>
          <p:cNvPr id="3" name="Inhaltsplatzhalter 2"/>
          <p:cNvSpPr>
            <a:spLocks noGrp="1"/>
          </p:cNvSpPr>
          <p:nvPr>
            <p:ph idx="1" hasCustomPrompt="1"/>
          </p:nvPr>
        </p:nvSpPr>
        <p:spPr bwMode="gray">
          <a:xfrm>
            <a:off x="3934885" y="1460501"/>
            <a:ext cx="7489116" cy="4273551"/>
          </a:xfrm>
          <a:noFill/>
          <a:ln>
            <a:noFill/>
          </a:ln>
        </p:spPr>
        <p:txBody>
          <a:bodyPr lIns="0" tIns="0" rIns="0" bIns="0" anchor="t" anchorCtr="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a:p>
            <a:pPr lvl="4"/>
            <a:endParaRPr lang="en-US" noProof="0" dirty="0"/>
          </a:p>
        </p:txBody>
      </p:sp>
      <p:sp>
        <p:nvSpPr>
          <p:cNvPr id="6" name="Foliennummernplatzhalter 5"/>
          <p:cNvSpPr>
            <a:spLocks noGrp="1"/>
          </p:cNvSpPr>
          <p:nvPr>
            <p:ph type="sldNum" sz="quarter" idx="12"/>
          </p:nvPr>
        </p:nvSpPr>
        <p:spPr bwMode="gray"/>
        <p:txBody>
          <a:bodyPr/>
          <a:lstStyle/>
          <a:p>
            <a:fld id="{2AA1E7D3-1333-45EE-ABB9-51527D316BA3}" type="slidenum">
              <a:rPr lang="en-US" noProof="0" smtClean="0"/>
              <a:pPr/>
              <a:t>‹#›</a:t>
            </a:fld>
            <a:endParaRPr lang="en-US" noProof="0" dirty="0"/>
          </a:p>
        </p:txBody>
      </p:sp>
      <p:sp>
        <p:nvSpPr>
          <p:cNvPr id="4" name="Titel 3">
            <a:extLst>
              <a:ext uri="{FF2B5EF4-FFF2-40B4-BE49-F238E27FC236}">
                <a16:creationId xmlns:a16="http://schemas.microsoft.com/office/drawing/2014/main" id="{D6DFD17D-1332-466A-B9E4-58194A7F3FAC}"/>
              </a:ext>
            </a:extLst>
          </p:cNvPr>
          <p:cNvSpPr>
            <a:spLocks noGrp="1"/>
          </p:cNvSpPr>
          <p:nvPr>
            <p:ph type="title" hasCustomPrompt="1"/>
          </p:nvPr>
        </p:nvSpPr>
        <p:spPr/>
        <p:txBody>
          <a:bodyPr vert="horz"/>
          <a:lstStyle/>
          <a:p>
            <a:r>
              <a:rPr lang="en-US" dirty="0"/>
              <a:t>Click to add title</a:t>
            </a:r>
          </a:p>
        </p:txBody>
      </p:sp>
      <p:sp>
        <p:nvSpPr>
          <p:cNvPr id="14" name="Datumsplatzhalter 3">
            <a:extLst>
              <a:ext uri="{FF2B5EF4-FFF2-40B4-BE49-F238E27FC236}">
                <a16:creationId xmlns:a16="http://schemas.microsoft.com/office/drawing/2014/main" id="{A9BBF564-94B2-49DD-95D1-E0111E433EA0}"/>
              </a:ext>
            </a:extLst>
          </p:cNvPr>
          <p:cNvSpPr>
            <a:spLocks noGrp="1"/>
          </p:cNvSpPr>
          <p:nvPr>
            <p:ph type="dt" sz="half" idx="10"/>
          </p:nvPr>
        </p:nvSpPr>
        <p:spPr bwMode="gray">
          <a:xfrm>
            <a:off x="384000" y="6497381"/>
            <a:ext cx="1200000" cy="184665"/>
          </a:xfrm>
        </p:spPr>
        <p:txBody>
          <a:bodyPr/>
          <a:lstStyle/>
          <a:p>
            <a:fld id="{C7DC7E1F-B3E2-48C5-86A7-4F56A3CD80A0}" type="datetime1">
              <a:rPr lang="en-US" noProof="0" smtClean="0"/>
              <a:t>6/19/2025</a:t>
            </a:fld>
            <a:endParaRPr lang="en-US" noProof="0" dirty="0"/>
          </a:p>
        </p:txBody>
      </p:sp>
      <p:sp>
        <p:nvSpPr>
          <p:cNvPr id="15" name="Fußzeilenplatzhalter 4">
            <a:extLst>
              <a:ext uri="{FF2B5EF4-FFF2-40B4-BE49-F238E27FC236}">
                <a16:creationId xmlns:a16="http://schemas.microsoft.com/office/drawing/2014/main" id="{90E98140-DD72-448F-AB69-1CECF178E2ED}"/>
              </a:ext>
            </a:extLst>
          </p:cNvPr>
          <p:cNvSpPr>
            <a:spLocks noGrp="1"/>
          </p:cNvSpPr>
          <p:nvPr>
            <p:ph type="ftr" sz="quarter" idx="11"/>
          </p:nvPr>
        </p:nvSpPr>
        <p:spPr bwMode="gray">
          <a:xfrm>
            <a:off x="1788160" y="6497381"/>
            <a:ext cx="3860800" cy="184665"/>
          </a:xfrm>
        </p:spPr>
        <p:txBody>
          <a:bodyPr/>
          <a:lstStyle/>
          <a:p>
            <a:r>
              <a:rPr lang="en-US" noProof="0" dirty="0"/>
              <a:t>© Forum Network Technology/Network Operation in the VDE</a:t>
            </a:r>
          </a:p>
        </p:txBody>
      </p:sp>
    </p:spTree>
    <p:extLst>
      <p:ext uri="{BB962C8B-B14F-4D97-AF65-F5344CB8AC3E}">
        <p14:creationId xmlns:p14="http://schemas.microsoft.com/office/powerpoint/2010/main" val="134326509"/>
      </p:ext>
    </p:extLst>
  </p:cSld>
  <p:clrMapOvr>
    <a:masterClrMapping/>
  </p:clrMapOvr>
  <p:extLst>
    <p:ext uri="{DCECCB84-F9BA-43D5-87BE-67443E8EF086}">
      <p15:sldGuideLst xmlns:p15="http://schemas.microsoft.com/office/powerpoint/2012/main">
        <p15:guide id="1" pos="1859">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keyfacts">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09FBDFA-1D64-41AF-9D33-84D025D627CF}"/>
              </a:ext>
            </a:extLst>
          </p:cNvPr>
          <p:cNvGraphicFramePr>
            <a:graphicFrameLocks noChangeAspect="1"/>
          </p:cNvGraphicFramePr>
          <p:nvPr userDrawn="1">
            <p:custDataLst>
              <p:tags r:id="rId1"/>
            </p:custDataLst>
            <p:extLst>
              <p:ext uri="{D42A27DB-BD31-4B8C-83A1-F6EECF244321}">
                <p14:modId xmlns:p14="http://schemas.microsoft.com/office/powerpoint/2010/main" val="4086418043"/>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8" name="Objekt 7" hidden="1">
                        <a:extLst>
                          <a:ext uri="{FF2B5EF4-FFF2-40B4-BE49-F238E27FC236}">
                            <a16:creationId xmlns:a16="http://schemas.microsoft.com/office/drawing/2014/main" id="{009FBDFA-1D64-41AF-9D33-84D025D627CF}"/>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13" name="Freihandform: Form 12">
            <a:extLst>
              <a:ext uri="{FF2B5EF4-FFF2-40B4-BE49-F238E27FC236}">
                <a16:creationId xmlns:a16="http://schemas.microsoft.com/office/drawing/2014/main" id="{C7F29D81-1B29-4766-BC6E-585DA4FDF3D3}"/>
              </a:ext>
            </a:extLst>
          </p:cNvPr>
          <p:cNvSpPr>
            <a:spLocks/>
          </p:cNvSpPr>
          <p:nvPr userDrawn="1"/>
        </p:nvSpPr>
        <p:spPr bwMode="auto">
          <a:xfrm>
            <a:off x="3303522" y="2"/>
            <a:ext cx="8888479" cy="5790817"/>
          </a:xfrm>
          <a:custGeom>
            <a:avLst/>
            <a:gdLst>
              <a:gd name="connsiteX0" fmla="*/ 2189226 w 6666359"/>
              <a:gd name="connsiteY0" fmla="*/ 4338702 h 4343113"/>
              <a:gd name="connsiteX1" fmla="*/ 2192789 w 6666359"/>
              <a:gd name="connsiteY1" fmla="*/ 4339889 h 4343113"/>
              <a:gd name="connsiteX2" fmla="*/ 2189565 w 6666359"/>
              <a:gd name="connsiteY2" fmla="*/ 4339889 h 4343113"/>
              <a:gd name="connsiteX3" fmla="*/ 2205688 w 6666359"/>
              <a:gd name="connsiteY3" fmla="*/ 4336664 h 4343113"/>
              <a:gd name="connsiteX4" fmla="*/ 2208913 w 6666359"/>
              <a:gd name="connsiteY4" fmla="*/ 4343113 h 4343113"/>
              <a:gd name="connsiteX5" fmla="*/ 2205688 w 6666359"/>
              <a:gd name="connsiteY5" fmla="*/ 4343113 h 4343113"/>
              <a:gd name="connsiteX6" fmla="*/ 2202464 w 6666359"/>
              <a:gd name="connsiteY6" fmla="*/ 4343113 h 4343113"/>
              <a:gd name="connsiteX7" fmla="*/ 2147644 w 6666359"/>
              <a:gd name="connsiteY7" fmla="*/ 4314092 h 4343113"/>
              <a:gd name="connsiteX8" fmla="*/ 2163767 w 6666359"/>
              <a:gd name="connsiteY8" fmla="*/ 4314092 h 4343113"/>
              <a:gd name="connsiteX9" fmla="*/ 2166992 w 6666359"/>
              <a:gd name="connsiteY9" fmla="*/ 4314092 h 4343113"/>
              <a:gd name="connsiteX10" fmla="*/ 2160543 w 6666359"/>
              <a:gd name="connsiteY10" fmla="*/ 4316241 h 4343113"/>
              <a:gd name="connsiteX11" fmla="*/ 2173441 w 6666359"/>
              <a:gd name="connsiteY11" fmla="*/ 4314092 h 4343113"/>
              <a:gd name="connsiteX12" fmla="*/ 2183115 w 6666359"/>
              <a:gd name="connsiteY12" fmla="*/ 4317316 h 4343113"/>
              <a:gd name="connsiteX13" fmla="*/ 2189226 w 6666359"/>
              <a:gd name="connsiteY13" fmla="*/ 4338702 h 4343113"/>
              <a:gd name="connsiteX14" fmla="*/ 2183115 w 6666359"/>
              <a:gd name="connsiteY14" fmla="*/ 4336664 h 4343113"/>
              <a:gd name="connsiteX15" fmla="*/ 2173441 w 6666359"/>
              <a:gd name="connsiteY15" fmla="*/ 4330215 h 4343113"/>
              <a:gd name="connsiteX16" fmla="*/ 2166992 w 6666359"/>
              <a:gd name="connsiteY16" fmla="*/ 4330215 h 4343113"/>
              <a:gd name="connsiteX17" fmla="*/ 2163767 w 6666359"/>
              <a:gd name="connsiteY17" fmla="*/ 4333439 h 4343113"/>
              <a:gd name="connsiteX18" fmla="*/ 2157318 w 6666359"/>
              <a:gd name="connsiteY18" fmla="*/ 4326990 h 4343113"/>
              <a:gd name="connsiteX19" fmla="*/ 2147644 w 6666359"/>
              <a:gd name="connsiteY19" fmla="*/ 4323765 h 4343113"/>
              <a:gd name="connsiteX20" fmla="*/ 2147644 w 6666359"/>
              <a:gd name="connsiteY20" fmla="*/ 4317316 h 4343113"/>
              <a:gd name="connsiteX21" fmla="*/ 2154094 w 6666359"/>
              <a:gd name="connsiteY21" fmla="*/ 4317316 h 4343113"/>
              <a:gd name="connsiteX22" fmla="*/ 2156243 w 6666359"/>
              <a:gd name="connsiteY22" fmla="*/ 4316957 h 4343113"/>
              <a:gd name="connsiteX23" fmla="*/ 2199239 w 6666359"/>
              <a:gd name="connsiteY23" fmla="*/ 4310866 h 4343113"/>
              <a:gd name="connsiteX24" fmla="*/ 2212138 w 6666359"/>
              <a:gd name="connsiteY24" fmla="*/ 4320541 h 4343113"/>
              <a:gd name="connsiteX25" fmla="*/ 2208913 w 6666359"/>
              <a:gd name="connsiteY25" fmla="*/ 4326990 h 4343113"/>
              <a:gd name="connsiteX26" fmla="*/ 2199239 w 6666359"/>
              <a:gd name="connsiteY26" fmla="*/ 4326990 h 4343113"/>
              <a:gd name="connsiteX27" fmla="*/ 2189565 w 6666359"/>
              <a:gd name="connsiteY27" fmla="*/ 4323765 h 4343113"/>
              <a:gd name="connsiteX28" fmla="*/ 2183115 w 6666359"/>
              <a:gd name="connsiteY28" fmla="*/ 4314092 h 4343113"/>
              <a:gd name="connsiteX29" fmla="*/ 2141194 w 6666359"/>
              <a:gd name="connsiteY29" fmla="*/ 4310866 h 4343113"/>
              <a:gd name="connsiteX30" fmla="*/ 2141194 w 6666359"/>
              <a:gd name="connsiteY30" fmla="*/ 4320541 h 4343113"/>
              <a:gd name="connsiteX31" fmla="*/ 2137970 w 6666359"/>
              <a:gd name="connsiteY31" fmla="*/ 4323765 h 4343113"/>
              <a:gd name="connsiteX32" fmla="*/ 2128296 w 6666359"/>
              <a:gd name="connsiteY32" fmla="*/ 4317316 h 4343113"/>
              <a:gd name="connsiteX33" fmla="*/ 2125071 w 6666359"/>
              <a:gd name="connsiteY33" fmla="*/ 4314092 h 4343113"/>
              <a:gd name="connsiteX34" fmla="*/ 2128296 w 6666359"/>
              <a:gd name="connsiteY34" fmla="*/ 4314092 h 4343113"/>
              <a:gd name="connsiteX35" fmla="*/ 2118621 w 6666359"/>
              <a:gd name="connsiteY35" fmla="*/ 4307642 h 4343113"/>
              <a:gd name="connsiteX36" fmla="*/ 2125071 w 6666359"/>
              <a:gd name="connsiteY36" fmla="*/ 4310866 h 4343113"/>
              <a:gd name="connsiteX37" fmla="*/ 2115397 w 6666359"/>
              <a:gd name="connsiteY37" fmla="*/ 4314092 h 4343113"/>
              <a:gd name="connsiteX38" fmla="*/ 2273408 w 6666359"/>
              <a:gd name="connsiteY38" fmla="*/ 4304418 h 4343113"/>
              <a:gd name="connsiteX39" fmla="*/ 2279857 w 6666359"/>
              <a:gd name="connsiteY39" fmla="*/ 4304418 h 4343113"/>
              <a:gd name="connsiteX40" fmla="*/ 2283082 w 6666359"/>
              <a:gd name="connsiteY40" fmla="*/ 4307642 h 4343113"/>
              <a:gd name="connsiteX41" fmla="*/ 2270184 w 6666359"/>
              <a:gd name="connsiteY41" fmla="*/ 4310866 h 4343113"/>
              <a:gd name="connsiteX42" fmla="*/ 2263734 w 6666359"/>
              <a:gd name="connsiteY42" fmla="*/ 4307642 h 4343113"/>
              <a:gd name="connsiteX43" fmla="*/ 2853852 w 6666359"/>
              <a:gd name="connsiteY43" fmla="*/ 4278619 h 4343113"/>
              <a:gd name="connsiteX44" fmla="*/ 2863526 w 6666359"/>
              <a:gd name="connsiteY44" fmla="*/ 4278619 h 4343113"/>
              <a:gd name="connsiteX45" fmla="*/ 2876426 w 6666359"/>
              <a:gd name="connsiteY45" fmla="*/ 4281845 h 4343113"/>
              <a:gd name="connsiteX46" fmla="*/ 2895773 w 6666359"/>
              <a:gd name="connsiteY46" fmla="*/ 4307642 h 4343113"/>
              <a:gd name="connsiteX47" fmla="*/ 2892549 w 6666359"/>
              <a:gd name="connsiteY47" fmla="*/ 4310866 h 4343113"/>
              <a:gd name="connsiteX48" fmla="*/ 2882875 w 6666359"/>
              <a:gd name="connsiteY48" fmla="*/ 4297968 h 4343113"/>
              <a:gd name="connsiteX49" fmla="*/ 2866752 w 6666359"/>
              <a:gd name="connsiteY49" fmla="*/ 4281845 h 4343113"/>
              <a:gd name="connsiteX50" fmla="*/ 2860302 w 6666359"/>
              <a:gd name="connsiteY50" fmla="*/ 4281845 h 4343113"/>
              <a:gd name="connsiteX51" fmla="*/ 2112173 w 6666359"/>
              <a:gd name="connsiteY51" fmla="*/ 4275395 h 4343113"/>
              <a:gd name="connsiteX52" fmla="*/ 2118621 w 6666359"/>
              <a:gd name="connsiteY52" fmla="*/ 4278619 h 4343113"/>
              <a:gd name="connsiteX53" fmla="*/ 2125071 w 6666359"/>
              <a:gd name="connsiteY53" fmla="*/ 4288294 h 4343113"/>
              <a:gd name="connsiteX54" fmla="*/ 2115397 w 6666359"/>
              <a:gd name="connsiteY54" fmla="*/ 4288294 h 4343113"/>
              <a:gd name="connsiteX55" fmla="*/ 2112173 w 6666359"/>
              <a:gd name="connsiteY55" fmla="*/ 4285069 h 4343113"/>
              <a:gd name="connsiteX56" fmla="*/ 2102499 w 6666359"/>
              <a:gd name="connsiteY56" fmla="*/ 4272171 h 4343113"/>
              <a:gd name="connsiteX57" fmla="*/ 2108947 w 6666359"/>
              <a:gd name="connsiteY57" fmla="*/ 4272171 h 4343113"/>
              <a:gd name="connsiteX58" fmla="*/ 2112173 w 6666359"/>
              <a:gd name="connsiteY58" fmla="*/ 4275395 h 4343113"/>
              <a:gd name="connsiteX59" fmla="*/ 2105723 w 6666359"/>
              <a:gd name="connsiteY59" fmla="*/ 4288294 h 4343113"/>
              <a:gd name="connsiteX60" fmla="*/ 2099273 w 6666359"/>
              <a:gd name="connsiteY60" fmla="*/ 4281845 h 4343113"/>
              <a:gd name="connsiteX61" fmla="*/ 2099273 w 6666359"/>
              <a:gd name="connsiteY61" fmla="*/ 4275395 h 4343113"/>
              <a:gd name="connsiteX62" fmla="*/ 2137970 w 6666359"/>
              <a:gd name="connsiteY62" fmla="*/ 4262496 h 4343113"/>
              <a:gd name="connsiteX63" fmla="*/ 2137970 w 6666359"/>
              <a:gd name="connsiteY63" fmla="*/ 4272171 h 4343113"/>
              <a:gd name="connsiteX64" fmla="*/ 2141194 w 6666359"/>
              <a:gd name="connsiteY64" fmla="*/ 4278619 h 4343113"/>
              <a:gd name="connsiteX65" fmla="*/ 2134745 w 6666359"/>
              <a:gd name="connsiteY65" fmla="*/ 4285069 h 4343113"/>
              <a:gd name="connsiteX66" fmla="*/ 2131520 w 6666359"/>
              <a:gd name="connsiteY66" fmla="*/ 4281845 h 4343113"/>
              <a:gd name="connsiteX67" fmla="*/ 2128296 w 6666359"/>
              <a:gd name="connsiteY67" fmla="*/ 4275395 h 4343113"/>
              <a:gd name="connsiteX68" fmla="*/ 2131520 w 6666359"/>
              <a:gd name="connsiteY68" fmla="*/ 4268945 h 4343113"/>
              <a:gd name="connsiteX69" fmla="*/ 2083150 w 6666359"/>
              <a:gd name="connsiteY69" fmla="*/ 4256047 h 4343113"/>
              <a:gd name="connsiteX70" fmla="*/ 2099273 w 6666359"/>
              <a:gd name="connsiteY70" fmla="*/ 4268945 h 4343113"/>
              <a:gd name="connsiteX71" fmla="*/ 2092824 w 6666359"/>
              <a:gd name="connsiteY71" fmla="*/ 4278619 h 4343113"/>
              <a:gd name="connsiteX72" fmla="*/ 2086375 w 6666359"/>
              <a:gd name="connsiteY72" fmla="*/ 4281845 h 4343113"/>
              <a:gd name="connsiteX73" fmla="*/ 2083150 w 6666359"/>
              <a:gd name="connsiteY73" fmla="*/ 4278619 h 4343113"/>
              <a:gd name="connsiteX74" fmla="*/ 2089600 w 6666359"/>
              <a:gd name="connsiteY74" fmla="*/ 4272171 h 4343113"/>
              <a:gd name="connsiteX75" fmla="*/ 2079926 w 6666359"/>
              <a:gd name="connsiteY75" fmla="*/ 4272171 h 4343113"/>
              <a:gd name="connsiteX76" fmla="*/ 2079926 w 6666359"/>
              <a:gd name="connsiteY76" fmla="*/ 4278619 h 4343113"/>
              <a:gd name="connsiteX77" fmla="*/ 2070252 w 6666359"/>
              <a:gd name="connsiteY77" fmla="*/ 4262496 h 4343113"/>
              <a:gd name="connsiteX78" fmla="*/ 2044453 w 6666359"/>
              <a:gd name="connsiteY78" fmla="*/ 4230250 h 4343113"/>
              <a:gd name="connsiteX79" fmla="*/ 2057353 w 6666359"/>
              <a:gd name="connsiteY79" fmla="*/ 4239924 h 4343113"/>
              <a:gd name="connsiteX80" fmla="*/ 2067026 w 6666359"/>
              <a:gd name="connsiteY80" fmla="*/ 4243148 h 4343113"/>
              <a:gd name="connsiteX81" fmla="*/ 2073476 w 6666359"/>
              <a:gd name="connsiteY81" fmla="*/ 4246373 h 4343113"/>
              <a:gd name="connsiteX82" fmla="*/ 2079926 w 6666359"/>
              <a:gd name="connsiteY82" fmla="*/ 4252822 h 4343113"/>
              <a:gd name="connsiteX83" fmla="*/ 2070252 w 6666359"/>
              <a:gd name="connsiteY83" fmla="*/ 4252822 h 4343113"/>
              <a:gd name="connsiteX84" fmla="*/ 2054128 w 6666359"/>
              <a:gd name="connsiteY84" fmla="*/ 4243148 h 4343113"/>
              <a:gd name="connsiteX85" fmla="*/ 2047679 w 6666359"/>
              <a:gd name="connsiteY85" fmla="*/ 4236698 h 4343113"/>
              <a:gd name="connsiteX86" fmla="*/ 2157318 w 6666359"/>
              <a:gd name="connsiteY86" fmla="*/ 4227024 h 4343113"/>
              <a:gd name="connsiteX87" fmla="*/ 2176666 w 6666359"/>
              <a:gd name="connsiteY87" fmla="*/ 4227024 h 4343113"/>
              <a:gd name="connsiteX88" fmla="*/ 2176666 w 6666359"/>
              <a:gd name="connsiteY88" fmla="*/ 4247547 h 4343113"/>
              <a:gd name="connsiteX89" fmla="*/ 2176667 w 6666359"/>
              <a:gd name="connsiteY89" fmla="*/ 4247548 h 4343113"/>
              <a:gd name="connsiteX90" fmla="*/ 2176667 w 6666359"/>
              <a:gd name="connsiteY90" fmla="*/ 4227024 h 4343113"/>
              <a:gd name="connsiteX91" fmla="*/ 2179892 w 6666359"/>
              <a:gd name="connsiteY91" fmla="*/ 4236698 h 4343113"/>
              <a:gd name="connsiteX92" fmla="*/ 2179892 w 6666359"/>
              <a:gd name="connsiteY92" fmla="*/ 4246373 h 4343113"/>
              <a:gd name="connsiteX93" fmla="*/ 2183116 w 6666359"/>
              <a:gd name="connsiteY93" fmla="*/ 4256047 h 4343113"/>
              <a:gd name="connsiteX94" fmla="*/ 2196016 w 6666359"/>
              <a:gd name="connsiteY94" fmla="*/ 4268945 h 4343113"/>
              <a:gd name="connsiteX95" fmla="*/ 2202465 w 6666359"/>
              <a:gd name="connsiteY95" fmla="*/ 4275395 h 4343113"/>
              <a:gd name="connsiteX96" fmla="*/ 2208914 w 6666359"/>
              <a:gd name="connsiteY96" fmla="*/ 4281845 h 4343113"/>
              <a:gd name="connsiteX97" fmla="*/ 2218589 w 6666359"/>
              <a:gd name="connsiteY97" fmla="*/ 4288294 h 4343113"/>
              <a:gd name="connsiteX98" fmla="*/ 2225037 w 6666359"/>
              <a:gd name="connsiteY98" fmla="*/ 4294743 h 4343113"/>
              <a:gd name="connsiteX99" fmla="*/ 2231487 w 6666359"/>
              <a:gd name="connsiteY99" fmla="*/ 4297968 h 4343113"/>
              <a:gd name="connsiteX100" fmla="*/ 2244386 w 6666359"/>
              <a:gd name="connsiteY100" fmla="*/ 4301192 h 4343113"/>
              <a:gd name="connsiteX101" fmla="*/ 2254060 w 6666359"/>
              <a:gd name="connsiteY101" fmla="*/ 4301192 h 4343113"/>
              <a:gd name="connsiteX102" fmla="*/ 2250835 w 6666359"/>
              <a:gd name="connsiteY102" fmla="*/ 4314092 h 4343113"/>
              <a:gd name="connsiteX103" fmla="*/ 2237937 w 6666359"/>
              <a:gd name="connsiteY103" fmla="*/ 4314092 h 4343113"/>
              <a:gd name="connsiteX104" fmla="*/ 2218589 w 6666359"/>
              <a:gd name="connsiteY104" fmla="*/ 4314092 h 4343113"/>
              <a:gd name="connsiteX105" fmla="*/ 2202465 w 6666359"/>
              <a:gd name="connsiteY105" fmla="*/ 4310866 h 4343113"/>
              <a:gd name="connsiteX106" fmla="*/ 2176667 w 6666359"/>
              <a:gd name="connsiteY106" fmla="*/ 4307642 h 4343113"/>
              <a:gd name="connsiteX107" fmla="*/ 2176667 w 6666359"/>
              <a:gd name="connsiteY107" fmla="*/ 4306835 h 4343113"/>
              <a:gd name="connsiteX108" fmla="*/ 2176666 w 6666359"/>
              <a:gd name="connsiteY108" fmla="*/ 4306832 h 4343113"/>
              <a:gd name="connsiteX109" fmla="*/ 2176666 w 6666359"/>
              <a:gd name="connsiteY109" fmla="*/ 4307642 h 4343113"/>
              <a:gd name="connsiteX110" fmla="*/ 2176666 w 6666359"/>
              <a:gd name="connsiteY110" fmla="*/ 4310866 h 4343113"/>
              <a:gd name="connsiteX111" fmla="*/ 2166992 w 6666359"/>
              <a:gd name="connsiteY111" fmla="*/ 4314092 h 4343113"/>
              <a:gd name="connsiteX112" fmla="*/ 2154094 w 6666359"/>
              <a:gd name="connsiteY112" fmla="*/ 4304418 h 4343113"/>
              <a:gd name="connsiteX113" fmla="*/ 2131520 w 6666359"/>
              <a:gd name="connsiteY113" fmla="*/ 4304418 h 4343113"/>
              <a:gd name="connsiteX114" fmla="*/ 2125071 w 6666359"/>
              <a:gd name="connsiteY114" fmla="*/ 4304418 h 4343113"/>
              <a:gd name="connsiteX115" fmla="*/ 2118621 w 6666359"/>
              <a:gd name="connsiteY115" fmla="*/ 4297968 h 4343113"/>
              <a:gd name="connsiteX116" fmla="*/ 2112173 w 6666359"/>
              <a:gd name="connsiteY116" fmla="*/ 4297968 h 4343113"/>
              <a:gd name="connsiteX117" fmla="*/ 2108947 w 6666359"/>
              <a:gd name="connsiteY117" fmla="*/ 4291518 h 4343113"/>
              <a:gd name="connsiteX118" fmla="*/ 2160543 w 6666359"/>
              <a:gd name="connsiteY118" fmla="*/ 4291518 h 4343113"/>
              <a:gd name="connsiteX119" fmla="*/ 2160543 w 6666359"/>
              <a:gd name="connsiteY119" fmla="*/ 4297968 h 4343113"/>
              <a:gd name="connsiteX120" fmla="*/ 2166992 w 6666359"/>
              <a:gd name="connsiteY120" fmla="*/ 4297968 h 4343113"/>
              <a:gd name="connsiteX121" fmla="*/ 2166992 w 6666359"/>
              <a:gd name="connsiteY121" fmla="*/ 4291518 h 4343113"/>
              <a:gd name="connsiteX122" fmla="*/ 2154094 w 6666359"/>
              <a:gd name="connsiteY122" fmla="*/ 4285069 h 4343113"/>
              <a:gd name="connsiteX123" fmla="*/ 2144420 w 6666359"/>
              <a:gd name="connsiteY123" fmla="*/ 4278619 h 4343113"/>
              <a:gd name="connsiteX124" fmla="*/ 2144420 w 6666359"/>
              <a:gd name="connsiteY124" fmla="*/ 4268945 h 4343113"/>
              <a:gd name="connsiteX125" fmla="*/ 2147644 w 6666359"/>
              <a:gd name="connsiteY125" fmla="*/ 4265721 h 4343113"/>
              <a:gd name="connsiteX126" fmla="*/ 2160543 w 6666359"/>
              <a:gd name="connsiteY126" fmla="*/ 4259271 h 4343113"/>
              <a:gd name="connsiteX127" fmla="*/ 2160543 w 6666359"/>
              <a:gd name="connsiteY127" fmla="*/ 4252822 h 4343113"/>
              <a:gd name="connsiteX128" fmla="*/ 2147644 w 6666359"/>
              <a:gd name="connsiteY128" fmla="*/ 4252822 h 4343113"/>
              <a:gd name="connsiteX129" fmla="*/ 2141194 w 6666359"/>
              <a:gd name="connsiteY129" fmla="*/ 4259271 h 4343113"/>
              <a:gd name="connsiteX130" fmla="*/ 2137970 w 6666359"/>
              <a:gd name="connsiteY130" fmla="*/ 4252822 h 4343113"/>
              <a:gd name="connsiteX131" fmla="*/ 2137970 w 6666359"/>
              <a:gd name="connsiteY131" fmla="*/ 4243148 h 4343113"/>
              <a:gd name="connsiteX132" fmla="*/ 2147644 w 6666359"/>
              <a:gd name="connsiteY132" fmla="*/ 4236698 h 4343113"/>
              <a:gd name="connsiteX133" fmla="*/ 2041229 w 6666359"/>
              <a:gd name="connsiteY133" fmla="*/ 4191553 h 4343113"/>
              <a:gd name="connsiteX134" fmla="*/ 2041229 w 6666359"/>
              <a:gd name="connsiteY134" fmla="*/ 4204451 h 4343113"/>
              <a:gd name="connsiteX135" fmla="*/ 2038005 w 6666359"/>
              <a:gd name="connsiteY135" fmla="*/ 4207677 h 4343113"/>
              <a:gd name="connsiteX136" fmla="*/ 2038005 w 6666359"/>
              <a:gd name="connsiteY136" fmla="*/ 4194777 h 4343113"/>
              <a:gd name="connsiteX137" fmla="*/ 2389497 w 6666359"/>
              <a:gd name="connsiteY137" fmla="*/ 4181879 h 4343113"/>
              <a:gd name="connsiteX138" fmla="*/ 2395946 w 6666359"/>
              <a:gd name="connsiteY138" fmla="*/ 4181879 h 4343113"/>
              <a:gd name="connsiteX139" fmla="*/ 2402396 w 6666359"/>
              <a:gd name="connsiteY139" fmla="*/ 4181879 h 4343113"/>
              <a:gd name="connsiteX140" fmla="*/ 2405620 w 6666359"/>
              <a:gd name="connsiteY140" fmla="*/ 4181879 h 4343113"/>
              <a:gd name="connsiteX141" fmla="*/ 2415294 w 6666359"/>
              <a:gd name="connsiteY141" fmla="*/ 4185103 h 4343113"/>
              <a:gd name="connsiteX142" fmla="*/ 2415294 w 6666359"/>
              <a:gd name="connsiteY142" fmla="*/ 4194777 h 4343113"/>
              <a:gd name="connsiteX143" fmla="*/ 2408845 w 6666359"/>
              <a:gd name="connsiteY143" fmla="*/ 4194777 h 4343113"/>
              <a:gd name="connsiteX144" fmla="*/ 2402396 w 6666359"/>
              <a:gd name="connsiteY144" fmla="*/ 4198003 h 4343113"/>
              <a:gd name="connsiteX145" fmla="*/ 2399171 w 6666359"/>
              <a:gd name="connsiteY145" fmla="*/ 4204451 h 4343113"/>
              <a:gd name="connsiteX146" fmla="*/ 2386272 w 6666359"/>
              <a:gd name="connsiteY146" fmla="*/ 4214126 h 4343113"/>
              <a:gd name="connsiteX147" fmla="*/ 2379823 w 6666359"/>
              <a:gd name="connsiteY147" fmla="*/ 4217350 h 4343113"/>
              <a:gd name="connsiteX148" fmla="*/ 2373373 w 6666359"/>
              <a:gd name="connsiteY148" fmla="*/ 4210901 h 4343113"/>
              <a:gd name="connsiteX149" fmla="*/ 2379823 w 6666359"/>
              <a:gd name="connsiteY149" fmla="*/ 4198003 h 4343113"/>
              <a:gd name="connsiteX150" fmla="*/ 2386272 w 6666359"/>
              <a:gd name="connsiteY150" fmla="*/ 4198003 h 4343113"/>
              <a:gd name="connsiteX151" fmla="*/ 2389497 w 6666359"/>
              <a:gd name="connsiteY151" fmla="*/ 4198003 h 4343113"/>
              <a:gd name="connsiteX152" fmla="*/ 2389497 w 6666359"/>
              <a:gd name="connsiteY152" fmla="*/ 4188328 h 4343113"/>
              <a:gd name="connsiteX153" fmla="*/ 2354025 w 6666359"/>
              <a:gd name="connsiteY153" fmla="*/ 4181879 h 4343113"/>
              <a:gd name="connsiteX154" fmla="*/ 2357250 w 6666359"/>
              <a:gd name="connsiteY154" fmla="*/ 4185103 h 4343113"/>
              <a:gd name="connsiteX155" fmla="*/ 2379823 w 6666359"/>
              <a:gd name="connsiteY155" fmla="*/ 4185103 h 4343113"/>
              <a:gd name="connsiteX156" fmla="*/ 2379823 w 6666359"/>
              <a:gd name="connsiteY156" fmla="*/ 4181879 h 4343113"/>
              <a:gd name="connsiteX157" fmla="*/ 2383047 w 6666359"/>
              <a:gd name="connsiteY157" fmla="*/ 4185103 h 4343113"/>
              <a:gd name="connsiteX158" fmla="*/ 2379823 w 6666359"/>
              <a:gd name="connsiteY158" fmla="*/ 4188328 h 4343113"/>
              <a:gd name="connsiteX159" fmla="*/ 2376599 w 6666359"/>
              <a:gd name="connsiteY159" fmla="*/ 4191553 h 4343113"/>
              <a:gd name="connsiteX160" fmla="*/ 2373373 w 6666359"/>
              <a:gd name="connsiteY160" fmla="*/ 4198003 h 4343113"/>
              <a:gd name="connsiteX161" fmla="*/ 2357250 w 6666359"/>
              <a:gd name="connsiteY161" fmla="*/ 4210901 h 4343113"/>
              <a:gd name="connsiteX162" fmla="*/ 2354025 w 6666359"/>
              <a:gd name="connsiteY162" fmla="*/ 4214126 h 4343113"/>
              <a:gd name="connsiteX163" fmla="*/ 2344352 w 6666359"/>
              <a:gd name="connsiteY163" fmla="*/ 4207677 h 4343113"/>
              <a:gd name="connsiteX164" fmla="*/ 2354025 w 6666359"/>
              <a:gd name="connsiteY164" fmla="*/ 4204451 h 4343113"/>
              <a:gd name="connsiteX165" fmla="*/ 2357250 w 6666359"/>
              <a:gd name="connsiteY165" fmla="*/ 4198003 h 4343113"/>
              <a:gd name="connsiteX166" fmla="*/ 2363699 w 6666359"/>
              <a:gd name="connsiteY166" fmla="*/ 4194777 h 4343113"/>
              <a:gd name="connsiteX167" fmla="*/ 2354025 w 6666359"/>
              <a:gd name="connsiteY167" fmla="*/ 4185103 h 4343113"/>
              <a:gd name="connsiteX168" fmla="*/ 2041229 w 6666359"/>
              <a:gd name="connsiteY168" fmla="*/ 4175430 h 4343113"/>
              <a:gd name="connsiteX169" fmla="*/ 2047679 w 6666359"/>
              <a:gd name="connsiteY169" fmla="*/ 4178654 h 4343113"/>
              <a:gd name="connsiteX170" fmla="*/ 2038005 w 6666359"/>
              <a:gd name="connsiteY170" fmla="*/ 4185103 h 4343113"/>
              <a:gd name="connsiteX171" fmla="*/ 2044453 w 6666359"/>
              <a:gd name="connsiteY171" fmla="*/ 4159306 h 4343113"/>
              <a:gd name="connsiteX172" fmla="*/ 2050903 w 6666359"/>
              <a:gd name="connsiteY172" fmla="*/ 4165756 h 4343113"/>
              <a:gd name="connsiteX173" fmla="*/ 2050903 w 6666359"/>
              <a:gd name="connsiteY173" fmla="*/ 4172205 h 4343113"/>
              <a:gd name="connsiteX174" fmla="*/ 2041229 w 6666359"/>
              <a:gd name="connsiteY174" fmla="*/ 4172205 h 4343113"/>
              <a:gd name="connsiteX175" fmla="*/ 2028331 w 6666359"/>
              <a:gd name="connsiteY175" fmla="*/ 4152856 h 4343113"/>
              <a:gd name="connsiteX176" fmla="*/ 2034779 w 6666359"/>
              <a:gd name="connsiteY176" fmla="*/ 4152856 h 4343113"/>
              <a:gd name="connsiteX177" fmla="*/ 2031555 w 6666359"/>
              <a:gd name="connsiteY177" fmla="*/ 4162530 h 4343113"/>
              <a:gd name="connsiteX178" fmla="*/ 2028331 w 6666359"/>
              <a:gd name="connsiteY178" fmla="*/ 4159306 h 4343113"/>
              <a:gd name="connsiteX179" fmla="*/ 2047679 w 6666359"/>
              <a:gd name="connsiteY179" fmla="*/ 4149632 h 4343113"/>
              <a:gd name="connsiteX180" fmla="*/ 2054128 w 6666359"/>
              <a:gd name="connsiteY180" fmla="*/ 4159306 h 4343113"/>
              <a:gd name="connsiteX181" fmla="*/ 2054128 w 6666359"/>
              <a:gd name="connsiteY181" fmla="*/ 4165756 h 4343113"/>
              <a:gd name="connsiteX182" fmla="*/ 2047679 w 6666359"/>
              <a:gd name="connsiteY182" fmla="*/ 4159306 h 4343113"/>
              <a:gd name="connsiteX183" fmla="*/ 2028331 w 6666359"/>
              <a:gd name="connsiteY183" fmla="*/ 4136733 h 4343113"/>
              <a:gd name="connsiteX184" fmla="*/ 2034779 w 6666359"/>
              <a:gd name="connsiteY184" fmla="*/ 4136733 h 4343113"/>
              <a:gd name="connsiteX185" fmla="*/ 2041229 w 6666359"/>
              <a:gd name="connsiteY185" fmla="*/ 4139958 h 4343113"/>
              <a:gd name="connsiteX186" fmla="*/ 2034779 w 6666359"/>
              <a:gd name="connsiteY186" fmla="*/ 4146407 h 4343113"/>
              <a:gd name="connsiteX187" fmla="*/ 2028331 w 6666359"/>
              <a:gd name="connsiteY187" fmla="*/ 4146407 h 4343113"/>
              <a:gd name="connsiteX188" fmla="*/ 2028331 w 6666359"/>
              <a:gd name="connsiteY188" fmla="*/ 4139958 h 4343113"/>
              <a:gd name="connsiteX189" fmla="*/ 2028331 w 6666359"/>
              <a:gd name="connsiteY189" fmla="*/ 4123835 h 4343113"/>
              <a:gd name="connsiteX190" fmla="*/ 2034779 w 6666359"/>
              <a:gd name="connsiteY190" fmla="*/ 4130283 h 4343113"/>
              <a:gd name="connsiteX191" fmla="*/ 2031555 w 6666359"/>
              <a:gd name="connsiteY191" fmla="*/ 4130283 h 4343113"/>
              <a:gd name="connsiteX192" fmla="*/ 2025105 w 6666359"/>
              <a:gd name="connsiteY192" fmla="*/ 4127059 h 4343113"/>
              <a:gd name="connsiteX193" fmla="*/ 2044453 w 6666359"/>
              <a:gd name="connsiteY193" fmla="*/ 4091588 h 4343113"/>
              <a:gd name="connsiteX194" fmla="*/ 2047679 w 6666359"/>
              <a:gd name="connsiteY194" fmla="*/ 4107711 h 4343113"/>
              <a:gd name="connsiteX195" fmla="*/ 2050903 w 6666359"/>
              <a:gd name="connsiteY195" fmla="*/ 4120609 h 4343113"/>
              <a:gd name="connsiteX196" fmla="*/ 2044453 w 6666359"/>
              <a:gd name="connsiteY196" fmla="*/ 4136733 h 4343113"/>
              <a:gd name="connsiteX197" fmla="*/ 2038005 w 6666359"/>
              <a:gd name="connsiteY197" fmla="*/ 4127059 h 4343113"/>
              <a:gd name="connsiteX198" fmla="*/ 2031555 w 6666359"/>
              <a:gd name="connsiteY198" fmla="*/ 4120609 h 4343113"/>
              <a:gd name="connsiteX199" fmla="*/ 2038005 w 6666359"/>
              <a:gd name="connsiteY199" fmla="*/ 4104486 h 4343113"/>
              <a:gd name="connsiteX200" fmla="*/ 2044453 w 6666359"/>
              <a:gd name="connsiteY200" fmla="*/ 4072239 h 4343113"/>
              <a:gd name="connsiteX201" fmla="*/ 2047679 w 6666359"/>
              <a:gd name="connsiteY201" fmla="*/ 4085138 h 4343113"/>
              <a:gd name="connsiteX202" fmla="*/ 2047679 w 6666359"/>
              <a:gd name="connsiteY202" fmla="*/ 4088362 h 4343113"/>
              <a:gd name="connsiteX203" fmla="*/ 2038005 w 6666359"/>
              <a:gd name="connsiteY203" fmla="*/ 4085138 h 4343113"/>
              <a:gd name="connsiteX204" fmla="*/ 2025105 w 6666359"/>
              <a:gd name="connsiteY204" fmla="*/ 4069014 h 4343113"/>
              <a:gd name="connsiteX205" fmla="*/ 2031555 w 6666359"/>
              <a:gd name="connsiteY205" fmla="*/ 4069014 h 4343113"/>
              <a:gd name="connsiteX206" fmla="*/ 2034779 w 6666359"/>
              <a:gd name="connsiteY206" fmla="*/ 4085138 h 4343113"/>
              <a:gd name="connsiteX207" fmla="*/ 2031555 w 6666359"/>
              <a:gd name="connsiteY207" fmla="*/ 4091588 h 4343113"/>
              <a:gd name="connsiteX208" fmla="*/ 2028331 w 6666359"/>
              <a:gd name="connsiteY208" fmla="*/ 4085138 h 4343113"/>
              <a:gd name="connsiteX209" fmla="*/ 2025105 w 6666359"/>
              <a:gd name="connsiteY209" fmla="*/ 4078688 h 4343113"/>
              <a:gd name="connsiteX210" fmla="*/ 2041229 w 6666359"/>
              <a:gd name="connsiteY210" fmla="*/ 4062565 h 4343113"/>
              <a:gd name="connsiteX211" fmla="*/ 2038005 w 6666359"/>
              <a:gd name="connsiteY211" fmla="*/ 4069014 h 4343113"/>
              <a:gd name="connsiteX212" fmla="*/ 2031555 w 6666359"/>
              <a:gd name="connsiteY212" fmla="*/ 4069014 h 4343113"/>
              <a:gd name="connsiteX213" fmla="*/ 2034779 w 6666359"/>
              <a:gd name="connsiteY213" fmla="*/ 4065790 h 4343113"/>
              <a:gd name="connsiteX214" fmla="*/ 2034779 w 6666359"/>
              <a:gd name="connsiteY214" fmla="*/ 3998071 h 4343113"/>
              <a:gd name="connsiteX215" fmla="*/ 2041229 w 6666359"/>
              <a:gd name="connsiteY215" fmla="*/ 3998071 h 4343113"/>
              <a:gd name="connsiteX216" fmla="*/ 2041229 w 6666359"/>
              <a:gd name="connsiteY216" fmla="*/ 4004520 h 4343113"/>
              <a:gd name="connsiteX217" fmla="*/ 2034779 w 6666359"/>
              <a:gd name="connsiteY217" fmla="*/ 4007746 h 4343113"/>
              <a:gd name="connsiteX218" fmla="*/ 2060577 w 6666359"/>
              <a:gd name="connsiteY218" fmla="*/ 3972273 h 4343113"/>
              <a:gd name="connsiteX219" fmla="*/ 2067026 w 6666359"/>
              <a:gd name="connsiteY219" fmla="*/ 3975499 h 4343113"/>
              <a:gd name="connsiteX220" fmla="*/ 2063802 w 6666359"/>
              <a:gd name="connsiteY220" fmla="*/ 3981947 h 4343113"/>
              <a:gd name="connsiteX221" fmla="*/ 2054128 w 6666359"/>
              <a:gd name="connsiteY221" fmla="*/ 3978723 h 4343113"/>
              <a:gd name="connsiteX222" fmla="*/ 2050903 w 6666359"/>
              <a:gd name="connsiteY222" fmla="*/ 3962599 h 4343113"/>
              <a:gd name="connsiteX223" fmla="*/ 2060577 w 6666359"/>
              <a:gd name="connsiteY223" fmla="*/ 3962599 h 4343113"/>
              <a:gd name="connsiteX224" fmla="*/ 2054128 w 6666359"/>
              <a:gd name="connsiteY224" fmla="*/ 3969049 h 4343113"/>
              <a:gd name="connsiteX225" fmla="*/ 2060577 w 6666359"/>
              <a:gd name="connsiteY225" fmla="*/ 3878758 h 4343113"/>
              <a:gd name="connsiteX226" fmla="*/ 2070252 w 6666359"/>
              <a:gd name="connsiteY226" fmla="*/ 3878758 h 4343113"/>
              <a:gd name="connsiteX227" fmla="*/ 2073476 w 6666359"/>
              <a:gd name="connsiteY227" fmla="*/ 3888432 h 4343113"/>
              <a:gd name="connsiteX228" fmla="*/ 2070252 w 6666359"/>
              <a:gd name="connsiteY228" fmla="*/ 3891657 h 4343113"/>
              <a:gd name="connsiteX229" fmla="*/ 2063802 w 6666359"/>
              <a:gd name="connsiteY229" fmla="*/ 3898105 h 4343113"/>
              <a:gd name="connsiteX230" fmla="*/ 2070252 w 6666359"/>
              <a:gd name="connsiteY230" fmla="*/ 3907779 h 4343113"/>
              <a:gd name="connsiteX231" fmla="*/ 2070252 w 6666359"/>
              <a:gd name="connsiteY231" fmla="*/ 3914229 h 4343113"/>
              <a:gd name="connsiteX232" fmla="*/ 2070252 w 6666359"/>
              <a:gd name="connsiteY232" fmla="*/ 3920679 h 4343113"/>
              <a:gd name="connsiteX233" fmla="*/ 2060577 w 6666359"/>
              <a:gd name="connsiteY233" fmla="*/ 3923903 h 4343113"/>
              <a:gd name="connsiteX234" fmla="*/ 2054128 w 6666359"/>
              <a:gd name="connsiteY234" fmla="*/ 3920679 h 4343113"/>
              <a:gd name="connsiteX235" fmla="*/ 2054128 w 6666359"/>
              <a:gd name="connsiteY235" fmla="*/ 3914229 h 4343113"/>
              <a:gd name="connsiteX236" fmla="*/ 2057353 w 6666359"/>
              <a:gd name="connsiteY236" fmla="*/ 3891657 h 4343113"/>
              <a:gd name="connsiteX237" fmla="*/ 2508231 w 6666359"/>
              <a:gd name="connsiteY237" fmla="*/ 3616979 h 4343113"/>
              <a:gd name="connsiteX238" fmla="*/ 2508810 w 6666359"/>
              <a:gd name="connsiteY238" fmla="*/ 3617557 h 4343113"/>
              <a:gd name="connsiteX239" fmla="*/ 2508810 w 6666359"/>
              <a:gd name="connsiteY239" fmla="*/ 3617556 h 4343113"/>
              <a:gd name="connsiteX240" fmla="*/ 2508232 w 6666359"/>
              <a:gd name="connsiteY240" fmla="*/ 3616979 h 4343113"/>
              <a:gd name="connsiteX241" fmla="*/ 6157555 w 6666359"/>
              <a:gd name="connsiteY241" fmla="*/ 3446648 h 4343113"/>
              <a:gd name="connsiteX242" fmla="*/ 6157555 w 6666359"/>
              <a:gd name="connsiteY242" fmla="*/ 3449873 h 4343113"/>
              <a:gd name="connsiteX243" fmla="*/ 6160779 w 6666359"/>
              <a:gd name="connsiteY243" fmla="*/ 3456322 h 4343113"/>
              <a:gd name="connsiteX244" fmla="*/ 6160779 w 6666359"/>
              <a:gd name="connsiteY244" fmla="*/ 3459547 h 4343113"/>
              <a:gd name="connsiteX245" fmla="*/ 6154329 w 6666359"/>
              <a:gd name="connsiteY245" fmla="*/ 3449873 h 4343113"/>
              <a:gd name="connsiteX246" fmla="*/ 4903150 w 6666359"/>
              <a:gd name="connsiteY246" fmla="*/ 3340234 h 4343113"/>
              <a:gd name="connsiteX247" fmla="*/ 4906374 w 6666359"/>
              <a:gd name="connsiteY247" fmla="*/ 3346683 h 4343113"/>
              <a:gd name="connsiteX248" fmla="*/ 4899925 w 6666359"/>
              <a:gd name="connsiteY248" fmla="*/ 3349909 h 4343113"/>
              <a:gd name="connsiteX249" fmla="*/ 4893476 w 6666359"/>
              <a:gd name="connsiteY249" fmla="*/ 3343459 h 4343113"/>
              <a:gd name="connsiteX250" fmla="*/ 4941846 w 6666359"/>
              <a:gd name="connsiteY250" fmla="*/ 3317662 h 4343113"/>
              <a:gd name="connsiteX251" fmla="*/ 4948295 w 6666359"/>
              <a:gd name="connsiteY251" fmla="*/ 3320886 h 4343113"/>
              <a:gd name="connsiteX252" fmla="*/ 4945071 w 6666359"/>
              <a:gd name="connsiteY252" fmla="*/ 3327336 h 4343113"/>
              <a:gd name="connsiteX253" fmla="*/ 4935397 w 6666359"/>
              <a:gd name="connsiteY253" fmla="*/ 3327336 h 4343113"/>
              <a:gd name="connsiteX254" fmla="*/ 403086 w 6666359"/>
              <a:gd name="connsiteY254" fmla="*/ 3259616 h 4343113"/>
              <a:gd name="connsiteX255" fmla="*/ 409536 w 6666359"/>
              <a:gd name="connsiteY255" fmla="*/ 3262841 h 4343113"/>
              <a:gd name="connsiteX256" fmla="*/ 412760 w 6666359"/>
              <a:gd name="connsiteY256" fmla="*/ 3269290 h 4343113"/>
              <a:gd name="connsiteX257" fmla="*/ 403086 w 6666359"/>
              <a:gd name="connsiteY257" fmla="*/ 3266066 h 4343113"/>
              <a:gd name="connsiteX258" fmla="*/ 4654849 w 6666359"/>
              <a:gd name="connsiteY258" fmla="*/ 3137080 h 4343113"/>
              <a:gd name="connsiteX259" fmla="*/ 4658073 w 6666359"/>
              <a:gd name="connsiteY259" fmla="*/ 3143528 h 4343113"/>
              <a:gd name="connsiteX260" fmla="*/ 4651623 w 6666359"/>
              <a:gd name="connsiteY260" fmla="*/ 3140304 h 4343113"/>
              <a:gd name="connsiteX261" fmla="*/ 4761264 w 6666359"/>
              <a:gd name="connsiteY261" fmla="*/ 3133855 h 4343113"/>
              <a:gd name="connsiteX262" fmla="*/ 4774162 w 6666359"/>
              <a:gd name="connsiteY262" fmla="*/ 3153203 h 4343113"/>
              <a:gd name="connsiteX263" fmla="*/ 4780611 w 6666359"/>
              <a:gd name="connsiteY263" fmla="*/ 3172551 h 4343113"/>
              <a:gd name="connsiteX264" fmla="*/ 4780611 w 6666359"/>
              <a:gd name="connsiteY264" fmla="*/ 3191899 h 4343113"/>
              <a:gd name="connsiteX265" fmla="*/ 4787061 w 6666359"/>
              <a:gd name="connsiteY265" fmla="*/ 3208022 h 4343113"/>
              <a:gd name="connsiteX266" fmla="*/ 4783836 w 6666359"/>
              <a:gd name="connsiteY266" fmla="*/ 3217696 h 4343113"/>
              <a:gd name="connsiteX267" fmla="*/ 4780611 w 6666359"/>
              <a:gd name="connsiteY267" fmla="*/ 3224146 h 4343113"/>
              <a:gd name="connsiteX268" fmla="*/ 4774162 w 6666359"/>
              <a:gd name="connsiteY268" fmla="*/ 3214472 h 4343113"/>
              <a:gd name="connsiteX269" fmla="*/ 4774162 w 6666359"/>
              <a:gd name="connsiteY269" fmla="*/ 3211248 h 4343113"/>
              <a:gd name="connsiteX270" fmla="*/ 4770938 w 6666359"/>
              <a:gd name="connsiteY270" fmla="*/ 3211248 h 4343113"/>
              <a:gd name="connsiteX271" fmla="*/ 4770938 w 6666359"/>
              <a:gd name="connsiteY271" fmla="*/ 3224146 h 4343113"/>
              <a:gd name="connsiteX272" fmla="*/ 4770938 w 6666359"/>
              <a:gd name="connsiteY272" fmla="*/ 3227371 h 4343113"/>
              <a:gd name="connsiteX273" fmla="*/ 4774162 w 6666359"/>
              <a:gd name="connsiteY273" fmla="*/ 3230596 h 4343113"/>
              <a:gd name="connsiteX274" fmla="*/ 4774162 w 6666359"/>
              <a:gd name="connsiteY274" fmla="*/ 3237045 h 4343113"/>
              <a:gd name="connsiteX275" fmla="*/ 4770938 w 6666359"/>
              <a:gd name="connsiteY275" fmla="*/ 3243495 h 4343113"/>
              <a:gd name="connsiteX276" fmla="*/ 4767712 w 6666359"/>
              <a:gd name="connsiteY276" fmla="*/ 3246719 h 4343113"/>
              <a:gd name="connsiteX277" fmla="*/ 4764488 w 6666359"/>
              <a:gd name="connsiteY277" fmla="*/ 3253169 h 4343113"/>
              <a:gd name="connsiteX278" fmla="*/ 4764488 w 6666359"/>
              <a:gd name="connsiteY278" fmla="*/ 3259618 h 4343113"/>
              <a:gd name="connsiteX279" fmla="*/ 4767712 w 6666359"/>
              <a:gd name="connsiteY279" fmla="*/ 3262843 h 4343113"/>
              <a:gd name="connsiteX280" fmla="*/ 4764488 w 6666359"/>
              <a:gd name="connsiteY280" fmla="*/ 3269292 h 4343113"/>
              <a:gd name="connsiteX281" fmla="*/ 4764488 w 6666359"/>
              <a:gd name="connsiteY281" fmla="*/ 3278966 h 4343113"/>
              <a:gd name="connsiteX282" fmla="*/ 4754814 w 6666359"/>
              <a:gd name="connsiteY282" fmla="*/ 3301539 h 4343113"/>
              <a:gd name="connsiteX283" fmla="*/ 4732241 w 6666359"/>
              <a:gd name="connsiteY283" fmla="*/ 3372482 h 4343113"/>
              <a:gd name="connsiteX284" fmla="*/ 4725791 w 6666359"/>
              <a:gd name="connsiteY284" fmla="*/ 3401505 h 4343113"/>
              <a:gd name="connsiteX285" fmla="*/ 4716117 w 6666359"/>
              <a:gd name="connsiteY285" fmla="*/ 3430526 h 4343113"/>
              <a:gd name="connsiteX286" fmla="*/ 4706443 w 6666359"/>
              <a:gd name="connsiteY286" fmla="*/ 3440201 h 4343113"/>
              <a:gd name="connsiteX287" fmla="*/ 4696770 w 6666359"/>
              <a:gd name="connsiteY287" fmla="*/ 3440201 h 4343113"/>
              <a:gd name="connsiteX288" fmla="*/ 4683870 w 6666359"/>
              <a:gd name="connsiteY288" fmla="*/ 3443426 h 4343113"/>
              <a:gd name="connsiteX289" fmla="*/ 4670972 w 6666359"/>
              <a:gd name="connsiteY289" fmla="*/ 3449875 h 4343113"/>
              <a:gd name="connsiteX290" fmla="*/ 4661298 w 6666359"/>
              <a:gd name="connsiteY290" fmla="*/ 3443426 h 4343113"/>
              <a:gd name="connsiteX291" fmla="*/ 4648399 w 6666359"/>
              <a:gd name="connsiteY291" fmla="*/ 3436976 h 4343113"/>
              <a:gd name="connsiteX292" fmla="*/ 4641949 w 6666359"/>
              <a:gd name="connsiteY292" fmla="*/ 3424078 h 4343113"/>
              <a:gd name="connsiteX293" fmla="*/ 4638725 w 6666359"/>
              <a:gd name="connsiteY293" fmla="*/ 3414403 h 4343113"/>
              <a:gd name="connsiteX294" fmla="*/ 4638725 w 6666359"/>
              <a:gd name="connsiteY294" fmla="*/ 3401505 h 4343113"/>
              <a:gd name="connsiteX295" fmla="*/ 4632275 w 6666359"/>
              <a:gd name="connsiteY295" fmla="*/ 3385381 h 4343113"/>
              <a:gd name="connsiteX296" fmla="*/ 4629051 w 6666359"/>
              <a:gd name="connsiteY296" fmla="*/ 3359584 h 4343113"/>
              <a:gd name="connsiteX297" fmla="*/ 4632275 w 6666359"/>
              <a:gd name="connsiteY297" fmla="*/ 3353134 h 4343113"/>
              <a:gd name="connsiteX298" fmla="*/ 4635500 w 6666359"/>
              <a:gd name="connsiteY298" fmla="*/ 3346685 h 4343113"/>
              <a:gd name="connsiteX299" fmla="*/ 4641949 w 6666359"/>
              <a:gd name="connsiteY299" fmla="*/ 3343460 h 4343113"/>
              <a:gd name="connsiteX300" fmla="*/ 4645175 w 6666359"/>
              <a:gd name="connsiteY300" fmla="*/ 3333786 h 4343113"/>
              <a:gd name="connsiteX301" fmla="*/ 4654849 w 6666359"/>
              <a:gd name="connsiteY301" fmla="*/ 3317663 h 4343113"/>
              <a:gd name="connsiteX302" fmla="*/ 4654849 w 6666359"/>
              <a:gd name="connsiteY302" fmla="*/ 3304764 h 4343113"/>
              <a:gd name="connsiteX303" fmla="*/ 4651623 w 6666359"/>
              <a:gd name="connsiteY303" fmla="*/ 3291865 h 4343113"/>
              <a:gd name="connsiteX304" fmla="*/ 4645175 w 6666359"/>
              <a:gd name="connsiteY304" fmla="*/ 3278966 h 4343113"/>
              <a:gd name="connsiteX305" fmla="*/ 4645175 w 6666359"/>
              <a:gd name="connsiteY305" fmla="*/ 3266067 h 4343113"/>
              <a:gd name="connsiteX306" fmla="*/ 4645175 w 6666359"/>
              <a:gd name="connsiteY306" fmla="*/ 3256393 h 4343113"/>
              <a:gd name="connsiteX307" fmla="*/ 4654849 w 6666359"/>
              <a:gd name="connsiteY307" fmla="*/ 3240270 h 4343113"/>
              <a:gd name="connsiteX308" fmla="*/ 4654849 w 6666359"/>
              <a:gd name="connsiteY308" fmla="*/ 3237045 h 4343113"/>
              <a:gd name="connsiteX309" fmla="*/ 4654849 w 6666359"/>
              <a:gd name="connsiteY309" fmla="*/ 3233820 h 4343113"/>
              <a:gd name="connsiteX310" fmla="*/ 4658073 w 6666359"/>
              <a:gd name="connsiteY310" fmla="*/ 3230596 h 4343113"/>
              <a:gd name="connsiteX311" fmla="*/ 4674196 w 6666359"/>
              <a:gd name="connsiteY311" fmla="*/ 3224146 h 4343113"/>
              <a:gd name="connsiteX312" fmla="*/ 4680646 w 6666359"/>
              <a:gd name="connsiteY312" fmla="*/ 3224146 h 4343113"/>
              <a:gd name="connsiteX313" fmla="*/ 4680646 w 6666359"/>
              <a:gd name="connsiteY313" fmla="*/ 3220922 h 4343113"/>
              <a:gd name="connsiteX314" fmla="*/ 4690320 w 6666359"/>
              <a:gd name="connsiteY314" fmla="*/ 3220922 h 4343113"/>
              <a:gd name="connsiteX315" fmla="*/ 4696770 w 6666359"/>
              <a:gd name="connsiteY315" fmla="*/ 3220922 h 4343113"/>
              <a:gd name="connsiteX316" fmla="*/ 4709668 w 6666359"/>
              <a:gd name="connsiteY316" fmla="*/ 3208022 h 4343113"/>
              <a:gd name="connsiteX317" fmla="*/ 4719343 w 6666359"/>
              <a:gd name="connsiteY317" fmla="*/ 3198349 h 4343113"/>
              <a:gd name="connsiteX318" fmla="*/ 4722567 w 6666359"/>
              <a:gd name="connsiteY318" fmla="*/ 3198349 h 4343113"/>
              <a:gd name="connsiteX319" fmla="*/ 4719343 w 6666359"/>
              <a:gd name="connsiteY319" fmla="*/ 3204798 h 4343113"/>
              <a:gd name="connsiteX320" fmla="*/ 4722567 w 6666359"/>
              <a:gd name="connsiteY320" fmla="*/ 3204798 h 4343113"/>
              <a:gd name="connsiteX321" fmla="*/ 4729017 w 6666359"/>
              <a:gd name="connsiteY321" fmla="*/ 3195124 h 4343113"/>
              <a:gd name="connsiteX322" fmla="*/ 4725791 w 6666359"/>
              <a:gd name="connsiteY322" fmla="*/ 3188675 h 4343113"/>
              <a:gd name="connsiteX323" fmla="*/ 4732241 w 6666359"/>
              <a:gd name="connsiteY323" fmla="*/ 3172551 h 4343113"/>
              <a:gd name="connsiteX324" fmla="*/ 4735465 w 6666359"/>
              <a:gd name="connsiteY324" fmla="*/ 3172551 h 4343113"/>
              <a:gd name="connsiteX325" fmla="*/ 4741915 w 6666359"/>
              <a:gd name="connsiteY325" fmla="*/ 3169327 h 4343113"/>
              <a:gd name="connsiteX326" fmla="*/ 4748364 w 6666359"/>
              <a:gd name="connsiteY326" fmla="*/ 3166102 h 4343113"/>
              <a:gd name="connsiteX327" fmla="*/ 4751589 w 6666359"/>
              <a:gd name="connsiteY327" fmla="*/ 3162877 h 4343113"/>
              <a:gd name="connsiteX328" fmla="*/ 4754814 w 6666359"/>
              <a:gd name="connsiteY328" fmla="*/ 3153203 h 4343113"/>
              <a:gd name="connsiteX329" fmla="*/ 4751589 w 6666359"/>
              <a:gd name="connsiteY329" fmla="*/ 3146754 h 4343113"/>
              <a:gd name="connsiteX330" fmla="*/ 4754814 w 6666359"/>
              <a:gd name="connsiteY330" fmla="*/ 3143528 h 4343113"/>
              <a:gd name="connsiteX331" fmla="*/ 6534843 w 6666359"/>
              <a:gd name="connsiteY331" fmla="*/ 3124178 h 4343113"/>
              <a:gd name="connsiteX332" fmla="*/ 6541293 w 6666359"/>
              <a:gd name="connsiteY332" fmla="*/ 3127404 h 4343113"/>
              <a:gd name="connsiteX333" fmla="*/ 6538069 w 6666359"/>
              <a:gd name="connsiteY333" fmla="*/ 3133852 h 4343113"/>
              <a:gd name="connsiteX334" fmla="*/ 6528393 w 6666359"/>
              <a:gd name="connsiteY334" fmla="*/ 3133852 h 4343113"/>
              <a:gd name="connsiteX335" fmla="*/ 4629051 w 6666359"/>
              <a:gd name="connsiteY335" fmla="*/ 3120956 h 4343113"/>
              <a:gd name="connsiteX336" fmla="*/ 4632275 w 6666359"/>
              <a:gd name="connsiteY336" fmla="*/ 3124181 h 4343113"/>
              <a:gd name="connsiteX337" fmla="*/ 4632275 w 6666359"/>
              <a:gd name="connsiteY337" fmla="*/ 3130630 h 4343113"/>
              <a:gd name="connsiteX338" fmla="*/ 4632275 w 6666359"/>
              <a:gd name="connsiteY338" fmla="*/ 3133855 h 4343113"/>
              <a:gd name="connsiteX339" fmla="*/ 4629051 w 6666359"/>
              <a:gd name="connsiteY339" fmla="*/ 3127405 h 4343113"/>
              <a:gd name="connsiteX340" fmla="*/ 6570315 w 6666359"/>
              <a:gd name="connsiteY340" fmla="*/ 3117729 h 4343113"/>
              <a:gd name="connsiteX341" fmla="*/ 6573539 w 6666359"/>
              <a:gd name="connsiteY341" fmla="*/ 3117729 h 4343113"/>
              <a:gd name="connsiteX342" fmla="*/ 6583213 w 6666359"/>
              <a:gd name="connsiteY342" fmla="*/ 3117729 h 4343113"/>
              <a:gd name="connsiteX343" fmla="*/ 6589663 w 6666359"/>
              <a:gd name="connsiteY343" fmla="*/ 3117729 h 4343113"/>
              <a:gd name="connsiteX344" fmla="*/ 6599337 w 6666359"/>
              <a:gd name="connsiteY344" fmla="*/ 3127404 h 4343113"/>
              <a:gd name="connsiteX345" fmla="*/ 6605787 w 6666359"/>
              <a:gd name="connsiteY345" fmla="*/ 3130628 h 4343113"/>
              <a:gd name="connsiteX346" fmla="*/ 6621911 w 6666359"/>
              <a:gd name="connsiteY346" fmla="*/ 3137078 h 4343113"/>
              <a:gd name="connsiteX347" fmla="*/ 6638034 w 6666359"/>
              <a:gd name="connsiteY347" fmla="*/ 3137078 h 4343113"/>
              <a:gd name="connsiteX348" fmla="*/ 6641258 w 6666359"/>
              <a:gd name="connsiteY348" fmla="*/ 3140302 h 4343113"/>
              <a:gd name="connsiteX349" fmla="*/ 6647707 w 6666359"/>
              <a:gd name="connsiteY349" fmla="*/ 3140302 h 4343113"/>
              <a:gd name="connsiteX350" fmla="*/ 6657381 w 6666359"/>
              <a:gd name="connsiteY350" fmla="*/ 3140302 h 4343113"/>
              <a:gd name="connsiteX351" fmla="*/ 6663831 w 6666359"/>
              <a:gd name="connsiteY351" fmla="*/ 3146752 h 4343113"/>
              <a:gd name="connsiteX352" fmla="*/ 6666359 w 6666359"/>
              <a:gd name="connsiteY352" fmla="*/ 3145488 h 4343113"/>
              <a:gd name="connsiteX353" fmla="*/ 6666359 w 6666359"/>
              <a:gd name="connsiteY353" fmla="*/ 3161611 h 4343113"/>
              <a:gd name="connsiteX354" fmla="*/ 6663831 w 6666359"/>
              <a:gd name="connsiteY354" fmla="*/ 3162875 h 4343113"/>
              <a:gd name="connsiteX355" fmla="*/ 6660606 w 6666359"/>
              <a:gd name="connsiteY355" fmla="*/ 3166099 h 4343113"/>
              <a:gd name="connsiteX356" fmla="*/ 6660606 w 6666359"/>
              <a:gd name="connsiteY356" fmla="*/ 3172549 h 4343113"/>
              <a:gd name="connsiteX357" fmla="*/ 6660606 w 6666359"/>
              <a:gd name="connsiteY357" fmla="*/ 3175773 h 4343113"/>
              <a:gd name="connsiteX358" fmla="*/ 6660606 w 6666359"/>
              <a:gd name="connsiteY358" fmla="*/ 3178999 h 4343113"/>
              <a:gd name="connsiteX359" fmla="*/ 6650932 w 6666359"/>
              <a:gd name="connsiteY359" fmla="*/ 3195122 h 4343113"/>
              <a:gd name="connsiteX360" fmla="*/ 6650932 w 6666359"/>
              <a:gd name="connsiteY360" fmla="*/ 3201572 h 4343113"/>
              <a:gd name="connsiteX361" fmla="*/ 6660606 w 6666359"/>
              <a:gd name="connsiteY361" fmla="*/ 3208020 h 4343113"/>
              <a:gd name="connsiteX362" fmla="*/ 6666359 w 6666359"/>
              <a:gd name="connsiteY362" fmla="*/ 3213773 h 4343113"/>
              <a:gd name="connsiteX363" fmla="*/ 6666359 w 6666359"/>
              <a:gd name="connsiteY363" fmla="*/ 3667931 h 4343113"/>
              <a:gd name="connsiteX364" fmla="*/ 6660606 w 6666359"/>
              <a:gd name="connsiteY364" fmla="*/ 3675601 h 4343113"/>
              <a:gd name="connsiteX365" fmla="*/ 6650932 w 6666359"/>
              <a:gd name="connsiteY365" fmla="*/ 3675601 h 4343113"/>
              <a:gd name="connsiteX366" fmla="*/ 6644483 w 6666359"/>
              <a:gd name="connsiteY366" fmla="*/ 3662702 h 4343113"/>
              <a:gd name="connsiteX367" fmla="*/ 6638034 w 6666359"/>
              <a:gd name="connsiteY367" fmla="*/ 3646579 h 4343113"/>
              <a:gd name="connsiteX368" fmla="*/ 6631584 w 6666359"/>
              <a:gd name="connsiteY368" fmla="*/ 3633681 h 4343113"/>
              <a:gd name="connsiteX369" fmla="*/ 6621911 w 6666359"/>
              <a:gd name="connsiteY369" fmla="*/ 3620781 h 4343113"/>
              <a:gd name="connsiteX370" fmla="*/ 6615461 w 6666359"/>
              <a:gd name="connsiteY370" fmla="*/ 3617557 h 4343113"/>
              <a:gd name="connsiteX371" fmla="*/ 6612237 w 6666359"/>
              <a:gd name="connsiteY371" fmla="*/ 3614333 h 4343113"/>
              <a:gd name="connsiteX372" fmla="*/ 6605787 w 6666359"/>
              <a:gd name="connsiteY372" fmla="*/ 3614333 h 4343113"/>
              <a:gd name="connsiteX373" fmla="*/ 6599337 w 6666359"/>
              <a:gd name="connsiteY373" fmla="*/ 3614333 h 4343113"/>
              <a:gd name="connsiteX374" fmla="*/ 6570315 w 6666359"/>
              <a:gd name="connsiteY374" fmla="*/ 3604658 h 4343113"/>
              <a:gd name="connsiteX375" fmla="*/ 6550967 w 6666359"/>
              <a:gd name="connsiteY375" fmla="*/ 3594984 h 4343113"/>
              <a:gd name="connsiteX376" fmla="*/ 6515495 w 6666359"/>
              <a:gd name="connsiteY376" fmla="*/ 3601434 h 4343113"/>
              <a:gd name="connsiteX377" fmla="*/ 6505821 w 6666359"/>
              <a:gd name="connsiteY377" fmla="*/ 3601434 h 4343113"/>
              <a:gd name="connsiteX378" fmla="*/ 6496147 w 6666359"/>
              <a:gd name="connsiteY378" fmla="*/ 3607883 h 4343113"/>
              <a:gd name="connsiteX379" fmla="*/ 6467125 w 6666359"/>
              <a:gd name="connsiteY379" fmla="*/ 3617557 h 4343113"/>
              <a:gd name="connsiteX380" fmla="*/ 6457451 w 6666359"/>
              <a:gd name="connsiteY380" fmla="*/ 3617557 h 4343113"/>
              <a:gd name="connsiteX381" fmla="*/ 6444551 w 6666359"/>
              <a:gd name="connsiteY381" fmla="*/ 3614333 h 4343113"/>
              <a:gd name="connsiteX382" fmla="*/ 6434877 w 6666359"/>
              <a:gd name="connsiteY382" fmla="*/ 3620781 h 4343113"/>
              <a:gd name="connsiteX383" fmla="*/ 6418754 w 6666359"/>
              <a:gd name="connsiteY383" fmla="*/ 3627231 h 4343113"/>
              <a:gd name="connsiteX384" fmla="*/ 6402631 w 6666359"/>
              <a:gd name="connsiteY384" fmla="*/ 3640130 h 4343113"/>
              <a:gd name="connsiteX385" fmla="*/ 6392957 w 6666359"/>
              <a:gd name="connsiteY385" fmla="*/ 3656254 h 4343113"/>
              <a:gd name="connsiteX386" fmla="*/ 6383283 w 6666359"/>
              <a:gd name="connsiteY386" fmla="*/ 3659478 h 4343113"/>
              <a:gd name="connsiteX387" fmla="*/ 6380057 w 6666359"/>
              <a:gd name="connsiteY387" fmla="*/ 3656254 h 4343113"/>
              <a:gd name="connsiteX388" fmla="*/ 6370383 w 6666359"/>
              <a:gd name="connsiteY388" fmla="*/ 3659478 h 4343113"/>
              <a:gd name="connsiteX389" fmla="*/ 6357485 w 6666359"/>
              <a:gd name="connsiteY389" fmla="*/ 3659478 h 4343113"/>
              <a:gd name="connsiteX390" fmla="*/ 6354260 w 6666359"/>
              <a:gd name="connsiteY390" fmla="*/ 3656254 h 4343113"/>
              <a:gd name="connsiteX391" fmla="*/ 6344586 w 6666359"/>
              <a:gd name="connsiteY391" fmla="*/ 3656254 h 4343113"/>
              <a:gd name="connsiteX392" fmla="*/ 6334913 w 6666359"/>
              <a:gd name="connsiteY392" fmla="*/ 3656254 h 4343113"/>
              <a:gd name="connsiteX393" fmla="*/ 6315565 w 6666359"/>
              <a:gd name="connsiteY393" fmla="*/ 3659478 h 4343113"/>
              <a:gd name="connsiteX394" fmla="*/ 6305889 w 6666359"/>
              <a:gd name="connsiteY394" fmla="*/ 3662702 h 4343113"/>
              <a:gd name="connsiteX395" fmla="*/ 6289766 w 6666359"/>
              <a:gd name="connsiteY395" fmla="*/ 3672377 h 4343113"/>
              <a:gd name="connsiteX396" fmla="*/ 6280093 w 6666359"/>
              <a:gd name="connsiteY396" fmla="*/ 3678826 h 4343113"/>
              <a:gd name="connsiteX397" fmla="*/ 6270418 w 6666359"/>
              <a:gd name="connsiteY397" fmla="*/ 3688500 h 4343113"/>
              <a:gd name="connsiteX398" fmla="*/ 6254295 w 6666359"/>
              <a:gd name="connsiteY398" fmla="*/ 3688500 h 4343113"/>
              <a:gd name="connsiteX399" fmla="*/ 6241397 w 6666359"/>
              <a:gd name="connsiteY399" fmla="*/ 3688500 h 4343113"/>
              <a:gd name="connsiteX400" fmla="*/ 6228497 w 6666359"/>
              <a:gd name="connsiteY400" fmla="*/ 3685275 h 4343113"/>
              <a:gd name="connsiteX401" fmla="*/ 6218823 w 6666359"/>
              <a:gd name="connsiteY401" fmla="*/ 3675601 h 4343113"/>
              <a:gd name="connsiteX402" fmla="*/ 6205925 w 6666359"/>
              <a:gd name="connsiteY402" fmla="*/ 3669152 h 4343113"/>
              <a:gd name="connsiteX403" fmla="*/ 6202700 w 6666359"/>
              <a:gd name="connsiteY403" fmla="*/ 3665928 h 4343113"/>
              <a:gd name="connsiteX404" fmla="*/ 6202700 w 6666359"/>
              <a:gd name="connsiteY404" fmla="*/ 3649804 h 4343113"/>
              <a:gd name="connsiteX405" fmla="*/ 6205925 w 6666359"/>
              <a:gd name="connsiteY405" fmla="*/ 3649804 h 4343113"/>
              <a:gd name="connsiteX406" fmla="*/ 6212373 w 6666359"/>
              <a:gd name="connsiteY406" fmla="*/ 3649804 h 4343113"/>
              <a:gd name="connsiteX407" fmla="*/ 6215599 w 6666359"/>
              <a:gd name="connsiteY407" fmla="*/ 3643354 h 4343113"/>
              <a:gd name="connsiteX408" fmla="*/ 6218823 w 6666359"/>
              <a:gd name="connsiteY408" fmla="*/ 3633681 h 4343113"/>
              <a:gd name="connsiteX409" fmla="*/ 6218823 w 6666359"/>
              <a:gd name="connsiteY409" fmla="*/ 3620781 h 4343113"/>
              <a:gd name="connsiteX410" fmla="*/ 6218823 w 6666359"/>
              <a:gd name="connsiteY410" fmla="*/ 3604658 h 4343113"/>
              <a:gd name="connsiteX411" fmla="*/ 6215599 w 6666359"/>
              <a:gd name="connsiteY411" fmla="*/ 3594984 h 4343113"/>
              <a:gd name="connsiteX412" fmla="*/ 6205925 w 6666359"/>
              <a:gd name="connsiteY412" fmla="*/ 3582086 h 4343113"/>
              <a:gd name="connsiteX413" fmla="*/ 6202700 w 6666359"/>
              <a:gd name="connsiteY413" fmla="*/ 3569186 h 4343113"/>
              <a:gd name="connsiteX414" fmla="*/ 6202700 w 6666359"/>
              <a:gd name="connsiteY414" fmla="*/ 3556287 h 4343113"/>
              <a:gd name="connsiteX415" fmla="*/ 6199475 w 6666359"/>
              <a:gd name="connsiteY415" fmla="*/ 3540165 h 4343113"/>
              <a:gd name="connsiteX416" fmla="*/ 6186577 w 6666359"/>
              <a:gd name="connsiteY416" fmla="*/ 3514366 h 4343113"/>
              <a:gd name="connsiteX417" fmla="*/ 6183352 w 6666359"/>
              <a:gd name="connsiteY417" fmla="*/ 3507918 h 4343113"/>
              <a:gd name="connsiteX418" fmla="*/ 6183352 w 6666359"/>
              <a:gd name="connsiteY418" fmla="*/ 3501468 h 4343113"/>
              <a:gd name="connsiteX419" fmla="*/ 6176903 w 6666359"/>
              <a:gd name="connsiteY419" fmla="*/ 3488569 h 4343113"/>
              <a:gd name="connsiteX420" fmla="*/ 6170453 w 6666359"/>
              <a:gd name="connsiteY420" fmla="*/ 3475671 h 4343113"/>
              <a:gd name="connsiteX421" fmla="*/ 6167229 w 6666359"/>
              <a:gd name="connsiteY421" fmla="*/ 3472445 h 4343113"/>
              <a:gd name="connsiteX422" fmla="*/ 6164003 w 6666359"/>
              <a:gd name="connsiteY422" fmla="*/ 3465997 h 4343113"/>
              <a:gd name="connsiteX423" fmla="*/ 6164003 w 6666359"/>
              <a:gd name="connsiteY423" fmla="*/ 3459547 h 4343113"/>
              <a:gd name="connsiteX424" fmla="*/ 6167229 w 6666359"/>
              <a:gd name="connsiteY424" fmla="*/ 3459547 h 4343113"/>
              <a:gd name="connsiteX425" fmla="*/ 6170453 w 6666359"/>
              <a:gd name="connsiteY425" fmla="*/ 3469221 h 4343113"/>
              <a:gd name="connsiteX426" fmla="*/ 6170453 w 6666359"/>
              <a:gd name="connsiteY426" fmla="*/ 3472445 h 4343113"/>
              <a:gd name="connsiteX427" fmla="*/ 6176903 w 6666359"/>
              <a:gd name="connsiteY427" fmla="*/ 3472445 h 4343113"/>
              <a:gd name="connsiteX428" fmla="*/ 6170453 w 6666359"/>
              <a:gd name="connsiteY428" fmla="*/ 3462771 h 4343113"/>
              <a:gd name="connsiteX429" fmla="*/ 6167229 w 6666359"/>
              <a:gd name="connsiteY429" fmla="*/ 3453097 h 4343113"/>
              <a:gd name="connsiteX430" fmla="*/ 6167229 w 6666359"/>
              <a:gd name="connsiteY430" fmla="*/ 3449873 h 4343113"/>
              <a:gd name="connsiteX431" fmla="*/ 6173678 w 6666359"/>
              <a:gd name="connsiteY431" fmla="*/ 3459547 h 4343113"/>
              <a:gd name="connsiteX432" fmla="*/ 6180127 w 6666359"/>
              <a:gd name="connsiteY432" fmla="*/ 3469221 h 4343113"/>
              <a:gd name="connsiteX433" fmla="*/ 6183352 w 6666359"/>
              <a:gd name="connsiteY433" fmla="*/ 3465997 h 4343113"/>
              <a:gd name="connsiteX434" fmla="*/ 6186577 w 6666359"/>
              <a:gd name="connsiteY434" fmla="*/ 3459547 h 4343113"/>
              <a:gd name="connsiteX435" fmla="*/ 6183352 w 6666359"/>
              <a:gd name="connsiteY435" fmla="*/ 3456322 h 4343113"/>
              <a:gd name="connsiteX436" fmla="*/ 6180127 w 6666359"/>
              <a:gd name="connsiteY436" fmla="*/ 3449873 h 4343113"/>
              <a:gd name="connsiteX437" fmla="*/ 6173678 w 6666359"/>
              <a:gd name="connsiteY437" fmla="*/ 3436974 h 4343113"/>
              <a:gd name="connsiteX438" fmla="*/ 6167229 w 6666359"/>
              <a:gd name="connsiteY438" fmla="*/ 3420850 h 4343113"/>
              <a:gd name="connsiteX439" fmla="*/ 6167229 w 6666359"/>
              <a:gd name="connsiteY439" fmla="*/ 3417626 h 4343113"/>
              <a:gd name="connsiteX440" fmla="*/ 6167229 w 6666359"/>
              <a:gd name="connsiteY440" fmla="*/ 3414401 h 4343113"/>
              <a:gd name="connsiteX441" fmla="*/ 6170453 w 6666359"/>
              <a:gd name="connsiteY441" fmla="*/ 3401503 h 4343113"/>
              <a:gd name="connsiteX442" fmla="*/ 6173678 w 6666359"/>
              <a:gd name="connsiteY442" fmla="*/ 3401503 h 4343113"/>
              <a:gd name="connsiteX443" fmla="*/ 6173678 w 6666359"/>
              <a:gd name="connsiteY443" fmla="*/ 3395053 h 4343113"/>
              <a:gd name="connsiteX444" fmla="*/ 6173678 w 6666359"/>
              <a:gd name="connsiteY444" fmla="*/ 3382154 h 4343113"/>
              <a:gd name="connsiteX445" fmla="*/ 6176903 w 6666359"/>
              <a:gd name="connsiteY445" fmla="*/ 3369256 h 4343113"/>
              <a:gd name="connsiteX446" fmla="*/ 6183352 w 6666359"/>
              <a:gd name="connsiteY446" fmla="*/ 3359582 h 4343113"/>
              <a:gd name="connsiteX447" fmla="*/ 6183352 w 6666359"/>
              <a:gd name="connsiteY447" fmla="*/ 3366030 h 4343113"/>
              <a:gd name="connsiteX448" fmla="*/ 6183352 w 6666359"/>
              <a:gd name="connsiteY448" fmla="*/ 3375705 h 4343113"/>
              <a:gd name="connsiteX449" fmla="*/ 6189801 w 6666359"/>
              <a:gd name="connsiteY449" fmla="*/ 3372480 h 4343113"/>
              <a:gd name="connsiteX450" fmla="*/ 6189801 w 6666359"/>
              <a:gd name="connsiteY450" fmla="*/ 3369256 h 4343113"/>
              <a:gd name="connsiteX451" fmla="*/ 6193026 w 6666359"/>
              <a:gd name="connsiteY451" fmla="*/ 3359582 h 4343113"/>
              <a:gd name="connsiteX452" fmla="*/ 6199475 w 6666359"/>
              <a:gd name="connsiteY452" fmla="*/ 3356356 h 4343113"/>
              <a:gd name="connsiteX453" fmla="*/ 6222047 w 6666359"/>
              <a:gd name="connsiteY453" fmla="*/ 3343458 h 4343113"/>
              <a:gd name="connsiteX454" fmla="*/ 6234947 w 6666359"/>
              <a:gd name="connsiteY454" fmla="*/ 3333784 h 4343113"/>
              <a:gd name="connsiteX455" fmla="*/ 6247846 w 6666359"/>
              <a:gd name="connsiteY455" fmla="*/ 3330559 h 4343113"/>
              <a:gd name="connsiteX456" fmla="*/ 6257520 w 6666359"/>
              <a:gd name="connsiteY456" fmla="*/ 3333784 h 4343113"/>
              <a:gd name="connsiteX457" fmla="*/ 6267194 w 6666359"/>
              <a:gd name="connsiteY457" fmla="*/ 3330559 h 4343113"/>
              <a:gd name="connsiteX458" fmla="*/ 6273643 w 6666359"/>
              <a:gd name="connsiteY458" fmla="*/ 3324109 h 4343113"/>
              <a:gd name="connsiteX459" fmla="*/ 6280093 w 6666359"/>
              <a:gd name="connsiteY459" fmla="*/ 3324109 h 4343113"/>
              <a:gd name="connsiteX460" fmla="*/ 6286541 w 6666359"/>
              <a:gd name="connsiteY460" fmla="*/ 3324109 h 4343113"/>
              <a:gd name="connsiteX461" fmla="*/ 6289766 w 6666359"/>
              <a:gd name="connsiteY461" fmla="*/ 3320885 h 4343113"/>
              <a:gd name="connsiteX462" fmla="*/ 6305889 w 6666359"/>
              <a:gd name="connsiteY462" fmla="*/ 3317661 h 4343113"/>
              <a:gd name="connsiteX463" fmla="*/ 6331688 w 6666359"/>
              <a:gd name="connsiteY463" fmla="*/ 3307986 h 4343113"/>
              <a:gd name="connsiteX464" fmla="*/ 6347811 w 6666359"/>
              <a:gd name="connsiteY464" fmla="*/ 3291862 h 4343113"/>
              <a:gd name="connsiteX465" fmla="*/ 6354260 w 6666359"/>
              <a:gd name="connsiteY465" fmla="*/ 3278964 h 4343113"/>
              <a:gd name="connsiteX466" fmla="*/ 6357485 w 6666359"/>
              <a:gd name="connsiteY466" fmla="*/ 3272514 h 4343113"/>
              <a:gd name="connsiteX467" fmla="*/ 6360709 w 6666359"/>
              <a:gd name="connsiteY467" fmla="*/ 3266065 h 4343113"/>
              <a:gd name="connsiteX468" fmla="*/ 6360709 w 6666359"/>
              <a:gd name="connsiteY468" fmla="*/ 3253167 h 4343113"/>
              <a:gd name="connsiteX469" fmla="*/ 6370383 w 6666359"/>
              <a:gd name="connsiteY469" fmla="*/ 3240267 h 4343113"/>
              <a:gd name="connsiteX470" fmla="*/ 6380057 w 6666359"/>
              <a:gd name="connsiteY470" fmla="*/ 3237043 h 4343113"/>
              <a:gd name="connsiteX471" fmla="*/ 6380057 w 6666359"/>
              <a:gd name="connsiteY471" fmla="*/ 3243493 h 4343113"/>
              <a:gd name="connsiteX472" fmla="*/ 6383283 w 6666359"/>
              <a:gd name="connsiteY472" fmla="*/ 3249941 h 4343113"/>
              <a:gd name="connsiteX473" fmla="*/ 6389733 w 6666359"/>
              <a:gd name="connsiteY473" fmla="*/ 3259616 h 4343113"/>
              <a:gd name="connsiteX474" fmla="*/ 6396181 w 6666359"/>
              <a:gd name="connsiteY474" fmla="*/ 3246717 h 4343113"/>
              <a:gd name="connsiteX475" fmla="*/ 6389733 w 6666359"/>
              <a:gd name="connsiteY475" fmla="*/ 3233818 h 4343113"/>
              <a:gd name="connsiteX476" fmla="*/ 6396181 w 6666359"/>
              <a:gd name="connsiteY476" fmla="*/ 3230594 h 4343113"/>
              <a:gd name="connsiteX477" fmla="*/ 6396181 w 6666359"/>
              <a:gd name="connsiteY477" fmla="*/ 3233818 h 4343113"/>
              <a:gd name="connsiteX478" fmla="*/ 6405856 w 6666359"/>
              <a:gd name="connsiteY478" fmla="*/ 3233818 h 4343113"/>
              <a:gd name="connsiteX479" fmla="*/ 6409081 w 6666359"/>
              <a:gd name="connsiteY479" fmla="*/ 3233818 h 4343113"/>
              <a:gd name="connsiteX480" fmla="*/ 6418754 w 6666359"/>
              <a:gd name="connsiteY480" fmla="*/ 3233818 h 4343113"/>
              <a:gd name="connsiteX481" fmla="*/ 6412305 w 6666359"/>
              <a:gd name="connsiteY481" fmla="*/ 3230594 h 4343113"/>
              <a:gd name="connsiteX482" fmla="*/ 6409081 w 6666359"/>
              <a:gd name="connsiteY482" fmla="*/ 3224144 h 4343113"/>
              <a:gd name="connsiteX483" fmla="*/ 6409081 w 6666359"/>
              <a:gd name="connsiteY483" fmla="*/ 3214470 h 4343113"/>
              <a:gd name="connsiteX484" fmla="*/ 6421979 w 6666359"/>
              <a:gd name="connsiteY484" fmla="*/ 3204796 h 4343113"/>
              <a:gd name="connsiteX485" fmla="*/ 6425204 w 6666359"/>
              <a:gd name="connsiteY485" fmla="*/ 3201572 h 4343113"/>
              <a:gd name="connsiteX486" fmla="*/ 6425204 w 6666359"/>
              <a:gd name="connsiteY486" fmla="*/ 3195122 h 4343113"/>
              <a:gd name="connsiteX487" fmla="*/ 6431653 w 6666359"/>
              <a:gd name="connsiteY487" fmla="*/ 3191897 h 4343113"/>
              <a:gd name="connsiteX488" fmla="*/ 6438102 w 6666359"/>
              <a:gd name="connsiteY488" fmla="*/ 3191897 h 4343113"/>
              <a:gd name="connsiteX489" fmla="*/ 6441327 w 6666359"/>
              <a:gd name="connsiteY489" fmla="*/ 3195122 h 4343113"/>
              <a:gd name="connsiteX490" fmla="*/ 6444551 w 6666359"/>
              <a:gd name="connsiteY490" fmla="*/ 3188673 h 4343113"/>
              <a:gd name="connsiteX491" fmla="*/ 6447777 w 6666359"/>
              <a:gd name="connsiteY491" fmla="*/ 3185448 h 4343113"/>
              <a:gd name="connsiteX492" fmla="*/ 6454225 w 6666359"/>
              <a:gd name="connsiteY492" fmla="*/ 3178999 h 4343113"/>
              <a:gd name="connsiteX493" fmla="*/ 6463901 w 6666359"/>
              <a:gd name="connsiteY493" fmla="*/ 3175773 h 4343113"/>
              <a:gd name="connsiteX494" fmla="*/ 6473575 w 6666359"/>
              <a:gd name="connsiteY494" fmla="*/ 3178999 h 4343113"/>
              <a:gd name="connsiteX495" fmla="*/ 6480024 w 6666359"/>
              <a:gd name="connsiteY495" fmla="*/ 3185448 h 4343113"/>
              <a:gd name="connsiteX496" fmla="*/ 6496147 w 6666359"/>
              <a:gd name="connsiteY496" fmla="*/ 3198346 h 4343113"/>
              <a:gd name="connsiteX497" fmla="*/ 6499371 w 6666359"/>
              <a:gd name="connsiteY497" fmla="*/ 3198346 h 4343113"/>
              <a:gd name="connsiteX498" fmla="*/ 6502596 w 6666359"/>
              <a:gd name="connsiteY498" fmla="*/ 3198346 h 4343113"/>
              <a:gd name="connsiteX499" fmla="*/ 6512270 w 6666359"/>
              <a:gd name="connsiteY499" fmla="*/ 3201572 h 4343113"/>
              <a:gd name="connsiteX500" fmla="*/ 6521945 w 6666359"/>
              <a:gd name="connsiteY500" fmla="*/ 3198346 h 4343113"/>
              <a:gd name="connsiteX501" fmla="*/ 6518719 w 6666359"/>
              <a:gd name="connsiteY501" fmla="*/ 3188673 h 4343113"/>
              <a:gd name="connsiteX502" fmla="*/ 6518719 w 6666359"/>
              <a:gd name="connsiteY502" fmla="*/ 3185448 h 4343113"/>
              <a:gd name="connsiteX503" fmla="*/ 6528393 w 6666359"/>
              <a:gd name="connsiteY503" fmla="*/ 3172549 h 4343113"/>
              <a:gd name="connsiteX504" fmla="*/ 6531619 w 6666359"/>
              <a:gd name="connsiteY504" fmla="*/ 3169325 h 4343113"/>
              <a:gd name="connsiteX505" fmla="*/ 6534843 w 6666359"/>
              <a:gd name="connsiteY505" fmla="*/ 3162875 h 4343113"/>
              <a:gd name="connsiteX506" fmla="*/ 6534843 w 6666359"/>
              <a:gd name="connsiteY506" fmla="*/ 3159650 h 4343113"/>
              <a:gd name="connsiteX507" fmla="*/ 6534843 w 6666359"/>
              <a:gd name="connsiteY507" fmla="*/ 3156426 h 4343113"/>
              <a:gd name="connsiteX508" fmla="*/ 6538069 w 6666359"/>
              <a:gd name="connsiteY508" fmla="*/ 3156426 h 4343113"/>
              <a:gd name="connsiteX509" fmla="*/ 6541293 w 6666359"/>
              <a:gd name="connsiteY509" fmla="*/ 3146752 h 4343113"/>
              <a:gd name="connsiteX510" fmla="*/ 6554192 w 6666359"/>
              <a:gd name="connsiteY510" fmla="*/ 3140302 h 4343113"/>
              <a:gd name="connsiteX511" fmla="*/ 6560641 w 6666359"/>
              <a:gd name="connsiteY511" fmla="*/ 3140302 h 4343113"/>
              <a:gd name="connsiteX512" fmla="*/ 6570315 w 6666359"/>
              <a:gd name="connsiteY512" fmla="*/ 3140302 h 4343113"/>
              <a:gd name="connsiteX513" fmla="*/ 6573539 w 6666359"/>
              <a:gd name="connsiteY513" fmla="*/ 3140302 h 4343113"/>
              <a:gd name="connsiteX514" fmla="*/ 6579989 w 6666359"/>
              <a:gd name="connsiteY514" fmla="*/ 3140302 h 4343113"/>
              <a:gd name="connsiteX515" fmla="*/ 6589663 w 6666359"/>
              <a:gd name="connsiteY515" fmla="*/ 3137078 h 4343113"/>
              <a:gd name="connsiteX516" fmla="*/ 6589663 w 6666359"/>
              <a:gd name="connsiteY516" fmla="*/ 3130628 h 4343113"/>
              <a:gd name="connsiteX517" fmla="*/ 6589663 w 6666359"/>
              <a:gd name="connsiteY517" fmla="*/ 3127404 h 4343113"/>
              <a:gd name="connsiteX518" fmla="*/ 6583213 w 6666359"/>
              <a:gd name="connsiteY518" fmla="*/ 3124178 h 4343113"/>
              <a:gd name="connsiteX519" fmla="*/ 6579989 w 6666359"/>
              <a:gd name="connsiteY519" fmla="*/ 3124178 h 4343113"/>
              <a:gd name="connsiteX520" fmla="*/ 6573539 w 6666359"/>
              <a:gd name="connsiteY520" fmla="*/ 3120954 h 4343113"/>
              <a:gd name="connsiteX521" fmla="*/ 6538069 w 6666359"/>
              <a:gd name="connsiteY521" fmla="*/ 3117729 h 4343113"/>
              <a:gd name="connsiteX522" fmla="*/ 6541293 w 6666359"/>
              <a:gd name="connsiteY522" fmla="*/ 3117729 h 4343113"/>
              <a:gd name="connsiteX523" fmla="*/ 6547743 w 6666359"/>
              <a:gd name="connsiteY523" fmla="*/ 3120954 h 4343113"/>
              <a:gd name="connsiteX524" fmla="*/ 6554192 w 6666359"/>
              <a:gd name="connsiteY524" fmla="*/ 3120954 h 4343113"/>
              <a:gd name="connsiteX525" fmla="*/ 6557416 w 6666359"/>
              <a:gd name="connsiteY525" fmla="*/ 3117729 h 4343113"/>
              <a:gd name="connsiteX526" fmla="*/ 6563866 w 6666359"/>
              <a:gd name="connsiteY526" fmla="*/ 3120954 h 4343113"/>
              <a:gd name="connsiteX527" fmla="*/ 6557416 w 6666359"/>
              <a:gd name="connsiteY527" fmla="*/ 3130628 h 4343113"/>
              <a:gd name="connsiteX528" fmla="*/ 6550967 w 6666359"/>
              <a:gd name="connsiteY528" fmla="*/ 3133852 h 4343113"/>
              <a:gd name="connsiteX529" fmla="*/ 6541293 w 6666359"/>
              <a:gd name="connsiteY529" fmla="*/ 3127404 h 4343113"/>
              <a:gd name="connsiteX530" fmla="*/ 6538069 w 6666359"/>
              <a:gd name="connsiteY530" fmla="*/ 3120954 h 4343113"/>
              <a:gd name="connsiteX531" fmla="*/ 6383282 w 6666359"/>
              <a:gd name="connsiteY531" fmla="*/ 3101603 h 4343113"/>
              <a:gd name="connsiteX532" fmla="*/ 6386506 w 6666359"/>
              <a:gd name="connsiteY532" fmla="*/ 3101603 h 4343113"/>
              <a:gd name="connsiteX533" fmla="*/ 6386506 w 6666359"/>
              <a:gd name="connsiteY533" fmla="*/ 3104829 h 4343113"/>
              <a:gd name="connsiteX534" fmla="*/ 6376832 w 6666359"/>
              <a:gd name="connsiteY534" fmla="*/ 3111278 h 4343113"/>
              <a:gd name="connsiteX535" fmla="*/ 6373608 w 6666359"/>
              <a:gd name="connsiteY535" fmla="*/ 3111278 h 4343113"/>
              <a:gd name="connsiteX536" fmla="*/ 6373608 w 6666359"/>
              <a:gd name="connsiteY536" fmla="*/ 3108053 h 4343113"/>
              <a:gd name="connsiteX537" fmla="*/ 6296215 w 6666359"/>
              <a:gd name="connsiteY537" fmla="*/ 3075806 h 4343113"/>
              <a:gd name="connsiteX538" fmla="*/ 6302664 w 6666359"/>
              <a:gd name="connsiteY538" fmla="*/ 3075806 h 4343113"/>
              <a:gd name="connsiteX539" fmla="*/ 6309114 w 6666359"/>
              <a:gd name="connsiteY539" fmla="*/ 3075806 h 4343113"/>
              <a:gd name="connsiteX540" fmla="*/ 6322013 w 6666359"/>
              <a:gd name="connsiteY540" fmla="*/ 3082255 h 4343113"/>
              <a:gd name="connsiteX541" fmla="*/ 6328461 w 6666359"/>
              <a:gd name="connsiteY541" fmla="*/ 3091929 h 4343113"/>
              <a:gd name="connsiteX542" fmla="*/ 6322013 w 6666359"/>
              <a:gd name="connsiteY542" fmla="*/ 3098379 h 4343113"/>
              <a:gd name="connsiteX543" fmla="*/ 6312338 w 6666359"/>
              <a:gd name="connsiteY543" fmla="*/ 3095155 h 4343113"/>
              <a:gd name="connsiteX544" fmla="*/ 6309114 w 6666359"/>
              <a:gd name="connsiteY544" fmla="*/ 3088705 h 4343113"/>
              <a:gd name="connsiteX545" fmla="*/ 6302664 w 6666359"/>
              <a:gd name="connsiteY545" fmla="*/ 3085480 h 4343113"/>
              <a:gd name="connsiteX546" fmla="*/ 6289766 w 6666359"/>
              <a:gd name="connsiteY546" fmla="*/ 3085480 h 4343113"/>
              <a:gd name="connsiteX547" fmla="*/ 6289766 w 6666359"/>
              <a:gd name="connsiteY547" fmla="*/ 3079031 h 4343113"/>
              <a:gd name="connsiteX548" fmla="*/ 6467123 w 6666359"/>
              <a:gd name="connsiteY548" fmla="*/ 3053235 h 4343113"/>
              <a:gd name="connsiteX549" fmla="*/ 6470349 w 6666359"/>
              <a:gd name="connsiteY549" fmla="*/ 3056460 h 4343113"/>
              <a:gd name="connsiteX550" fmla="*/ 6463899 w 6666359"/>
              <a:gd name="connsiteY550" fmla="*/ 3062910 h 4343113"/>
              <a:gd name="connsiteX551" fmla="*/ 6454225 w 6666359"/>
              <a:gd name="connsiteY551" fmla="*/ 3066134 h 4343113"/>
              <a:gd name="connsiteX552" fmla="*/ 6444551 w 6666359"/>
              <a:gd name="connsiteY552" fmla="*/ 3069358 h 4343113"/>
              <a:gd name="connsiteX553" fmla="*/ 6425203 w 6666359"/>
              <a:gd name="connsiteY553" fmla="*/ 3079033 h 4343113"/>
              <a:gd name="connsiteX554" fmla="*/ 6421979 w 6666359"/>
              <a:gd name="connsiteY554" fmla="*/ 3082256 h 4343113"/>
              <a:gd name="connsiteX555" fmla="*/ 6415530 w 6666359"/>
              <a:gd name="connsiteY555" fmla="*/ 3088706 h 4343113"/>
              <a:gd name="connsiteX556" fmla="*/ 6405856 w 6666359"/>
              <a:gd name="connsiteY556" fmla="*/ 3095156 h 4343113"/>
              <a:gd name="connsiteX557" fmla="*/ 6389733 w 6666359"/>
              <a:gd name="connsiteY557" fmla="*/ 3098380 h 4343113"/>
              <a:gd name="connsiteX558" fmla="*/ 6389733 w 6666359"/>
              <a:gd name="connsiteY558" fmla="*/ 3095156 h 4343113"/>
              <a:gd name="connsiteX559" fmla="*/ 6389733 w 6666359"/>
              <a:gd name="connsiteY559" fmla="*/ 3088706 h 4343113"/>
              <a:gd name="connsiteX560" fmla="*/ 6392957 w 6666359"/>
              <a:gd name="connsiteY560" fmla="*/ 3082256 h 4343113"/>
              <a:gd name="connsiteX561" fmla="*/ 6399405 w 6666359"/>
              <a:gd name="connsiteY561" fmla="*/ 3075808 h 4343113"/>
              <a:gd name="connsiteX562" fmla="*/ 6399407 w 6666359"/>
              <a:gd name="connsiteY562" fmla="*/ 3075807 h 4343113"/>
              <a:gd name="connsiteX563" fmla="*/ 6409079 w 6666359"/>
              <a:gd name="connsiteY563" fmla="*/ 3072584 h 4343113"/>
              <a:gd name="connsiteX564" fmla="*/ 6405856 w 6666359"/>
              <a:gd name="connsiteY564" fmla="*/ 3079032 h 4343113"/>
              <a:gd name="connsiteX565" fmla="*/ 6409081 w 6666359"/>
              <a:gd name="connsiteY565" fmla="*/ 3072583 h 4343113"/>
              <a:gd name="connsiteX566" fmla="*/ 6418754 w 6666359"/>
              <a:gd name="connsiteY566" fmla="*/ 3069357 h 4343113"/>
              <a:gd name="connsiteX567" fmla="*/ 6421979 w 6666359"/>
              <a:gd name="connsiteY567" fmla="*/ 3062910 h 4343113"/>
              <a:gd name="connsiteX568" fmla="*/ 6428427 w 6666359"/>
              <a:gd name="connsiteY568" fmla="*/ 3059684 h 4343113"/>
              <a:gd name="connsiteX569" fmla="*/ 6438102 w 6666359"/>
              <a:gd name="connsiteY569" fmla="*/ 3056460 h 4343113"/>
              <a:gd name="connsiteX570" fmla="*/ 6451000 w 6666359"/>
              <a:gd name="connsiteY570" fmla="*/ 3056460 h 4343113"/>
              <a:gd name="connsiteX571" fmla="*/ 6457449 w 6666359"/>
              <a:gd name="connsiteY571" fmla="*/ 3056460 h 4343113"/>
              <a:gd name="connsiteX572" fmla="*/ 6386507 w 6666359"/>
              <a:gd name="connsiteY572" fmla="*/ 3053234 h 4343113"/>
              <a:gd name="connsiteX573" fmla="*/ 6392957 w 6666359"/>
              <a:gd name="connsiteY573" fmla="*/ 3053234 h 4343113"/>
              <a:gd name="connsiteX574" fmla="*/ 6389733 w 6666359"/>
              <a:gd name="connsiteY574" fmla="*/ 3059683 h 4343113"/>
              <a:gd name="connsiteX575" fmla="*/ 6383283 w 6666359"/>
              <a:gd name="connsiteY575" fmla="*/ 3059683 h 4343113"/>
              <a:gd name="connsiteX576" fmla="*/ 6231721 w 6666359"/>
              <a:gd name="connsiteY576" fmla="*/ 3053233 h 4343113"/>
              <a:gd name="connsiteX577" fmla="*/ 6241395 w 6666359"/>
              <a:gd name="connsiteY577" fmla="*/ 3056458 h 4343113"/>
              <a:gd name="connsiteX578" fmla="*/ 6238171 w 6666359"/>
              <a:gd name="connsiteY578" fmla="*/ 3062908 h 4343113"/>
              <a:gd name="connsiteX579" fmla="*/ 6231721 w 6666359"/>
              <a:gd name="connsiteY579" fmla="*/ 3066132 h 4343113"/>
              <a:gd name="connsiteX580" fmla="*/ 6222047 w 6666359"/>
              <a:gd name="connsiteY580" fmla="*/ 3062908 h 4343113"/>
              <a:gd name="connsiteX581" fmla="*/ 6409081 w 6666359"/>
              <a:gd name="connsiteY581" fmla="*/ 3050009 h 4343113"/>
              <a:gd name="connsiteX582" fmla="*/ 6415530 w 6666359"/>
              <a:gd name="connsiteY582" fmla="*/ 3050009 h 4343113"/>
              <a:gd name="connsiteX583" fmla="*/ 6421979 w 6666359"/>
              <a:gd name="connsiteY583" fmla="*/ 3050009 h 4343113"/>
              <a:gd name="connsiteX584" fmla="*/ 6425204 w 6666359"/>
              <a:gd name="connsiteY584" fmla="*/ 3053234 h 4343113"/>
              <a:gd name="connsiteX585" fmla="*/ 6421979 w 6666359"/>
              <a:gd name="connsiteY585" fmla="*/ 3056459 h 4343113"/>
              <a:gd name="connsiteX586" fmla="*/ 6412305 w 6666359"/>
              <a:gd name="connsiteY586" fmla="*/ 3056459 h 4343113"/>
              <a:gd name="connsiteX587" fmla="*/ 6405856 w 6666359"/>
              <a:gd name="connsiteY587" fmla="*/ 3056459 h 4343113"/>
              <a:gd name="connsiteX588" fmla="*/ 6405856 w 6666359"/>
              <a:gd name="connsiteY588" fmla="*/ 3050009 h 4343113"/>
              <a:gd name="connsiteX589" fmla="*/ 6402631 w 6666359"/>
              <a:gd name="connsiteY589" fmla="*/ 3056459 h 4343113"/>
              <a:gd name="connsiteX590" fmla="*/ 6399407 w 6666359"/>
              <a:gd name="connsiteY590" fmla="*/ 3059683 h 4343113"/>
              <a:gd name="connsiteX591" fmla="*/ 6399407 w 6666359"/>
              <a:gd name="connsiteY591" fmla="*/ 3053234 h 4343113"/>
              <a:gd name="connsiteX592" fmla="*/ 6376832 w 6666359"/>
              <a:gd name="connsiteY592" fmla="*/ 3050008 h 4343113"/>
              <a:gd name="connsiteX593" fmla="*/ 6376832 w 6666359"/>
              <a:gd name="connsiteY593" fmla="*/ 3056458 h 4343113"/>
              <a:gd name="connsiteX594" fmla="*/ 6373608 w 6666359"/>
              <a:gd name="connsiteY594" fmla="*/ 3059682 h 4343113"/>
              <a:gd name="connsiteX595" fmla="*/ 6363934 w 6666359"/>
              <a:gd name="connsiteY595" fmla="*/ 3062908 h 4343113"/>
              <a:gd name="connsiteX596" fmla="*/ 6351035 w 6666359"/>
              <a:gd name="connsiteY596" fmla="*/ 3066132 h 4343113"/>
              <a:gd name="connsiteX597" fmla="*/ 6334911 w 6666359"/>
              <a:gd name="connsiteY597" fmla="*/ 3069356 h 4343113"/>
              <a:gd name="connsiteX598" fmla="*/ 6325237 w 6666359"/>
              <a:gd name="connsiteY598" fmla="*/ 3066132 h 4343113"/>
              <a:gd name="connsiteX599" fmla="*/ 6312338 w 6666359"/>
              <a:gd name="connsiteY599" fmla="*/ 3066132 h 4343113"/>
              <a:gd name="connsiteX600" fmla="*/ 6305889 w 6666359"/>
              <a:gd name="connsiteY600" fmla="*/ 3059682 h 4343113"/>
              <a:gd name="connsiteX601" fmla="*/ 6318787 w 6666359"/>
              <a:gd name="connsiteY601" fmla="*/ 3053233 h 4343113"/>
              <a:gd name="connsiteX602" fmla="*/ 6325237 w 6666359"/>
              <a:gd name="connsiteY602" fmla="*/ 3053233 h 4343113"/>
              <a:gd name="connsiteX603" fmla="*/ 6331687 w 6666359"/>
              <a:gd name="connsiteY603" fmla="*/ 3053233 h 4343113"/>
              <a:gd name="connsiteX604" fmla="*/ 6338135 w 6666359"/>
              <a:gd name="connsiteY604" fmla="*/ 3056458 h 4343113"/>
              <a:gd name="connsiteX605" fmla="*/ 6341361 w 6666359"/>
              <a:gd name="connsiteY605" fmla="*/ 3059682 h 4343113"/>
              <a:gd name="connsiteX606" fmla="*/ 6344585 w 6666359"/>
              <a:gd name="connsiteY606" fmla="*/ 3059682 h 4343113"/>
              <a:gd name="connsiteX607" fmla="*/ 6347811 w 6666359"/>
              <a:gd name="connsiteY607" fmla="*/ 3056458 h 4343113"/>
              <a:gd name="connsiteX608" fmla="*/ 6354259 w 6666359"/>
              <a:gd name="connsiteY608" fmla="*/ 3056458 h 4343113"/>
              <a:gd name="connsiteX609" fmla="*/ 6357485 w 6666359"/>
              <a:gd name="connsiteY609" fmla="*/ 3059682 h 4343113"/>
              <a:gd name="connsiteX610" fmla="*/ 6363934 w 6666359"/>
              <a:gd name="connsiteY610" fmla="*/ 3059682 h 4343113"/>
              <a:gd name="connsiteX611" fmla="*/ 6367159 w 6666359"/>
              <a:gd name="connsiteY611" fmla="*/ 3059682 h 4343113"/>
              <a:gd name="connsiteX612" fmla="*/ 6373608 w 6666359"/>
              <a:gd name="connsiteY612" fmla="*/ 3053233 h 4343113"/>
              <a:gd name="connsiteX613" fmla="*/ 6267193 w 6666359"/>
              <a:gd name="connsiteY613" fmla="*/ 3050008 h 4343113"/>
              <a:gd name="connsiteX614" fmla="*/ 6273643 w 6666359"/>
              <a:gd name="connsiteY614" fmla="*/ 3050008 h 4343113"/>
              <a:gd name="connsiteX615" fmla="*/ 6289766 w 6666359"/>
              <a:gd name="connsiteY615" fmla="*/ 3053233 h 4343113"/>
              <a:gd name="connsiteX616" fmla="*/ 6289766 w 6666359"/>
              <a:gd name="connsiteY616" fmla="*/ 3059682 h 4343113"/>
              <a:gd name="connsiteX617" fmla="*/ 6292991 w 6666359"/>
              <a:gd name="connsiteY617" fmla="*/ 3059682 h 4343113"/>
              <a:gd name="connsiteX618" fmla="*/ 6289766 w 6666359"/>
              <a:gd name="connsiteY618" fmla="*/ 3062908 h 4343113"/>
              <a:gd name="connsiteX619" fmla="*/ 6286541 w 6666359"/>
              <a:gd name="connsiteY619" fmla="*/ 3066132 h 4343113"/>
              <a:gd name="connsiteX620" fmla="*/ 6276867 w 6666359"/>
              <a:gd name="connsiteY620" fmla="*/ 3066132 h 4343113"/>
              <a:gd name="connsiteX621" fmla="*/ 6251069 w 6666359"/>
              <a:gd name="connsiteY621" fmla="*/ 3069356 h 4343113"/>
              <a:gd name="connsiteX622" fmla="*/ 6244619 w 6666359"/>
              <a:gd name="connsiteY622" fmla="*/ 3072582 h 4343113"/>
              <a:gd name="connsiteX623" fmla="*/ 6241395 w 6666359"/>
              <a:gd name="connsiteY623" fmla="*/ 3066132 h 4343113"/>
              <a:gd name="connsiteX624" fmla="*/ 6244619 w 6666359"/>
              <a:gd name="connsiteY624" fmla="*/ 3059682 h 4343113"/>
              <a:gd name="connsiteX625" fmla="*/ 6251069 w 6666359"/>
              <a:gd name="connsiteY625" fmla="*/ 3056458 h 4343113"/>
              <a:gd name="connsiteX626" fmla="*/ 6260743 w 6666359"/>
              <a:gd name="connsiteY626" fmla="*/ 3062908 h 4343113"/>
              <a:gd name="connsiteX627" fmla="*/ 6270417 w 6666359"/>
              <a:gd name="connsiteY627" fmla="*/ 3062908 h 4343113"/>
              <a:gd name="connsiteX628" fmla="*/ 6270417 w 6666359"/>
              <a:gd name="connsiteY628" fmla="*/ 3059682 h 4343113"/>
              <a:gd name="connsiteX629" fmla="*/ 6267193 w 6666359"/>
              <a:gd name="connsiteY629" fmla="*/ 3056458 h 4343113"/>
              <a:gd name="connsiteX630" fmla="*/ 6263969 w 6666359"/>
              <a:gd name="connsiteY630" fmla="*/ 3053233 h 4343113"/>
              <a:gd name="connsiteX631" fmla="*/ 6205924 w 6666359"/>
              <a:gd name="connsiteY631" fmla="*/ 3046784 h 4343113"/>
              <a:gd name="connsiteX632" fmla="*/ 6218823 w 6666359"/>
              <a:gd name="connsiteY632" fmla="*/ 3056458 h 4343113"/>
              <a:gd name="connsiteX633" fmla="*/ 6209149 w 6666359"/>
              <a:gd name="connsiteY633" fmla="*/ 3062908 h 4343113"/>
              <a:gd name="connsiteX634" fmla="*/ 6205924 w 6666359"/>
              <a:gd name="connsiteY634" fmla="*/ 3062908 h 4343113"/>
              <a:gd name="connsiteX635" fmla="*/ 6199475 w 6666359"/>
              <a:gd name="connsiteY635" fmla="*/ 3059682 h 4343113"/>
              <a:gd name="connsiteX636" fmla="*/ 6193025 w 6666359"/>
              <a:gd name="connsiteY636" fmla="*/ 3053233 h 4343113"/>
              <a:gd name="connsiteX637" fmla="*/ 6189801 w 6666359"/>
              <a:gd name="connsiteY637" fmla="*/ 3050008 h 4343113"/>
              <a:gd name="connsiteX638" fmla="*/ 6202699 w 6666359"/>
              <a:gd name="connsiteY638" fmla="*/ 3050008 h 4343113"/>
              <a:gd name="connsiteX639" fmla="*/ 6454227 w 6666359"/>
              <a:gd name="connsiteY639" fmla="*/ 3037110 h 4343113"/>
              <a:gd name="connsiteX640" fmla="*/ 6460675 w 6666359"/>
              <a:gd name="connsiteY640" fmla="*/ 3040336 h 4343113"/>
              <a:gd name="connsiteX641" fmla="*/ 6457451 w 6666359"/>
              <a:gd name="connsiteY641" fmla="*/ 3043560 h 4343113"/>
              <a:gd name="connsiteX642" fmla="*/ 6441327 w 6666359"/>
              <a:gd name="connsiteY642" fmla="*/ 3046785 h 4343113"/>
              <a:gd name="connsiteX643" fmla="*/ 6441327 w 6666359"/>
              <a:gd name="connsiteY643" fmla="*/ 3040336 h 4343113"/>
              <a:gd name="connsiteX644" fmla="*/ 6451001 w 6666359"/>
              <a:gd name="connsiteY644" fmla="*/ 3040336 h 4343113"/>
              <a:gd name="connsiteX645" fmla="*/ 6567090 w 6666359"/>
              <a:gd name="connsiteY645" fmla="*/ 3027436 h 4343113"/>
              <a:gd name="connsiteX646" fmla="*/ 6563866 w 6666359"/>
              <a:gd name="connsiteY646" fmla="*/ 3040336 h 4343113"/>
              <a:gd name="connsiteX647" fmla="*/ 6560641 w 6666359"/>
              <a:gd name="connsiteY647" fmla="*/ 3046785 h 4343113"/>
              <a:gd name="connsiteX648" fmla="*/ 6554192 w 6666359"/>
              <a:gd name="connsiteY648" fmla="*/ 3046785 h 4343113"/>
              <a:gd name="connsiteX649" fmla="*/ 6554192 w 6666359"/>
              <a:gd name="connsiteY649" fmla="*/ 3043560 h 4343113"/>
              <a:gd name="connsiteX650" fmla="*/ 6557416 w 6666359"/>
              <a:gd name="connsiteY650" fmla="*/ 3040336 h 4343113"/>
              <a:gd name="connsiteX651" fmla="*/ 6157553 w 6666359"/>
              <a:gd name="connsiteY651" fmla="*/ 3024211 h 4343113"/>
              <a:gd name="connsiteX652" fmla="*/ 6170451 w 6666359"/>
              <a:gd name="connsiteY652" fmla="*/ 3024211 h 4343113"/>
              <a:gd name="connsiteX653" fmla="*/ 6180127 w 6666359"/>
              <a:gd name="connsiteY653" fmla="*/ 3024211 h 4343113"/>
              <a:gd name="connsiteX654" fmla="*/ 6180127 w 6666359"/>
              <a:gd name="connsiteY654" fmla="*/ 3027435 h 4343113"/>
              <a:gd name="connsiteX655" fmla="*/ 6160778 w 6666359"/>
              <a:gd name="connsiteY655" fmla="*/ 3030661 h 4343113"/>
              <a:gd name="connsiteX656" fmla="*/ 6151104 w 6666359"/>
              <a:gd name="connsiteY656" fmla="*/ 3027435 h 4343113"/>
              <a:gd name="connsiteX657" fmla="*/ 6621911 w 6666359"/>
              <a:gd name="connsiteY657" fmla="*/ 3008089 h 4343113"/>
              <a:gd name="connsiteX658" fmla="*/ 6628359 w 6666359"/>
              <a:gd name="connsiteY658" fmla="*/ 3014538 h 4343113"/>
              <a:gd name="connsiteX659" fmla="*/ 6625135 w 6666359"/>
              <a:gd name="connsiteY659" fmla="*/ 3024212 h 4343113"/>
              <a:gd name="connsiteX660" fmla="*/ 6618685 w 6666359"/>
              <a:gd name="connsiteY660" fmla="*/ 3017762 h 4343113"/>
              <a:gd name="connsiteX661" fmla="*/ 6005993 w 6666359"/>
              <a:gd name="connsiteY661" fmla="*/ 3001638 h 4343113"/>
              <a:gd name="connsiteX662" fmla="*/ 6022116 w 6666359"/>
              <a:gd name="connsiteY662" fmla="*/ 3004863 h 4343113"/>
              <a:gd name="connsiteX663" fmla="*/ 6035015 w 6666359"/>
              <a:gd name="connsiteY663" fmla="*/ 3001638 h 4343113"/>
              <a:gd name="connsiteX664" fmla="*/ 6041465 w 6666359"/>
              <a:gd name="connsiteY664" fmla="*/ 3008087 h 4343113"/>
              <a:gd name="connsiteX665" fmla="*/ 6051139 w 6666359"/>
              <a:gd name="connsiteY665" fmla="*/ 3008087 h 4343113"/>
              <a:gd name="connsiteX666" fmla="*/ 6054363 w 6666359"/>
              <a:gd name="connsiteY666" fmla="*/ 3008087 h 4343113"/>
              <a:gd name="connsiteX667" fmla="*/ 6057588 w 6666359"/>
              <a:gd name="connsiteY667" fmla="*/ 3011312 h 4343113"/>
              <a:gd name="connsiteX668" fmla="*/ 6060813 w 6666359"/>
              <a:gd name="connsiteY668" fmla="*/ 3017761 h 4343113"/>
              <a:gd name="connsiteX669" fmla="*/ 6067262 w 6666359"/>
              <a:gd name="connsiteY669" fmla="*/ 3020987 h 4343113"/>
              <a:gd name="connsiteX670" fmla="*/ 6083385 w 6666359"/>
              <a:gd name="connsiteY670" fmla="*/ 3024211 h 4343113"/>
              <a:gd name="connsiteX671" fmla="*/ 6099509 w 6666359"/>
              <a:gd name="connsiteY671" fmla="*/ 3024211 h 4343113"/>
              <a:gd name="connsiteX672" fmla="*/ 6105959 w 6666359"/>
              <a:gd name="connsiteY672" fmla="*/ 3017761 h 4343113"/>
              <a:gd name="connsiteX673" fmla="*/ 6109183 w 6666359"/>
              <a:gd name="connsiteY673" fmla="*/ 3017761 h 4343113"/>
              <a:gd name="connsiteX674" fmla="*/ 6115633 w 6666359"/>
              <a:gd name="connsiteY674" fmla="*/ 3014537 h 4343113"/>
              <a:gd name="connsiteX675" fmla="*/ 6131756 w 6666359"/>
              <a:gd name="connsiteY675" fmla="*/ 3020987 h 4343113"/>
              <a:gd name="connsiteX676" fmla="*/ 6141430 w 6666359"/>
              <a:gd name="connsiteY676" fmla="*/ 3024211 h 4343113"/>
              <a:gd name="connsiteX677" fmla="*/ 6147879 w 6666359"/>
              <a:gd name="connsiteY677" fmla="*/ 3027435 h 4343113"/>
              <a:gd name="connsiteX678" fmla="*/ 6151104 w 6666359"/>
              <a:gd name="connsiteY678" fmla="*/ 3030661 h 4343113"/>
              <a:gd name="connsiteX679" fmla="*/ 6154328 w 6666359"/>
              <a:gd name="connsiteY679" fmla="*/ 3037110 h 4343113"/>
              <a:gd name="connsiteX680" fmla="*/ 6164003 w 6666359"/>
              <a:gd name="connsiteY680" fmla="*/ 3043559 h 4343113"/>
              <a:gd name="connsiteX681" fmla="*/ 6170451 w 6666359"/>
              <a:gd name="connsiteY681" fmla="*/ 3040334 h 4343113"/>
              <a:gd name="connsiteX682" fmla="*/ 6180127 w 6666359"/>
              <a:gd name="connsiteY682" fmla="*/ 3040334 h 4343113"/>
              <a:gd name="connsiteX683" fmla="*/ 6189801 w 6666359"/>
              <a:gd name="connsiteY683" fmla="*/ 3043559 h 4343113"/>
              <a:gd name="connsiteX684" fmla="*/ 6189801 w 6666359"/>
              <a:gd name="connsiteY684" fmla="*/ 3050008 h 4343113"/>
              <a:gd name="connsiteX685" fmla="*/ 6189801 w 6666359"/>
              <a:gd name="connsiteY685" fmla="*/ 3053233 h 4343113"/>
              <a:gd name="connsiteX686" fmla="*/ 6189801 w 6666359"/>
              <a:gd name="connsiteY686" fmla="*/ 3059682 h 4343113"/>
              <a:gd name="connsiteX687" fmla="*/ 6193025 w 6666359"/>
              <a:gd name="connsiteY687" fmla="*/ 3062908 h 4343113"/>
              <a:gd name="connsiteX688" fmla="*/ 6186575 w 6666359"/>
              <a:gd name="connsiteY688" fmla="*/ 3062908 h 4343113"/>
              <a:gd name="connsiteX689" fmla="*/ 6160778 w 6666359"/>
              <a:gd name="connsiteY689" fmla="*/ 3053233 h 4343113"/>
              <a:gd name="connsiteX690" fmla="*/ 6157553 w 6666359"/>
              <a:gd name="connsiteY690" fmla="*/ 3056458 h 4343113"/>
              <a:gd name="connsiteX691" fmla="*/ 6151104 w 6666359"/>
              <a:gd name="connsiteY691" fmla="*/ 3056458 h 4343113"/>
              <a:gd name="connsiteX692" fmla="*/ 6144655 w 6666359"/>
              <a:gd name="connsiteY692" fmla="*/ 3053233 h 4343113"/>
              <a:gd name="connsiteX693" fmla="*/ 6134981 w 6666359"/>
              <a:gd name="connsiteY693" fmla="*/ 3053233 h 4343113"/>
              <a:gd name="connsiteX694" fmla="*/ 6125307 w 6666359"/>
              <a:gd name="connsiteY694" fmla="*/ 3053233 h 4343113"/>
              <a:gd name="connsiteX695" fmla="*/ 6109183 w 6666359"/>
              <a:gd name="connsiteY695" fmla="*/ 3053233 h 4343113"/>
              <a:gd name="connsiteX696" fmla="*/ 6099509 w 6666359"/>
              <a:gd name="connsiteY696" fmla="*/ 3046784 h 4343113"/>
              <a:gd name="connsiteX697" fmla="*/ 6083385 w 6666359"/>
              <a:gd name="connsiteY697" fmla="*/ 3043559 h 4343113"/>
              <a:gd name="connsiteX698" fmla="*/ 6073711 w 6666359"/>
              <a:gd name="connsiteY698" fmla="*/ 3040334 h 4343113"/>
              <a:gd name="connsiteX699" fmla="*/ 6064037 w 6666359"/>
              <a:gd name="connsiteY699" fmla="*/ 3040334 h 4343113"/>
              <a:gd name="connsiteX700" fmla="*/ 6060813 w 6666359"/>
              <a:gd name="connsiteY700" fmla="*/ 3040334 h 4343113"/>
              <a:gd name="connsiteX701" fmla="*/ 6060813 w 6666359"/>
              <a:gd name="connsiteY701" fmla="*/ 3043559 h 4343113"/>
              <a:gd name="connsiteX702" fmla="*/ 6054363 w 6666359"/>
              <a:gd name="connsiteY702" fmla="*/ 3043559 h 4343113"/>
              <a:gd name="connsiteX703" fmla="*/ 6041465 w 6666359"/>
              <a:gd name="connsiteY703" fmla="*/ 3040334 h 4343113"/>
              <a:gd name="connsiteX704" fmla="*/ 6028565 w 6666359"/>
              <a:gd name="connsiteY704" fmla="*/ 3033885 h 4343113"/>
              <a:gd name="connsiteX705" fmla="*/ 6012442 w 6666359"/>
              <a:gd name="connsiteY705" fmla="*/ 3033885 h 4343113"/>
              <a:gd name="connsiteX706" fmla="*/ 6012442 w 6666359"/>
              <a:gd name="connsiteY706" fmla="*/ 3030661 h 4343113"/>
              <a:gd name="connsiteX707" fmla="*/ 6012442 w 6666359"/>
              <a:gd name="connsiteY707" fmla="*/ 3027435 h 4343113"/>
              <a:gd name="connsiteX708" fmla="*/ 6005993 w 6666359"/>
              <a:gd name="connsiteY708" fmla="*/ 3020987 h 4343113"/>
              <a:gd name="connsiteX709" fmla="*/ 5999543 w 6666359"/>
              <a:gd name="connsiteY709" fmla="*/ 3020987 h 4343113"/>
              <a:gd name="connsiteX710" fmla="*/ 5993094 w 6666359"/>
              <a:gd name="connsiteY710" fmla="*/ 3020987 h 4343113"/>
              <a:gd name="connsiteX711" fmla="*/ 5999543 w 6666359"/>
              <a:gd name="connsiteY711" fmla="*/ 3008087 h 4343113"/>
              <a:gd name="connsiteX712" fmla="*/ 4541984 w 6666359"/>
              <a:gd name="connsiteY712" fmla="*/ 2998418 h 4343113"/>
              <a:gd name="connsiteX713" fmla="*/ 4545208 w 6666359"/>
              <a:gd name="connsiteY713" fmla="*/ 3001642 h 4343113"/>
              <a:gd name="connsiteX714" fmla="*/ 4548434 w 6666359"/>
              <a:gd name="connsiteY714" fmla="*/ 3011316 h 4343113"/>
              <a:gd name="connsiteX715" fmla="*/ 4541984 w 6666359"/>
              <a:gd name="connsiteY715" fmla="*/ 3011316 h 4343113"/>
              <a:gd name="connsiteX716" fmla="*/ 4538760 w 6666359"/>
              <a:gd name="connsiteY716" fmla="*/ 3001642 h 4343113"/>
              <a:gd name="connsiteX717" fmla="*/ 6628359 w 6666359"/>
              <a:gd name="connsiteY717" fmla="*/ 2991965 h 4343113"/>
              <a:gd name="connsiteX718" fmla="*/ 6634809 w 6666359"/>
              <a:gd name="connsiteY718" fmla="*/ 3001639 h 4343113"/>
              <a:gd name="connsiteX719" fmla="*/ 6631584 w 6666359"/>
              <a:gd name="connsiteY719" fmla="*/ 3011313 h 4343113"/>
              <a:gd name="connsiteX720" fmla="*/ 6625135 w 6666359"/>
              <a:gd name="connsiteY720" fmla="*/ 3008089 h 4343113"/>
              <a:gd name="connsiteX721" fmla="*/ 6625135 w 6666359"/>
              <a:gd name="connsiteY721" fmla="*/ 3004864 h 4343113"/>
              <a:gd name="connsiteX722" fmla="*/ 6625135 w 6666359"/>
              <a:gd name="connsiteY722" fmla="*/ 2998415 h 4343113"/>
              <a:gd name="connsiteX723" fmla="*/ 4551658 w 6666359"/>
              <a:gd name="connsiteY723" fmla="*/ 2979069 h 4343113"/>
              <a:gd name="connsiteX724" fmla="*/ 4554883 w 6666359"/>
              <a:gd name="connsiteY724" fmla="*/ 2979069 h 4343113"/>
              <a:gd name="connsiteX725" fmla="*/ 4554883 w 6666359"/>
              <a:gd name="connsiteY725" fmla="*/ 2988744 h 4343113"/>
              <a:gd name="connsiteX726" fmla="*/ 4551658 w 6666359"/>
              <a:gd name="connsiteY726" fmla="*/ 2991968 h 4343113"/>
              <a:gd name="connsiteX727" fmla="*/ 4551658 w 6666359"/>
              <a:gd name="connsiteY727" fmla="*/ 2982294 h 4343113"/>
              <a:gd name="connsiteX728" fmla="*/ 6370383 w 6666359"/>
              <a:gd name="connsiteY728" fmla="*/ 2972617 h 4343113"/>
              <a:gd name="connsiteX729" fmla="*/ 6370383 w 6666359"/>
              <a:gd name="connsiteY729" fmla="*/ 2985515 h 4343113"/>
              <a:gd name="connsiteX730" fmla="*/ 6367159 w 6666359"/>
              <a:gd name="connsiteY730" fmla="*/ 2988741 h 4343113"/>
              <a:gd name="connsiteX731" fmla="*/ 6363934 w 6666359"/>
              <a:gd name="connsiteY731" fmla="*/ 2988741 h 4343113"/>
              <a:gd name="connsiteX732" fmla="*/ 6363934 w 6666359"/>
              <a:gd name="connsiteY732" fmla="*/ 2979066 h 4343113"/>
              <a:gd name="connsiteX733" fmla="*/ 6376833 w 6666359"/>
              <a:gd name="connsiteY733" fmla="*/ 2969392 h 4343113"/>
              <a:gd name="connsiteX734" fmla="*/ 6380059 w 6666359"/>
              <a:gd name="connsiteY734" fmla="*/ 2969392 h 4343113"/>
              <a:gd name="connsiteX735" fmla="*/ 6383283 w 6666359"/>
              <a:gd name="connsiteY735" fmla="*/ 2975841 h 4343113"/>
              <a:gd name="connsiteX736" fmla="*/ 6383283 w 6666359"/>
              <a:gd name="connsiteY736" fmla="*/ 2988741 h 4343113"/>
              <a:gd name="connsiteX737" fmla="*/ 6380059 w 6666359"/>
              <a:gd name="connsiteY737" fmla="*/ 2991965 h 4343113"/>
              <a:gd name="connsiteX738" fmla="*/ 6373609 w 6666359"/>
              <a:gd name="connsiteY738" fmla="*/ 2998415 h 4343113"/>
              <a:gd name="connsiteX739" fmla="*/ 6370383 w 6666359"/>
              <a:gd name="connsiteY739" fmla="*/ 2991965 h 4343113"/>
              <a:gd name="connsiteX740" fmla="*/ 6373609 w 6666359"/>
              <a:gd name="connsiteY740" fmla="*/ 2979066 h 4343113"/>
              <a:gd name="connsiteX741" fmla="*/ 6228497 w 6666359"/>
              <a:gd name="connsiteY741" fmla="*/ 2943594 h 4343113"/>
              <a:gd name="connsiteX742" fmla="*/ 6231723 w 6666359"/>
              <a:gd name="connsiteY742" fmla="*/ 2943594 h 4343113"/>
              <a:gd name="connsiteX743" fmla="*/ 6231723 w 6666359"/>
              <a:gd name="connsiteY743" fmla="*/ 2956494 h 4343113"/>
              <a:gd name="connsiteX744" fmla="*/ 6228497 w 6666359"/>
              <a:gd name="connsiteY744" fmla="*/ 2959718 h 4343113"/>
              <a:gd name="connsiteX745" fmla="*/ 6225273 w 6666359"/>
              <a:gd name="connsiteY745" fmla="*/ 2959718 h 4343113"/>
              <a:gd name="connsiteX746" fmla="*/ 6225273 w 6666359"/>
              <a:gd name="connsiteY746" fmla="*/ 2950044 h 4343113"/>
              <a:gd name="connsiteX747" fmla="*/ 6444551 w 6666359"/>
              <a:gd name="connsiteY747" fmla="*/ 2940370 h 4343113"/>
              <a:gd name="connsiteX748" fmla="*/ 6463901 w 6666359"/>
              <a:gd name="connsiteY748" fmla="*/ 2940370 h 4343113"/>
              <a:gd name="connsiteX749" fmla="*/ 6470349 w 6666359"/>
              <a:gd name="connsiteY749" fmla="*/ 2946820 h 4343113"/>
              <a:gd name="connsiteX750" fmla="*/ 6467125 w 6666359"/>
              <a:gd name="connsiteY750" fmla="*/ 2953268 h 4343113"/>
              <a:gd name="connsiteX751" fmla="*/ 6457451 w 6666359"/>
              <a:gd name="connsiteY751" fmla="*/ 2956494 h 4343113"/>
              <a:gd name="connsiteX752" fmla="*/ 6447777 w 6666359"/>
              <a:gd name="connsiteY752" fmla="*/ 2950044 h 4343113"/>
              <a:gd name="connsiteX753" fmla="*/ 6444551 w 6666359"/>
              <a:gd name="connsiteY753" fmla="*/ 2943594 h 4343113"/>
              <a:gd name="connsiteX754" fmla="*/ 6502596 w 6666359"/>
              <a:gd name="connsiteY754" fmla="*/ 2933921 h 4343113"/>
              <a:gd name="connsiteX755" fmla="*/ 6512270 w 6666359"/>
              <a:gd name="connsiteY755" fmla="*/ 2937145 h 4343113"/>
              <a:gd name="connsiteX756" fmla="*/ 6521945 w 6666359"/>
              <a:gd name="connsiteY756" fmla="*/ 2933921 h 4343113"/>
              <a:gd name="connsiteX757" fmla="*/ 6534843 w 6666359"/>
              <a:gd name="connsiteY757" fmla="*/ 2937145 h 4343113"/>
              <a:gd name="connsiteX758" fmla="*/ 6544517 w 6666359"/>
              <a:gd name="connsiteY758" fmla="*/ 2940370 h 4343113"/>
              <a:gd name="connsiteX759" fmla="*/ 6550967 w 6666359"/>
              <a:gd name="connsiteY759" fmla="*/ 2950044 h 4343113"/>
              <a:gd name="connsiteX760" fmla="*/ 6547743 w 6666359"/>
              <a:gd name="connsiteY760" fmla="*/ 2956494 h 4343113"/>
              <a:gd name="connsiteX761" fmla="*/ 6544517 w 6666359"/>
              <a:gd name="connsiteY761" fmla="*/ 2953268 h 4343113"/>
              <a:gd name="connsiteX762" fmla="*/ 6534843 w 6666359"/>
              <a:gd name="connsiteY762" fmla="*/ 2950044 h 4343113"/>
              <a:gd name="connsiteX763" fmla="*/ 6531619 w 6666359"/>
              <a:gd name="connsiteY763" fmla="*/ 2946820 h 4343113"/>
              <a:gd name="connsiteX764" fmla="*/ 6512270 w 6666359"/>
              <a:gd name="connsiteY764" fmla="*/ 2946820 h 4343113"/>
              <a:gd name="connsiteX765" fmla="*/ 6509045 w 6666359"/>
              <a:gd name="connsiteY765" fmla="*/ 2946820 h 4343113"/>
              <a:gd name="connsiteX766" fmla="*/ 6502596 w 6666359"/>
              <a:gd name="connsiteY766" fmla="*/ 2946820 h 4343113"/>
              <a:gd name="connsiteX767" fmla="*/ 6486473 w 6666359"/>
              <a:gd name="connsiteY767" fmla="*/ 2943594 h 4343113"/>
              <a:gd name="connsiteX768" fmla="*/ 6486473 w 6666359"/>
              <a:gd name="connsiteY768" fmla="*/ 2950044 h 4343113"/>
              <a:gd name="connsiteX769" fmla="*/ 6483248 w 6666359"/>
              <a:gd name="connsiteY769" fmla="*/ 2940370 h 4343113"/>
              <a:gd name="connsiteX770" fmla="*/ 6489698 w 6666359"/>
              <a:gd name="connsiteY770" fmla="*/ 2940370 h 4343113"/>
              <a:gd name="connsiteX771" fmla="*/ 5877005 w 6666359"/>
              <a:gd name="connsiteY771" fmla="*/ 2933919 h 4343113"/>
              <a:gd name="connsiteX772" fmla="*/ 5883455 w 6666359"/>
              <a:gd name="connsiteY772" fmla="*/ 2940369 h 4343113"/>
              <a:gd name="connsiteX773" fmla="*/ 5883455 w 6666359"/>
              <a:gd name="connsiteY773" fmla="*/ 2943593 h 4343113"/>
              <a:gd name="connsiteX774" fmla="*/ 5880230 w 6666359"/>
              <a:gd name="connsiteY774" fmla="*/ 2943593 h 4343113"/>
              <a:gd name="connsiteX775" fmla="*/ 5880230 w 6666359"/>
              <a:gd name="connsiteY775" fmla="*/ 2940369 h 4343113"/>
              <a:gd name="connsiteX776" fmla="*/ 5877005 w 6666359"/>
              <a:gd name="connsiteY776" fmla="*/ 2937144 h 4343113"/>
              <a:gd name="connsiteX777" fmla="*/ 1925140 w 6666359"/>
              <a:gd name="connsiteY777" fmla="*/ 2930697 h 4343113"/>
              <a:gd name="connsiteX778" fmla="*/ 1931590 w 6666359"/>
              <a:gd name="connsiteY778" fmla="*/ 2933922 h 4343113"/>
              <a:gd name="connsiteX779" fmla="*/ 1925140 w 6666359"/>
              <a:gd name="connsiteY779" fmla="*/ 2940371 h 4343113"/>
              <a:gd name="connsiteX780" fmla="*/ 1921916 w 6666359"/>
              <a:gd name="connsiteY780" fmla="*/ 2933922 h 4343113"/>
              <a:gd name="connsiteX781" fmla="*/ 6041465 w 6666359"/>
              <a:gd name="connsiteY781" fmla="*/ 2927470 h 4343113"/>
              <a:gd name="connsiteX782" fmla="*/ 6054363 w 6666359"/>
              <a:gd name="connsiteY782" fmla="*/ 2933919 h 4343113"/>
              <a:gd name="connsiteX783" fmla="*/ 6051139 w 6666359"/>
              <a:gd name="connsiteY783" fmla="*/ 2943593 h 4343113"/>
              <a:gd name="connsiteX784" fmla="*/ 6041465 w 6666359"/>
              <a:gd name="connsiteY784" fmla="*/ 2943593 h 4343113"/>
              <a:gd name="connsiteX785" fmla="*/ 6038239 w 6666359"/>
              <a:gd name="connsiteY785" fmla="*/ 2937144 h 4343113"/>
              <a:gd name="connsiteX786" fmla="*/ 6431653 w 6666359"/>
              <a:gd name="connsiteY786" fmla="*/ 2911347 h 4343113"/>
              <a:gd name="connsiteX787" fmla="*/ 6438102 w 6666359"/>
              <a:gd name="connsiteY787" fmla="*/ 2911347 h 4343113"/>
              <a:gd name="connsiteX788" fmla="*/ 6451001 w 6666359"/>
              <a:gd name="connsiteY788" fmla="*/ 2911347 h 4343113"/>
              <a:gd name="connsiteX789" fmla="*/ 6434877 w 6666359"/>
              <a:gd name="connsiteY789" fmla="*/ 2914573 h 4343113"/>
              <a:gd name="connsiteX790" fmla="*/ 6428428 w 6666359"/>
              <a:gd name="connsiteY790" fmla="*/ 2914573 h 4343113"/>
              <a:gd name="connsiteX791" fmla="*/ 6650932 w 6666359"/>
              <a:gd name="connsiteY791" fmla="*/ 2908123 h 4343113"/>
              <a:gd name="connsiteX792" fmla="*/ 6666359 w 6666359"/>
              <a:gd name="connsiteY792" fmla="*/ 2908123 h 4343113"/>
              <a:gd name="connsiteX793" fmla="*/ 6666359 w 6666359"/>
              <a:gd name="connsiteY793" fmla="*/ 2912190 h 4343113"/>
              <a:gd name="connsiteX794" fmla="*/ 6663831 w 6666359"/>
              <a:gd name="connsiteY794" fmla="*/ 2911347 h 4343113"/>
              <a:gd name="connsiteX795" fmla="*/ 6654157 w 6666359"/>
              <a:gd name="connsiteY795" fmla="*/ 2911347 h 4343113"/>
              <a:gd name="connsiteX796" fmla="*/ 6538069 w 6666359"/>
              <a:gd name="connsiteY796" fmla="*/ 2908123 h 4343113"/>
              <a:gd name="connsiteX797" fmla="*/ 6538069 w 6666359"/>
              <a:gd name="connsiteY797" fmla="*/ 2917797 h 4343113"/>
              <a:gd name="connsiteX798" fmla="*/ 6528395 w 6666359"/>
              <a:gd name="connsiteY798" fmla="*/ 2914573 h 4343113"/>
              <a:gd name="connsiteX799" fmla="*/ 6528395 w 6666359"/>
              <a:gd name="connsiteY799" fmla="*/ 2911347 h 4343113"/>
              <a:gd name="connsiteX800" fmla="*/ 6409081 w 6666359"/>
              <a:gd name="connsiteY800" fmla="*/ 2908123 h 4343113"/>
              <a:gd name="connsiteX801" fmla="*/ 6421979 w 6666359"/>
              <a:gd name="connsiteY801" fmla="*/ 2908123 h 4343113"/>
              <a:gd name="connsiteX802" fmla="*/ 6428428 w 6666359"/>
              <a:gd name="connsiteY802" fmla="*/ 2914573 h 4343113"/>
              <a:gd name="connsiteX803" fmla="*/ 6415530 w 6666359"/>
              <a:gd name="connsiteY803" fmla="*/ 2914573 h 4343113"/>
              <a:gd name="connsiteX804" fmla="*/ 6409081 w 6666359"/>
              <a:gd name="connsiteY804" fmla="*/ 2917797 h 4343113"/>
              <a:gd name="connsiteX805" fmla="*/ 6405856 w 6666359"/>
              <a:gd name="connsiteY805" fmla="*/ 2911347 h 4343113"/>
              <a:gd name="connsiteX806" fmla="*/ 6002768 w 6666359"/>
              <a:gd name="connsiteY806" fmla="*/ 2904897 h 4343113"/>
              <a:gd name="connsiteX807" fmla="*/ 6005993 w 6666359"/>
              <a:gd name="connsiteY807" fmla="*/ 2911346 h 4343113"/>
              <a:gd name="connsiteX808" fmla="*/ 6009217 w 6666359"/>
              <a:gd name="connsiteY808" fmla="*/ 2924246 h 4343113"/>
              <a:gd name="connsiteX809" fmla="*/ 6018891 w 6666359"/>
              <a:gd name="connsiteY809" fmla="*/ 2927470 h 4343113"/>
              <a:gd name="connsiteX810" fmla="*/ 6018891 w 6666359"/>
              <a:gd name="connsiteY810" fmla="*/ 2933919 h 4343113"/>
              <a:gd name="connsiteX811" fmla="*/ 6015667 w 6666359"/>
              <a:gd name="connsiteY811" fmla="*/ 2937144 h 4343113"/>
              <a:gd name="connsiteX812" fmla="*/ 6005993 w 6666359"/>
              <a:gd name="connsiteY812" fmla="*/ 2933919 h 4343113"/>
              <a:gd name="connsiteX813" fmla="*/ 6002768 w 6666359"/>
              <a:gd name="connsiteY813" fmla="*/ 2930695 h 4343113"/>
              <a:gd name="connsiteX814" fmla="*/ 6002768 w 6666359"/>
              <a:gd name="connsiteY814" fmla="*/ 2924246 h 4343113"/>
              <a:gd name="connsiteX815" fmla="*/ 5999543 w 6666359"/>
              <a:gd name="connsiteY815" fmla="*/ 2921020 h 4343113"/>
              <a:gd name="connsiteX816" fmla="*/ 5989870 w 6666359"/>
              <a:gd name="connsiteY816" fmla="*/ 2917796 h 4343113"/>
              <a:gd name="connsiteX817" fmla="*/ 5986645 w 6666359"/>
              <a:gd name="connsiteY817" fmla="*/ 2917796 h 4343113"/>
              <a:gd name="connsiteX818" fmla="*/ 5986645 w 6666359"/>
              <a:gd name="connsiteY818" fmla="*/ 2911346 h 4343113"/>
              <a:gd name="connsiteX819" fmla="*/ 5996319 w 6666359"/>
              <a:gd name="connsiteY819" fmla="*/ 2908122 h 4343113"/>
              <a:gd name="connsiteX820" fmla="*/ 6480024 w 6666359"/>
              <a:gd name="connsiteY820" fmla="*/ 2901674 h 4343113"/>
              <a:gd name="connsiteX821" fmla="*/ 6486473 w 6666359"/>
              <a:gd name="connsiteY821" fmla="*/ 2904898 h 4343113"/>
              <a:gd name="connsiteX822" fmla="*/ 6489698 w 6666359"/>
              <a:gd name="connsiteY822" fmla="*/ 2911347 h 4343113"/>
              <a:gd name="connsiteX823" fmla="*/ 6483248 w 6666359"/>
              <a:gd name="connsiteY823" fmla="*/ 2911347 h 4343113"/>
              <a:gd name="connsiteX824" fmla="*/ 6476799 w 6666359"/>
              <a:gd name="connsiteY824" fmla="*/ 2911347 h 4343113"/>
              <a:gd name="connsiteX825" fmla="*/ 6473575 w 6666359"/>
              <a:gd name="connsiteY825" fmla="*/ 2908123 h 4343113"/>
              <a:gd name="connsiteX826" fmla="*/ 6473575 w 6666359"/>
              <a:gd name="connsiteY826" fmla="*/ 2904898 h 4343113"/>
              <a:gd name="connsiteX827" fmla="*/ 6376833 w 6666359"/>
              <a:gd name="connsiteY827" fmla="*/ 2898449 h 4343113"/>
              <a:gd name="connsiteX828" fmla="*/ 6383283 w 6666359"/>
              <a:gd name="connsiteY828" fmla="*/ 2898449 h 4343113"/>
              <a:gd name="connsiteX829" fmla="*/ 6389733 w 6666359"/>
              <a:gd name="connsiteY829" fmla="*/ 2901674 h 4343113"/>
              <a:gd name="connsiteX830" fmla="*/ 6380059 w 6666359"/>
              <a:gd name="connsiteY830" fmla="*/ 2904898 h 4343113"/>
              <a:gd name="connsiteX831" fmla="*/ 6376833 w 6666359"/>
              <a:gd name="connsiteY831" fmla="*/ 2908123 h 4343113"/>
              <a:gd name="connsiteX832" fmla="*/ 6373609 w 6666359"/>
              <a:gd name="connsiteY832" fmla="*/ 2904898 h 4343113"/>
              <a:gd name="connsiteX833" fmla="*/ 6080160 w 6666359"/>
              <a:gd name="connsiteY833" fmla="*/ 2895223 h 4343113"/>
              <a:gd name="connsiteX834" fmla="*/ 6086610 w 6666359"/>
              <a:gd name="connsiteY834" fmla="*/ 2895223 h 4343113"/>
              <a:gd name="connsiteX835" fmla="*/ 6083385 w 6666359"/>
              <a:gd name="connsiteY835" fmla="*/ 2898448 h 4343113"/>
              <a:gd name="connsiteX836" fmla="*/ 6076936 w 6666359"/>
              <a:gd name="connsiteY836" fmla="*/ 2898448 h 4343113"/>
              <a:gd name="connsiteX837" fmla="*/ 6550967 w 6666359"/>
              <a:gd name="connsiteY837" fmla="*/ 2892000 h 4343113"/>
              <a:gd name="connsiteX838" fmla="*/ 6554192 w 6666359"/>
              <a:gd name="connsiteY838" fmla="*/ 2898449 h 4343113"/>
              <a:gd name="connsiteX839" fmla="*/ 6550967 w 6666359"/>
              <a:gd name="connsiteY839" fmla="*/ 2901674 h 4343113"/>
              <a:gd name="connsiteX840" fmla="*/ 6544517 w 6666359"/>
              <a:gd name="connsiteY840" fmla="*/ 2895224 h 4343113"/>
              <a:gd name="connsiteX841" fmla="*/ 5844758 w 6666359"/>
              <a:gd name="connsiteY841" fmla="*/ 2891999 h 4343113"/>
              <a:gd name="connsiteX842" fmla="*/ 5854432 w 6666359"/>
              <a:gd name="connsiteY842" fmla="*/ 2898448 h 4343113"/>
              <a:gd name="connsiteX843" fmla="*/ 5857658 w 6666359"/>
              <a:gd name="connsiteY843" fmla="*/ 2908122 h 4343113"/>
              <a:gd name="connsiteX844" fmla="*/ 5854432 w 6666359"/>
              <a:gd name="connsiteY844" fmla="*/ 2911346 h 4343113"/>
              <a:gd name="connsiteX845" fmla="*/ 5844758 w 6666359"/>
              <a:gd name="connsiteY845" fmla="*/ 2904897 h 4343113"/>
              <a:gd name="connsiteX846" fmla="*/ 5841534 w 6666359"/>
              <a:gd name="connsiteY846" fmla="*/ 2898448 h 4343113"/>
              <a:gd name="connsiteX847" fmla="*/ 6541293 w 6666359"/>
              <a:gd name="connsiteY847" fmla="*/ 2888774 h 4343113"/>
              <a:gd name="connsiteX848" fmla="*/ 6550967 w 6666359"/>
              <a:gd name="connsiteY848" fmla="*/ 2888774 h 4343113"/>
              <a:gd name="connsiteX849" fmla="*/ 6547743 w 6666359"/>
              <a:gd name="connsiteY849" fmla="*/ 2892000 h 4343113"/>
              <a:gd name="connsiteX850" fmla="*/ 6541293 w 6666359"/>
              <a:gd name="connsiteY850" fmla="*/ 2892000 h 4343113"/>
              <a:gd name="connsiteX851" fmla="*/ 6650932 w 6666359"/>
              <a:gd name="connsiteY851" fmla="*/ 2885550 h 4343113"/>
              <a:gd name="connsiteX852" fmla="*/ 6657381 w 6666359"/>
              <a:gd name="connsiteY852" fmla="*/ 2888774 h 4343113"/>
              <a:gd name="connsiteX853" fmla="*/ 6663831 w 6666359"/>
              <a:gd name="connsiteY853" fmla="*/ 2892000 h 4343113"/>
              <a:gd name="connsiteX854" fmla="*/ 6666359 w 6666359"/>
              <a:gd name="connsiteY854" fmla="*/ 2893264 h 4343113"/>
              <a:gd name="connsiteX855" fmla="*/ 6666359 w 6666359"/>
              <a:gd name="connsiteY855" fmla="*/ 2898101 h 4343113"/>
              <a:gd name="connsiteX856" fmla="*/ 6654157 w 6666359"/>
              <a:gd name="connsiteY856" fmla="*/ 2892000 h 4343113"/>
              <a:gd name="connsiteX857" fmla="*/ 6650932 w 6666359"/>
              <a:gd name="connsiteY857" fmla="*/ 2888774 h 4343113"/>
              <a:gd name="connsiteX858" fmla="*/ 2557179 w 6666359"/>
              <a:gd name="connsiteY858" fmla="*/ 2882326 h 4343113"/>
              <a:gd name="connsiteX859" fmla="*/ 2560405 w 6666359"/>
              <a:gd name="connsiteY859" fmla="*/ 2885550 h 4343113"/>
              <a:gd name="connsiteX860" fmla="*/ 2557179 w 6666359"/>
              <a:gd name="connsiteY860" fmla="*/ 2895225 h 4343113"/>
              <a:gd name="connsiteX861" fmla="*/ 2544281 w 6666359"/>
              <a:gd name="connsiteY861" fmla="*/ 2904899 h 4343113"/>
              <a:gd name="connsiteX862" fmla="*/ 2544281 w 6666359"/>
              <a:gd name="connsiteY862" fmla="*/ 2901674 h 4343113"/>
              <a:gd name="connsiteX863" fmla="*/ 2550731 w 6666359"/>
              <a:gd name="connsiteY863" fmla="*/ 2895225 h 4343113"/>
              <a:gd name="connsiteX864" fmla="*/ 6583213 w 6666359"/>
              <a:gd name="connsiteY864" fmla="*/ 2879100 h 4343113"/>
              <a:gd name="connsiteX865" fmla="*/ 6599337 w 6666359"/>
              <a:gd name="connsiteY865" fmla="*/ 2882326 h 4343113"/>
              <a:gd name="connsiteX866" fmla="*/ 6602561 w 6666359"/>
              <a:gd name="connsiteY866" fmla="*/ 2885550 h 4343113"/>
              <a:gd name="connsiteX867" fmla="*/ 6609011 w 6666359"/>
              <a:gd name="connsiteY867" fmla="*/ 2888774 h 4343113"/>
              <a:gd name="connsiteX868" fmla="*/ 6615461 w 6666359"/>
              <a:gd name="connsiteY868" fmla="*/ 2888774 h 4343113"/>
              <a:gd name="connsiteX869" fmla="*/ 6621911 w 6666359"/>
              <a:gd name="connsiteY869" fmla="*/ 2888774 h 4343113"/>
              <a:gd name="connsiteX870" fmla="*/ 6621911 w 6666359"/>
              <a:gd name="connsiteY870" fmla="*/ 2895224 h 4343113"/>
              <a:gd name="connsiteX871" fmla="*/ 6625135 w 6666359"/>
              <a:gd name="connsiteY871" fmla="*/ 2904898 h 4343113"/>
              <a:gd name="connsiteX872" fmla="*/ 6621911 w 6666359"/>
              <a:gd name="connsiteY872" fmla="*/ 2904898 h 4343113"/>
              <a:gd name="connsiteX873" fmla="*/ 6621911 w 6666359"/>
              <a:gd name="connsiteY873" fmla="*/ 2908123 h 4343113"/>
              <a:gd name="connsiteX874" fmla="*/ 6621911 w 6666359"/>
              <a:gd name="connsiteY874" fmla="*/ 2914573 h 4343113"/>
              <a:gd name="connsiteX875" fmla="*/ 6625135 w 6666359"/>
              <a:gd name="connsiteY875" fmla="*/ 2927471 h 4343113"/>
              <a:gd name="connsiteX876" fmla="*/ 6634809 w 6666359"/>
              <a:gd name="connsiteY876" fmla="*/ 2937145 h 4343113"/>
              <a:gd name="connsiteX877" fmla="*/ 6641258 w 6666359"/>
              <a:gd name="connsiteY877" fmla="*/ 2946820 h 4343113"/>
              <a:gd name="connsiteX878" fmla="*/ 6650932 w 6666359"/>
              <a:gd name="connsiteY878" fmla="*/ 2943594 h 4343113"/>
              <a:gd name="connsiteX879" fmla="*/ 6657381 w 6666359"/>
              <a:gd name="connsiteY879" fmla="*/ 2940370 h 4343113"/>
              <a:gd name="connsiteX880" fmla="*/ 6660606 w 6666359"/>
              <a:gd name="connsiteY880" fmla="*/ 2937145 h 4343113"/>
              <a:gd name="connsiteX881" fmla="*/ 6666359 w 6666359"/>
              <a:gd name="connsiteY881" fmla="*/ 2929475 h 4343113"/>
              <a:gd name="connsiteX882" fmla="*/ 6666359 w 6666359"/>
              <a:gd name="connsiteY882" fmla="*/ 2975145 h 4343113"/>
              <a:gd name="connsiteX883" fmla="*/ 6663831 w 6666359"/>
              <a:gd name="connsiteY883" fmla="*/ 2972617 h 4343113"/>
              <a:gd name="connsiteX884" fmla="*/ 6660606 w 6666359"/>
              <a:gd name="connsiteY884" fmla="*/ 2969392 h 4343113"/>
              <a:gd name="connsiteX885" fmla="*/ 6650932 w 6666359"/>
              <a:gd name="connsiteY885" fmla="*/ 2969392 h 4343113"/>
              <a:gd name="connsiteX886" fmla="*/ 6644483 w 6666359"/>
              <a:gd name="connsiteY886" fmla="*/ 2969392 h 4343113"/>
              <a:gd name="connsiteX887" fmla="*/ 6641258 w 6666359"/>
              <a:gd name="connsiteY887" fmla="*/ 2969392 h 4343113"/>
              <a:gd name="connsiteX888" fmla="*/ 6634809 w 6666359"/>
              <a:gd name="connsiteY888" fmla="*/ 2966168 h 4343113"/>
              <a:gd name="connsiteX889" fmla="*/ 6631584 w 6666359"/>
              <a:gd name="connsiteY889" fmla="*/ 2962942 h 4343113"/>
              <a:gd name="connsiteX890" fmla="*/ 6618685 w 6666359"/>
              <a:gd name="connsiteY890" fmla="*/ 2953268 h 4343113"/>
              <a:gd name="connsiteX891" fmla="*/ 6612237 w 6666359"/>
              <a:gd name="connsiteY891" fmla="*/ 2953268 h 4343113"/>
              <a:gd name="connsiteX892" fmla="*/ 6605787 w 6666359"/>
              <a:gd name="connsiteY892" fmla="*/ 2956494 h 4343113"/>
              <a:gd name="connsiteX893" fmla="*/ 6602561 w 6666359"/>
              <a:gd name="connsiteY893" fmla="*/ 2959718 h 4343113"/>
              <a:gd name="connsiteX894" fmla="*/ 6596113 w 6666359"/>
              <a:gd name="connsiteY894" fmla="*/ 2962942 h 4343113"/>
              <a:gd name="connsiteX895" fmla="*/ 6592887 w 6666359"/>
              <a:gd name="connsiteY895" fmla="*/ 2953268 h 4343113"/>
              <a:gd name="connsiteX896" fmla="*/ 6592887 w 6666359"/>
              <a:gd name="connsiteY896" fmla="*/ 2950044 h 4343113"/>
              <a:gd name="connsiteX897" fmla="*/ 6592887 w 6666359"/>
              <a:gd name="connsiteY897" fmla="*/ 2946820 h 4343113"/>
              <a:gd name="connsiteX898" fmla="*/ 6583213 w 6666359"/>
              <a:gd name="connsiteY898" fmla="*/ 2937145 h 4343113"/>
              <a:gd name="connsiteX899" fmla="*/ 6576764 w 6666359"/>
              <a:gd name="connsiteY899" fmla="*/ 2937145 h 4343113"/>
              <a:gd name="connsiteX900" fmla="*/ 6573539 w 6666359"/>
              <a:gd name="connsiteY900" fmla="*/ 2933921 h 4343113"/>
              <a:gd name="connsiteX901" fmla="*/ 6583213 w 6666359"/>
              <a:gd name="connsiteY901" fmla="*/ 2930696 h 4343113"/>
              <a:gd name="connsiteX902" fmla="*/ 6596113 w 6666359"/>
              <a:gd name="connsiteY902" fmla="*/ 2927471 h 4343113"/>
              <a:gd name="connsiteX903" fmla="*/ 6602561 w 6666359"/>
              <a:gd name="connsiteY903" fmla="*/ 2924247 h 4343113"/>
              <a:gd name="connsiteX904" fmla="*/ 6615461 w 6666359"/>
              <a:gd name="connsiteY904" fmla="*/ 2930696 h 4343113"/>
              <a:gd name="connsiteX905" fmla="*/ 6615461 w 6666359"/>
              <a:gd name="connsiteY905" fmla="*/ 2917797 h 4343113"/>
              <a:gd name="connsiteX906" fmla="*/ 6612237 w 6666359"/>
              <a:gd name="connsiteY906" fmla="*/ 2921021 h 4343113"/>
              <a:gd name="connsiteX907" fmla="*/ 6605787 w 6666359"/>
              <a:gd name="connsiteY907" fmla="*/ 2921021 h 4343113"/>
              <a:gd name="connsiteX908" fmla="*/ 6596113 w 6666359"/>
              <a:gd name="connsiteY908" fmla="*/ 2921021 h 4343113"/>
              <a:gd name="connsiteX909" fmla="*/ 6592887 w 6666359"/>
              <a:gd name="connsiteY909" fmla="*/ 2921021 h 4343113"/>
              <a:gd name="connsiteX910" fmla="*/ 6589663 w 6666359"/>
              <a:gd name="connsiteY910" fmla="*/ 2921021 h 4343113"/>
              <a:gd name="connsiteX911" fmla="*/ 6583213 w 6666359"/>
              <a:gd name="connsiteY911" fmla="*/ 2921021 h 4343113"/>
              <a:gd name="connsiteX912" fmla="*/ 6576764 w 6666359"/>
              <a:gd name="connsiteY912" fmla="*/ 2917797 h 4343113"/>
              <a:gd name="connsiteX913" fmla="*/ 6573539 w 6666359"/>
              <a:gd name="connsiteY913" fmla="*/ 2911347 h 4343113"/>
              <a:gd name="connsiteX914" fmla="*/ 6570315 w 6666359"/>
              <a:gd name="connsiteY914" fmla="*/ 2908123 h 4343113"/>
              <a:gd name="connsiteX915" fmla="*/ 6560641 w 6666359"/>
              <a:gd name="connsiteY915" fmla="*/ 2904898 h 4343113"/>
              <a:gd name="connsiteX916" fmla="*/ 6550967 w 6666359"/>
              <a:gd name="connsiteY916" fmla="*/ 2901674 h 4343113"/>
              <a:gd name="connsiteX917" fmla="*/ 6563866 w 6666359"/>
              <a:gd name="connsiteY917" fmla="*/ 2892000 h 4343113"/>
              <a:gd name="connsiteX918" fmla="*/ 6573539 w 6666359"/>
              <a:gd name="connsiteY918" fmla="*/ 2882326 h 4343113"/>
              <a:gd name="connsiteX919" fmla="*/ 6476799 w 6666359"/>
              <a:gd name="connsiteY919" fmla="*/ 2879100 h 4343113"/>
              <a:gd name="connsiteX920" fmla="*/ 6483248 w 6666359"/>
              <a:gd name="connsiteY920" fmla="*/ 2888774 h 4343113"/>
              <a:gd name="connsiteX921" fmla="*/ 6480024 w 6666359"/>
              <a:gd name="connsiteY921" fmla="*/ 2892000 h 4343113"/>
              <a:gd name="connsiteX922" fmla="*/ 6473575 w 6666359"/>
              <a:gd name="connsiteY922" fmla="*/ 2888774 h 4343113"/>
              <a:gd name="connsiteX923" fmla="*/ 6470349 w 6666359"/>
              <a:gd name="connsiteY923" fmla="*/ 2882326 h 4343113"/>
              <a:gd name="connsiteX924" fmla="*/ 6547743 w 6666359"/>
              <a:gd name="connsiteY924" fmla="*/ 2872651 h 4343113"/>
              <a:gd name="connsiteX925" fmla="*/ 6560641 w 6666359"/>
              <a:gd name="connsiteY925" fmla="*/ 2875876 h 4343113"/>
              <a:gd name="connsiteX926" fmla="*/ 6557416 w 6666359"/>
              <a:gd name="connsiteY926" fmla="*/ 2882326 h 4343113"/>
              <a:gd name="connsiteX927" fmla="*/ 6547743 w 6666359"/>
              <a:gd name="connsiteY927" fmla="*/ 2875876 h 4343113"/>
              <a:gd name="connsiteX928" fmla="*/ 6550967 w 6666359"/>
              <a:gd name="connsiteY928" fmla="*/ 2879100 h 4343113"/>
              <a:gd name="connsiteX929" fmla="*/ 6544517 w 6666359"/>
              <a:gd name="connsiteY929" fmla="*/ 2882326 h 4343113"/>
              <a:gd name="connsiteX930" fmla="*/ 6534843 w 6666359"/>
              <a:gd name="connsiteY930" fmla="*/ 2875876 h 4343113"/>
              <a:gd name="connsiteX931" fmla="*/ 6538069 w 6666359"/>
              <a:gd name="connsiteY931" fmla="*/ 2875876 h 4343113"/>
              <a:gd name="connsiteX932" fmla="*/ 6541293 w 6666359"/>
              <a:gd name="connsiteY932" fmla="*/ 2875876 h 4343113"/>
              <a:gd name="connsiteX933" fmla="*/ 5973747 w 6666359"/>
              <a:gd name="connsiteY933" fmla="*/ 2872651 h 4343113"/>
              <a:gd name="connsiteX934" fmla="*/ 5983420 w 6666359"/>
              <a:gd name="connsiteY934" fmla="*/ 2879099 h 4343113"/>
              <a:gd name="connsiteX935" fmla="*/ 5973747 w 6666359"/>
              <a:gd name="connsiteY935" fmla="*/ 2879099 h 4343113"/>
              <a:gd name="connsiteX936" fmla="*/ 5970521 w 6666359"/>
              <a:gd name="connsiteY936" fmla="*/ 2875875 h 4343113"/>
              <a:gd name="connsiteX937" fmla="*/ 1676839 w 6666359"/>
              <a:gd name="connsiteY937" fmla="*/ 2869428 h 4343113"/>
              <a:gd name="connsiteX938" fmla="*/ 1686514 w 6666359"/>
              <a:gd name="connsiteY938" fmla="*/ 2882327 h 4343113"/>
              <a:gd name="connsiteX939" fmla="*/ 1689738 w 6666359"/>
              <a:gd name="connsiteY939" fmla="*/ 2892001 h 4343113"/>
              <a:gd name="connsiteX940" fmla="*/ 1676839 w 6666359"/>
              <a:gd name="connsiteY940" fmla="*/ 2895226 h 4343113"/>
              <a:gd name="connsiteX941" fmla="*/ 1680064 w 6666359"/>
              <a:gd name="connsiteY941" fmla="*/ 2885551 h 4343113"/>
              <a:gd name="connsiteX942" fmla="*/ 2579753 w 6666359"/>
              <a:gd name="connsiteY942" fmla="*/ 2866202 h 4343113"/>
              <a:gd name="connsiteX943" fmla="*/ 2589426 w 6666359"/>
              <a:gd name="connsiteY943" fmla="*/ 2866202 h 4343113"/>
              <a:gd name="connsiteX944" fmla="*/ 2592652 w 6666359"/>
              <a:gd name="connsiteY944" fmla="*/ 2866202 h 4343113"/>
              <a:gd name="connsiteX945" fmla="*/ 2589426 w 6666359"/>
              <a:gd name="connsiteY945" fmla="*/ 2872652 h 4343113"/>
              <a:gd name="connsiteX946" fmla="*/ 2579753 w 6666359"/>
              <a:gd name="connsiteY946" fmla="*/ 2872652 h 4343113"/>
              <a:gd name="connsiteX947" fmla="*/ 2576528 w 6666359"/>
              <a:gd name="connsiteY947" fmla="*/ 2869426 h 4343113"/>
              <a:gd name="connsiteX948" fmla="*/ 5964071 w 6666359"/>
              <a:gd name="connsiteY948" fmla="*/ 2850078 h 4343113"/>
              <a:gd name="connsiteX949" fmla="*/ 5976971 w 6666359"/>
              <a:gd name="connsiteY949" fmla="*/ 2850078 h 4343113"/>
              <a:gd name="connsiteX950" fmla="*/ 5970521 w 6666359"/>
              <a:gd name="connsiteY950" fmla="*/ 2853302 h 4343113"/>
              <a:gd name="connsiteX951" fmla="*/ 5925375 w 6666359"/>
              <a:gd name="connsiteY951" fmla="*/ 2846852 h 4343113"/>
              <a:gd name="connsiteX952" fmla="*/ 5938274 w 6666359"/>
              <a:gd name="connsiteY952" fmla="*/ 2853302 h 4343113"/>
              <a:gd name="connsiteX953" fmla="*/ 5928600 w 6666359"/>
              <a:gd name="connsiteY953" fmla="*/ 2853302 h 4343113"/>
              <a:gd name="connsiteX954" fmla="*/ 5935049 w 6666359"/>
              <a:gd name="connsiteY954" fmla="*/ 2843628 h 4343113"/>
              <a:gd name="connsiteX955" fmla="*/ 5944723 w 6666359"/>
              <a:gd name="connsiteY955" fmla="*/ 2850078 h 4343113"/>
              <a:gd name="connsiteX956" fmla="*/ 5938274 w 6666359"/>
              <a:gd name="connsiteY956" fmla="*/ 2850078 h 4343113"/>
              <a:gd name="connsiteX957" fmla="*/ 5812511 w 6666359"/>
              <a:gd name="connsiteY957" fmla="*/ 2840404 h 4343113"/>
              <a:gd name="connsiteX958" fmla="*/ 5818961 w 6666359"/>
              <a:gd name="connsiteY958" fmla="*/ 2840404 h 4343113"/>
              <a:gd name="connsiteX959" fmla="*/ 5828635 w 6666359"/>
              <a:gd name="connsiteY959" fmla="*/ 2853302 h 4343113"/>
              <a:gd name="connsiteX960" fmla="*/ 5822185 w 6666359"/>
              <a:gd name="connsiteY960" fmla="*/ 2859752 h 4343113"/>
              <a:gd name="connsiteX961" fmla="*/ 5818961 w 6666359"/>
              <a:gd name="connsiteY961" fmla="*/ 2853302 h 4343113"/>
              <a:gd name="connsiteX962" fmla="*/ 5812511 w 6666359"/>
              <a:gd name="connsiteY962" fmla="*/ 2843628 h 4343113"/>
              <a:gd name="connsiteX963" fmla="*/ 6421979 w 6666359"/>
              <a:gd name="connsiteY963" fmla="*/ 2833955 h 4343113"/>
              <a:gd name="connsiteX964" fmla="*/ 6425204 w 6666359"/>
              <a:gd name="connsiteY964" fmla="*/ 2840405 h 4343113"/>
              <a:gd name="connsiteX965" fmla="*/ 6425204 w 6666359"/>
              <a:gd name="connsiteY965" fmla="*/ 2843629 h 4343113"/>
              <a:gd name="connsiteX966" fmla="*/ 6415530 w 6666359"/>
              <a:gd name="connsiteY966" fmla="*/ 2853303 h 4343113"/>
              <a:gd name="connsiteX967" fmla="*/ 6405856 w 6666359"/>
              <a:gd name="connsiteY967" fmla="*/ 2862977 h 4343113"/>
              <a:gd name="connsiteX968" fmla="*/ 6402631 w 6666359"/>
              <a:gd name="connsiteY968" fmla="*/ 2862977 h 4343113"/>
              <a:gd name="connsiteX969" fmla="*/ 6396181 w 6666359"/>
              <a:gd name="connsiteY969" fmla="*/ 2866202 h 4343113"/>
              <a:gd name="connsiteX970" fmla="*/ 6383283 w 6666359"/>
              <a:gd name="connsiteY970" fmla="*/ 2866202 h 4343113"/>
              <a:gd name="connsiteX971" fmla="*/ 6380059 w 6666359"/>
              <a:gd name="connsiteY971" fmla="*/ 2862977 h 4343113"/>
              <a:gd name="connsiteX972" fmla="*/ 6373609 w 6666359"/>
              <a:gd name="connsiteY972" fmla="*/ 2862977 h 4343113"/>
              <a:gd name="connsiteX973" fmla="*/ 6360709 w 6666359"/>
              <a:gd name="connsiteY973" fmla="*/ 2862977 h 4343113"/>
              <a:gd name="connsiteX974" fmla="*/ 6351036 w 6666359"/>
              <a:gd name="connsiteY974" fmla="*/ 2862977 h 4343113"/>
              <a:gd name="connsiteX975" fmla="*/ 6347811 w 6666359"/>
              <a:gd name="connsiteY975" fmla="*/ 2859753 h 4343113"/>
              <a:gd name="connsiteX976" fmla="*/ 6341362 w 6666359"/>
              <a:gd name="connsiteY976" fmla="*/ 2862977 h 4343113"/>
              <a:gd name="connsiteX977" fmla="*/ 6334913 w 6666359"/>
              <a:gd name="connsiteY977" fmla="*/ 2862977 h 4343113"/>
              <a:gd name="connsiteX978" fmla="*/ 6328463 w 6666359"/>
              <a:gd name="connsiteY978" fmla="*/ 2859753 h 4343113"/>
              <a:gd name="connsiteX979" fmla="*/ 6318789 w 6666359"/>
              <a:gd name="connsiteY979" fmla="*/ 2862977 h 4343113"/>
              <a:gd name="connsiteX980" fmla="*/ 6312339 w 6666359"/>
              <a:gd name="connsiteY980" fmla="*/ 2872651 h 4343113"/>
              <a:gd name="connsiteX981" fmla="*/ 6312339 w 6666359"/>
              <a:gd name="connsiteY981" fmla="*/ 2885550 h 4343113"/>
              <a:gd name="connsiteX982" fmla="*/ 6318789 w 6666359"/>
              <a:gd name="connsiteY982" fmla="*/ 2892000 h 4343113"/>
              <a:gd name="connsiteX983" fmla="*/ 6325239 w 6666359"/>
              <a:gd name="connsiteY983" fmla="*/ 2898449 h 4343113"/>
              <a:gd name="connsiteX984" fmla="*/ 6328463 w 6666359"/>
              <a:gd name="connsiteY984" fmla="*/ 2901674 h 4343113"/>
              <a:gd name="connsiteX985" fmla="*/ 6338137 w 6666359"/>
              <a:gd name="connsiteY985" fmla="*/ 2898449 h 4343113"/>
              <a:gd name="connsiteX986" fmla="*/ 6344586 w 6666359"/>
              <a:gd name="connsiteY986" fmla="*/ 2892000 h 4343113"/>
              <a:gd name="connsiteX987" fmla="*/ 6347811 w 6666359"/>
              <a:gd name="connsiteY987" fmla="*/ 2888774 h 4343113"/>
              <a:gd name="connsiteX988" fmla="*/ 6367159 w 6666359"/>
              <a:gd name="connsiteY988" fmla="*/ 2888774 h 4343113"/>
              <a:gd name="connsiteX989" fmla="*/ 6373609 w 6666359"/>
              <a:gd name="connsiteY989" fmla="*/ 2885550 h 4343113"/>
              <a:gd name="connsiteX990" fmla="*/ 6376833 w 6666359"/>
              <a:gd name="connsiteY990" fmla="*/ 2885550 h 4343113"/>
              <a:gd name="connsiteX991" fmla="*/ 6380059 w 6666359"/>
              <a:gd name="connsiteY991" fmla="*/ 2885550 h 4343113"/>
              <a:gd name="connsiteX992" fmla="*/ 6386507 w 6666359"/>
              <a:gd name="connsiteY992" fmla="*/ 2892000 h 4343113"/>
              <a:gd name="connsiteX993" fmla="*/ 6383283 w 6666359"/>
              <a:gd name="connsiteY993" fmla="*/ 2895224 h 4343113"/>
              <a:gd name="connsiteX994" fmla="*/ 6380059 w 6666359"/>
              <a:gd name="connsiteY994" fmla="*/ 2892000 h 4343113"/>
              <a:gd name="connsiteX995" fmla="*/ 6376833 w 6666359"/>
              <a:gd name="connsiteY995" fmla="*/ 2892000 h 4343113"/>
              <a:gd name="connsiteX996" fmla="*/ 6373609 w 6666359"/>
              <a:gd name="connsiteY996" fmla="*/ 2892000 h 4343113"/>
              <a:gd name="connsiteX997" fmla="*/ 6351036 w 6666359"/>
              <a:gd name="connsiteY997" fmla="*/ 2908123 h 4343113"/>
              <a:gd name="connsiteX998" fmla="*/ 6344586 w 6666359"/>
              <a:gd name="connsiteY998" fmla="*/ 2914573 h 4343113"/>
              <a:gd name="connsiteX999" fmla="*/ 6354260 w 6666359"/>
              <a:gd name="connsiteY999" fmla="*/ 2927471 h 4343113"/>
              <a:gd name="connsiteX1000" fmla="*/ 6360709 w 6666359"/>
              <a:gd name="connsiteY1000" fmla="*/ 2933921 h 4343113"/>
              <a:gd name="connsiteX1001" fmla="*/ 6363934 w 6666359"/>
              <a:gd name="connsiteY1001" fmla="*/ 2943594 h 4343113"/>
              <a:gd name="connsiteX1002" fmla="*/ 6360709 w 6666359"/>
              <a:gd name="connsiteY1002" fmla="*/ 2946820 h 4343113"/>
              <a:gd name="connsiteX1003" fmla="*/ 6360709 w 6666359"/>
              <a:gd name="connsiteY1003" fmla="*/ 2950044 h 4343113"/>
              <a:gd name="connsiteX1004" fmla="*/ 6363934 w 6666359"/>
              <a:gd name="connsiteY1004" fmla="*/ 2953268 h 4343113"/>
              <a:gd name="connsiteX1005" fmla="*/ 6370383 w 6666359"/>
              <a:gd name="connsiteY1005" fmla="*/ 2962942 h 4343113"/>
              <a:gd name="connsiteX1006" fmla="*/ 6373609 w 6666359"/>
              <a:gd name="connsiteY1006" fmla="*/ 2959718 h 4343113"/>
              <a:gd name="connsiteX1007" fmla="*/ 6373609 w 6666359"/>
              <a:gd name="connsiteY1007" fmla="*/ 2969392 h 4343113"/>
              <a:gd name="connsiteX1008" fmla="*/ 6370383 w 6666359"/>
              <a:gd name="connsiteY1008" fmla="*/ 2969392 h 4343113"/>
              <a:gd name="connsiteX1009" fmla="*/ 6367159 w 6666359"/>
              <a:gd name="connsiteY1009" fmla="*/ 2969392 h 4343113"/>
              <a:gd name="connsiteX1010" fmla="*/ 6357485 w 6666359"/>
              <a:gd name="connsiteY1010" fmla="*/ 2972617 h 4343113"/>
              <a:gd name="connsiteX1011" fmla="*/ 6357485 w 6666359"/>
              <a:gd name="connsiteY1011" fmla="*/ 2975841 h 4343113"/>
              <a:gd name="connsiteX1012" fmla="*/ 6347811 w 6666359"/>
              <a:gd name="connsiteY1012" fmla="*/ 2975841 h 4343113"/>
              <a:gd name="connsiteX1013" fmla="*/ 6344586 w 6666359"/>
              <a:gd name="connsiteY1013" fmla="*/ 2969392 h 4343113"/>
              <a:gd name="connsiteX1014" fmla="*/ 6344586 w 6666359"/>
              <a:gd name="connsiteY1014" fmla="*/ 2966168 h 4343113"/>
              <a:gd name="connsiteX1015" fmla="*/ 6344586 w 6666359"/>
              <a:gd name="connsiteY1015" fmla="*/ 2959718 h 4343113"/>
              <a:gd name="connsiteX1016" fmla="*/ 6334913 w 6666359"/>
              <a:gd name="connsiteY1016" fmla="*/ 2953268 h 4343113"/>
              <a:gd name="connsiteX1017" fmla="*/ 6331688 w 6666359"/>
              <a:gd name="connsiteY1017" fmla="*/ 2946820 h 4343113"/>
              <a:gd name="connsiteX1018" fmla="*/ 6334913 w 6666359"/>
              <a:gd name="connsiteY1018" fmla="*/ 2943594 h 4343113"/>
              <a:gd name="connsiteX1019" fmla="*/ 6334913 w 6666359"/>
              <a:gd name="connsiteY1019" fmla="*/ 2937145 h 4343113"/>
              <a:gd name="connsiteX1020" fmla="*/ 6334913 w 6666359"/>
              <a:gd name="connsiteY1020" fmla="*/ 2930696 h 4343113"/>
              <a:gd name="connsiteX1021" fmla="*/ 6325239 w 6666359"/>
              <a:gd name="connsiteY1021" fmla="*/ 2930696 h 4343113"/>
              <a:gd name="connsiteX1022" fmla="*/ 6315565 w 6666359"/>
              <a:gd name="connsiteY1022" fmla="*/ 2937145 h 4343113"/>
              <a:gd name="connsiteX1023" fmla="*/ 6318789 w 6666359"/>
              <a:gd name="connsiteY1023" fmla="*/ 2943594 h 4343113"/>
              <a:gd name="connsiteX1024" fmla="*/ 6318789 w 6666359"/>
              <a:gd name="connsiteY1024" fmla="*/ 2950044 h 4343113"/>
              <a:gd name="connsiteX1025" fmla="*/ 6318789 w 6666359"/>
              <a:gd name="connsiteY1025" fmla="*/ 2962942 h 4343113"/>
              <a:gd name="connsiteX1026" fmla="*/ 6318789 w 6666359"/>
              <a:gd name="connsiteY1026" fmla="*/ 2991965 h 4343113"/>
              <a:gd name="connsiteX1027" fmla="*/ 6305891 w 6666359"/>
              <a:gd name="connsiteY1027" fmla="*/ 2995189 h 4343113"/>
              <a:gd name="connsiteX1028" fmla="*/ 6296215 w 6666359"/>
              <a:gd name="connsiteY1028" fmla="*/ 2991965 h 4343113"/>
              <a:gd name="connsiteX1029" fmla="*/ 6299441 w 6666359"/>
              <a:gd name="connsiteY1029" fmla="*/ 2982291 h 4343113"/>
              <a:gd name="connsiteX1030" fmla="*/ 6302665 w 6666359"/>
              <a:gd name="connsiteY1030" fmla="*/ 2969392 h 4343113"/>
              <a:gd name="connsiteX1031" fmla="*/ 6302665 w 6666359"/>
              <a:gd name="connsiteY1031" fmla="*/ 2962942 h 4343113"/>
              <a:gd name="connsiteX1032" fmla="*/ 6299441 w 6666359"/>
              <a:gd name="connsiteY1032" fmla="*/ 2950044 h 4343113"/>
              <a:gd name="connsiteX1033" fmla="*/ 6296215 w 6666359"/>
              <a:gd name="connsiteY1033" fmla="*/ 2946820 h 4343113"/>
              <a:gd name="connsiteX1034" fmla="*/ 6289767 w 6666359"/>
              <a:gd name="connsiteY1034" fmla="*/ 2950044 h 4343113"/>
              <a:gd name="connsiteX1035" fmla="*/ 6286541 w 6666359"/>
              <a:gd name="connsiteY1035" fmla="*/ 2946820 h 4343113"/>
              <a:gd name="connsiteX1036" fmla="*/ 6286541 w 6666359"/>
              <a:gd name="connsiteY1036" fmla="*/ 2940370 h 4343113"/>
              <a:gd name="connsiteX1037" fmla="*/ 6289767 w 6666359"/>
              <a:gd name="connsiteY1037" fmla="*/ 2927471 h 4343113"/>
              <a:gd name="connsiteX1038" fmla="*/ 6292991 w 6666359"/>
              <a:gd name="connsiteY1038" fmla="*/ 2924247 h 4343113"/>
              <a:gd name="connsiteX1039" fmla="*/ 6296215 w 6666359"/>
              <a:gd name="connsiteY1039" fmla="*/ 2917797 h 4343113"/>
              <a:gd name="connsiteX1040" fmla="*/ 6296215 w 6666359"/>
              <a:gd name="connsiteY1040" fmla="*/ 2911347 h 4343113"/>
              <a:gd name="connsiteX1041" fmla="*/ 6296215 w 6666359"/>
              <a:gd name="connsiteY1041" fmla="*/ 2901674 h 4343113"/>
              <a:gd name="connsiteX1042" fmla="*/ 6302665 w 6666359"/>
              <a:gd name="connsiteY1042" fmla="*/ 2892000 h 4343113"/>
              <a:gd name="connsiteX1043" fmla="*/ 6305891 w 6666359"/>
              <a:gd name="connsiteY1043" fmla="*/ 2885550 h 4343113"/>
              <a:gd name="connsiteX1044" fmla="*/ 6309115 w 6666359"/>
              <a:gd name="connsiteY1044" fmla="*/ 2866202 h 4343113"/>
              <a:gd name="connsiteX1045" fmla="*/ 6315565 w 6666359"/>
              <a:gd name="connsiteY1045" fmla="*/ 2853303 h 4343113"/>
              <a:gd name="connsiteX1046" fmla="*/ 6318789 w 6666359"/>
              <a:gd name="connsiteY1046" fmla="*/ 2853303 h 4343113"/>
              <a:gd name="connsiteX1047" fmla="*/ 6325239 w 6666359"/>
              <a:gd name="connsiteY1047" fmla="*/ 2856528 h 4343113"/>
              <a:gd name="connsiteX1048" fmla="*/ 6328463 w 6666359"/>
              <a:gd name="connsiteY1048" fmla="*/ 2850079 h 4343113"/>
              <a:gd name="connsiteX1049" fmla="*/ 6328463 w 6666359"/>
              <a:gd name="connsiteY1049" fmla="*/ 2846853 h 4343113"/>
              <a:gd name="connsiteX1050" fmla="*/ 6334913 w 6666359"/>
              <a:gd name="connsiteY1050" fmla="*/ 2843629 h 4343113"/>
              <a:gd name="connsiteX1051" fmla="*/ 6360709 w 6666359"/>
              <a:gd name="connsiteY1051" fmla="*/ 2850079 h 4343113"/>
              <a:gd name="connsiteX1052" fmla="*/ 6367159 w 6666359"/>
              <a:gd name="connsiteY1052" fmla="*/ 2850079 h 4343113"/>
              <a:gd name="connsiteX1053" fmla="*/ 6383283 w 6666359"/>
              <a:gd name="connsiteY1053" fmla="*/ 2853303 h 4343113"/>
              <a:gd name="connsiteX1054" fmla="*/ 6392957 w 6666359"/>
              <a:gd name="connsiteY1054" fmla="*/ 2853303 h 4343113"/>
              <a:gd name="connsiteX1055" fmla="*/ 6405856 w 6666359"/>
              <a:gd name="connsiteY1055" fmla="*/ 2850079 h 4343113"/>
              <a:gd name="connsiteX1056" fmla="*/ 6405856 w 6666359"/>
              <a:gd name="connsiteY1056" fmla="*/ 2846853 h 4343113"/>
              <a:gd name="connsiteX1057" fmla="*/ 6412305 w 6666359"/>
              <a:gd name="connsiteY1057" fmla="*/ 2843629 h 4343113"/>
              <a:gd name="connsiteX1058" fmla="*/ 6418754 w 6666359"/>
              <a:gd name="connsiteY1058" fmla="*/ 2837179 h 4343113"/>
              <a:gd name="connsiteX1059" fmla="*/ 5915702 w 6666359"/>
              <a:gd name="connsiteY1059" fmla="*/ 2833954 h 4343113"/>
              <a:gd name="connsiteX1060" fmla="*/ 5922151 w 6666359"/>
              <a:gd name="connsiteY1060" fmla="*/ 2833954 h 4343113"/>
              <a:gd name="connsiteX1061" fmla="*/ 5928600 w 6666359"/>
              <a:gd name="connsiteY1061" fmla="*/ 2837178 h 4343113"/>
              <a:gd name="connsiteX1062" fmla="*/ 5928600 w 6666359"/>
              <a:gd name="connsiteY1062" fmla="*/ 2840404 h 4343113"/>
              <a:gd name="connsiteX1063" fmla="*/ 5922151 w 6666359"/>
              <a:gd name="connsiteY1063" fmla="*/ 2840404 h 4343113"/>
              <a:gd name="connsiteX1064" fmla="*/ 5906027 w 6666359"/>
              <a:gd name="connsiteY1064" fmla="*/ 2827504 h 4343113"/>
              <a:gd name="connsiteX1065" fmla="*/ 5915702 w 6666359"/>
              <a:gd name="connsiteY1065" fmla="*/ 2827504 h 4343113"/>
              <a:gd name="connsiteX1066" fmla="*/ 5909252 w 6666359"/>
              <a:gd name="connsiteY1066" fmla="*/ 2830729 h 4343113"/>
              <a:gd name="connsiteX1067" fmla="*/ 6486473 w 6666359"/>
              <a:gd name="connsiteY1067" fmla="*/ 2824281 h 4343113"/>
              <a:gd name="connsiteX1068" fmla="*/ 6486473 w 6666359"/>
              <a:gd name="connsiteY1068" fmla="*/ 2833955 h 4343113"/>
              <a:gd name="connsiteX1069" fmla="*/ 6486473 w 6666359"/>
              <a:gd name="connsiteY1069" fmla="*/ 2846853 h 4343113"/>
              <a:gd name="connsiteX1070" fmla="*/ 6480024 w 6666359"/>
              <a:gd name="connsiteY1070" fmla="*/ 2853303 h 4343113"/>
              <a:gd name="connsiteX1071" fmla="*/ 6486473 w 6666359"/>
              <a:gd name="connsiteY1071" fmla="*/ 2853303 h 4343113"/>
              <a:gd name="connsiteX1072" fmla="*/ 6489698 w 6666359"/>
              <a:gd name="connsiteY1072" fmla="*/ 2843629 h 4343113"/>
              <a:gd name="connsiteX1073" fmla="*/ 6496147 w 6666359"/>
              <a:gd name="connsiteY1073" fmla="*/ 2840405 h 4343113"/>
              <a:gd name="connsiteX1074" fmla="*/ 6502596 w 6666359"/>
              <a:gd name="connsiteY1074" fmla="*/ 2837179 h 4343113"/>
              <a:gd name="connsiteX1075" fmla="*/ 6502596 w 6666359"/>
              <a:gd name="connsiteY1075" fmla="*/ 2840405 h 4343113"/>
              <a:gd name="connsiteX1076" fmla="*/ 6502596 w 6666359"/>
              <a:gd name="connsiteY1076" fmla="*/ 2843629 h 4343113"/>
              <a:gd name="connsiteX1077" fmla="*/ 6502596 w 6666359"/>
              <a:gd name="connsiteY1077" fmla="*/ 2850079 h 4343113"/>
              <a:gd name="connsiteX1078" fmla="*/ 6496147 w 6666359"/>
              <a:gd name="connsiteY1078" fmla="*/ 2853303 h 4343113"/>
              <a:gd name="connsiteX1079" fmla="*/ 6492922 w 6666359"/>
              <a:gd name="connsiteY1079" fmla="*/ 2856528 h 4343113"/>
              <a:gd name="connsiteX1080" fmla="*/ 6496147 w 6666359"/>
              <a:gd name="connsiteY1080" fmla="*/ 2859753 h 4343113"/>
              <a:gd name="connsiteX1081" fmla="*/ 6505821 w 6666359"/>
              <a:gd name="connsiteY1081" fmla="*/ 2866202 h 4343113"/>
              <a:gd name="connsiteX1082" fmla="*/ 6499371 w 6666359"/>
              <a:gd name="connsiteY1082" fmla="*/ 2866202 h 4343113"/>
              <a:gd name="connsiteX1083" fmla="*/ 6496147 w 6666359"/>
              <a:gd name="connsiteY1083" fmla="*/ 2862977 h 4343113"/>
              <a:gd name="connsiteX1084" fmla="*/ 6486473 w 6666359"/>
              <a:gd name="connsiteY1084" fmla="*/ 2862977 h 4343113"/>
              <a:gd name="connsiteX1085" fmla="*/ 6492922 w 6666359"/>
              <a:gd name="connsiteY1085" fmla="*/ 2888774 h 4343113"/>
              <a:gd name="connsiteX1086" fmla="*/ 6480024 w 6666359"/>
              <a:gd name="connsiteY1086" fmla="*/ 2875876 h 4343113"/>
              <a:gd name="connsiteX1087" fmla="*/ 6480024 w 6666359"/>
              <a:gd name="connsiteY1087" fmla="*/ 2872651 h 4343113"/>
              <a:gd name="connsiteX1088" fmla="*/ 6476799 w 6666359"/>
              <a:gd name="connsiteY1088" fmla="*/ 2859753 h 4343113"/>
              <a:gd name="connsiteX1089" fmla="*/ 6476799 w 6666359"/>
              <a:gd name="connsiteY1089" fmla="*/ 2846853 h 4343113"/>
              <a:gd name="connsiteX1090" fmla="*/ 6480024 w 6666359"/>
              <a:gd name="connsiteY1090" fmla="*/ 2833955 h 4343113"/>
              <a:gd name="connsiteX1091" fmla="*/ 6196251 w 6666359"/>
              <a:gd name="connsiteY1091" fmla="*/ 2824281 h 4343113"/>
              <a:gd name="connsiteX1092" fmla="*/ 6196250 w 6666359"/>
              <a:gd name="connsiteY1092" fmla="*/ 2824282 h 4343113"/>
              <a:gd name="connsiteX1093" fmla="*/ 6199475 w 6666359"/>
              <a:gd name="connsiteY1093" fmla="*/ 2827504 h 4343113"/>
              <a:gd name="connsiteX1094" fmla="*/ 6499371 w 6666359"/>
              <a:gd name="connsiteY1094" fmla="*/ 2814606 h 4343113"/>
              <a:gd name="connsiteX1095" fmla="*/ 6502596 w 6666359"/>
              <a:gd name="connsiteY1095" fmla="*/ 2817832 h 4343113"/>
              <a:gd name="connsiteX1096" fmla="*/ 6499371 w 6666359"/>
              <a:gd name="connsiteY1096" fmla="*/ 2824281 h 4343113"/>
              <a:gd name="connsiteX1097" fmla="*/ 6492922 w 6666359"/>
              <a:gd name="connsiteY1097" fmla="*/ 2827506 h 4343113"/>
              <a:gd name="connsiteX1098" fmla="*/ 6492922 w 6666359"/>
              <a:gd name="connsiteY1098" fmla="*/ 2817832 h 4343113"/>
              <a:gd name="connsiteX1099" fmla="*/ 5780264 w 6666359"/>
              <a:gd name="connsiteY1099" fmla="*/ 2808157 h 4343113"/>
              <a:gd name="connsiteX1100" fmla="*/ 5783490 w 6666359"/>
              <a:gd name="connsiteY1100" fmla="*/ 2811381 h 4343113"/>
              <a:gd name="connsiteX1101" fmla="*/ 5786714 w 6666359"/>
              <a:gd name="connsiteY1101" fmla="*/ 2811381 h 4343113"/>
              <a:gd name="connsiteX1102" fmla="*/ 5793164 w 6666359"/>
              <a:gd name="connsiteY1102" fmla="*/ 2817831 h 4343113"/>
              <a:gd name="connsiteX1103" fmla="*/ 5796388 w 6666359"/>
              <a:gd name="connsiteY1103" fmla="*/ 2821055 h 4343113"/>
              <a:gd name="connsiteX1104" fmla="*/ 5789938 w 6666359"/>
              <a:gd name="connsiteY1104" fmla="*/ 2817831 h 4343113"/>
              <a:gd name="connsiteX1105" fmla="*/ 5780264 w 6666359"/>
              <a:gd name="connsiteY1105" fmla="*/ 2814605 h 4343113"/>
              <a:gd name="connsiteX1106" fmla="*/ 5780264 w 6666359"/>
              <a:gd name="connsiteY1106" fmla="*/ 2811381 h 4343113"/>
              <a:gd name="connsiteX1107" fmla="*/ 3876085 w 6666359"/>
              <a:gd name="connsiteY1107" fmla="*/ 2792036 h 4343113"/>
              <a:gd name="connsiteX1108" fmla="*/ 3876085 w 6666359"/>
              <a:gd name="connsiteY1108" fmla="*/ 2798485 h 4343113"/>
              <a:gd name="connsiteX1109" fmla="*/ 3872859 w 6666359"/>
              <a:gd name="connsiteY1109" fmla="*/ 2801710 h 4343113"/>
              <a:gd name="connsiteX1110" fmla="*/ 3866411 w 6666359"/>
              <a:gd name="connsiteY1110" fmla="*/ 2801710 h 4343113"/>
              <a:gd name="connsiteX1111" fmla="*/ 3869635 w 6666359"/>
              <a:gd name="connsiteY1111" fmla="*/ 2795261 h 4343113"/>
              <a:gd name="connsiteX1112" fmla="*/ 6051139 w 6666359"/>
              <a:gd name="connsiteY1112" fmla="*/ 2782360 h 4343113"/>
              <a:gd name="connsiteX1113" fmla="*/ 6054364 w 6666359"/>
              <a:gd name="connsiteY1113" fmla="*/ 2782360 h 4343113"/>
              <a:gd name="connsiteX1114" fmla="*/ 6057589 w 6666359"/>
              <a:gd name="connsiteY1114" fmla="*/ 2785585 h 4343113"/>
              <a:gd name="connsiteX1115" fmla="*/ 6054364 w 6666359"/>
              <a:gd name="connsiteY1115" fmla="*/ 2792034 h 4343113"/>
              <a:gd name="connsiteX1116" fmla="*/ 6051139 w 6666359"/>
              <a:gd name="connsiteY1116" fmla="*/ 2788809 h 4343113"/>
              <a:gd name="connsiteX1117" fmla="*/ 6460675 w 6666359"/>
              <a:gd name="connsiteY1117" fmla="*/ 2772685 h 4343113"/>
              <a:gd name="connsiteX1118" fmla="*/ 6460675 w 6666359"/>
              <a:gd name="connsiteY1118" fmla="*/ 2775911 h 4343113"/>
              <a:gd name="connsiteX1119" fmla="*/ 6460675 w 6666359"/>
              <a:gd name="connsiteY1119" fmla="*/ 2782360 h 4343113"/>
              <a:gd name="connsiteX1120" fmla="*/ 6457451 w 6666359"/>
              <a:gd name="connsiteY1120" fmla="*/ 2785585 h 4343113"/>
              <a:gd name="connsiteX1121" fmla="*/ 5770590 w 6666359"/>
              <a:gd name="connsiteY1121" fmla="*/ 2750112 h 4343113"/>
              <a:gd name="connsiteX1122" fmla="*/ 5780264 w 6666359"/>
              <a:gd name="connsiteY1122" fmla="*/ 2750112 h 4343113"/>
              <a:gd name="connsiteX1123" fmla="*/ 5783490 w 6666359"/>
              <a:gd name="connsiteY1123" fmla="*/ 2753336 h 4343113"/>
              <a:gd name="connsiteX1124" fmla="*/ 5786714 w 6666359"/>
              <a:gd name="connsiteY1124" fmla="*/ 2756561 h 4343113"/>
              <a:gd name="connsiteX1125" fmla="*/ 5799612 w 6666359"/>
              <a:gd name="connsiteY1125" fmla="*/ 2759786 h 4343113"/>
              <a:gd name="connsiteX1126" fmla="*/ 5802837 w 6666359"/>
              <a:gd name="connsiteY1126" fmla="*/ 2756561 h 4343113"/>
              <a:gd name="connsiteX1127" fmla="*/ 5809287 w 6666359"/>
              <a:gd name="connsiteY1127" fmla="*/ 2756561 h 4343113"/>
              <a:gd name="connsiteX1128" fmla="*/ 5818961 w 6666359"/>
              <a:gd name="connsiteY1128" fmla="*/ 2756561 h 4343113"/>
              <a:gd name="connsiteX1129" fmla="*/ 5822185 w 6666359"/>
              <a:gd name="connsiteY1129" fmla="*/ 2763010 h 4343113"/>
              <a:gd name="connsiteX1130" fmla="*/ 5831859 w 6666359"/>
              <a:gd name="connsiteY1130" fmla="*/ 2772684 h 4343113"/>
              <a:gd name="connsiteX1131" fmla="*/ 5838309 w 6666359"/>
              <a:gd name="connsiteY1131" fmla="*/ 2782359 h 4343113"/>
              <a:gd name="connsiteX1132" fmla="*/ 5851208 w 6666359"/>
              <a:gd name="connsiteY1132" fmla="*/ 2792033 h 4343113"/>
              <a:gd name="connsiteX1133" fmla="*/ 5860882 w 6666359"/>
              <a:gd name="connsiteY1133" fmla="*/ 2798483 h 4343113"/>
              <a:gd name="connsiteX1134" fmla="*/ 5870556 w 6666359"/>
              <a:gd name="connsiteY1134" fmla="*/ 2808157 h 4343113"/>
              <a:gd name="connsiteX1135" fmla="*/ 5880230 w 6666359"/>
              <a:gd name="connsiteY1135" fmla="*/ 2817831 h 4343113"/>
              <a:gd name="connsiteX1136" fmla="*/ 5889904 w 6666359"/>
              <a:gd name="connsiteY1136" fmla="*/ 2827504 h 4343113"/>
              <a:gd name="connsiteX1137" fmla="*/ 5893129 w 6666359"/>
              <a:gd name="connsiteY1137" fmla="*/ 2821055 h 4343113"/>
              <a:gd name="connsiteX1138" fmla="*/ 5896353 w 6666359"/>
              <a:gd name="connsiteY1138" fmla="*/ 2824280 h 4343113"/>
              <a:gd name="connsiteX1139" fmla="*/ 5915702 w 6666359"/>
              <a:gd name="connsiteY1139" fmla="*/ 2840404 h 4343113"/>
              <a:gd name="connsiteX1140" fmla="*/ 5922151 w 6666359"/>
              <a:gd name="connsiteY1140" fmla="*/ 2843628 h 4343113"/>
              <a:gd name="connsiteX1141" fmla="*/ 5922151 w 6666359"/>
              <a:gd name="connsiteY1141" fmla="*/ 2850078 h 4343113"/>
              <a:gd name="connsiteX1142" fmla="*/ 5931825 w 6666359"/>
              <a:gd name="connsiteY1142" fmla="*/ 2856527 h 4343113"/>
              <a:gd name="connsiteX1143" fmla="*/ 5951173 w 6666359"/>
              <a:gd name="connsiteY1143" fmla="*/ 2862976 h 4343113"/>
              <a:gd name="connsiteX1144" fmla="*/ 5957623 w 6666359"/>
              <a:gd name="connsiteY1144" fmla="*/ 2872651 h 4343113"/>
              <a:gd name="connsiteX1145" fmla="*/ 5954397 w 6666359"/>
              <a:gd name="connsiteY1145" fmla="*/ 2872651 h 4343113"/>
              <a:gd name="connsiteX1146" fmla="*/ 5951173 w 6666359"/>
              <a:gd name="connsiteY1146" fmla="*/ 2875875 h 4343113"/>
              <a:gd name="connsiteX1147" fmla="*/ 5947948 w 6666359"/>
              <a:gd name="connsiteY1147" fmla="*/ 2885549 h 4343113"/>
              <a:gd name="connsiteX1148" fmla="*/ 5954397 w 6666359"/>
              <a:gd name="connsiteY1148" fmla="*/ 2891999 h 4343113"/>
              <a:gd name="connsiteX1149" fmla="*/ 5964071 w 6666359"/>
              <a:gd name="connsiteY1149" fmla="*/ 2895223 h 4343113"/>
              <a:gd name="connsiteX1150" fmla="*/ 5970521 w 6666359"/>
              <a:gd name="connsiteY1150" fmla="*/ 2898448 h 4343113"/>
              <a:gd name="connsiteX1151" fmla="*/ 5970521 w 6666359"/>
              <a:gd name="connsiteY1151" fmla="*/ 2901672 h 4343113"/>
              <a:gd name="connsiteX1152" fmla="*/ 5973747 w 6666359"/>
              <a:gd name="connsiteY1152" fmla="*/ 2914572 h 4343113"/>
              <a:gd name="connsiteX1153" fmla="*/ 5980195 w 6666359"/>
              <a:gd name="connsiteY1153" fmla="*/ 2921020 h 4343113"/>
              <a:gd name="connsiteX1154" fmla="*/ 5989870 w 6666359"/>
              <a:gd name="connsiteY1154" fmla="*/ 2924246 h 4343113"/>
              <a:gd name="connsiteX1155" fmla="*/ 5996319 w 6666359"/>
              <a:gd name="connsiteY1155" fmla="*/ 2927470 h 4343113"/>
              <a:gd name="connsiteX1156" fmla="*/ 5999543 w 6666359"/>
              <a:gd name="connsiteY1156" fmla="*/ 2933919 h 4343113"/>
              <a:gd name="connsiteX1157" fmla="*/ 5999543 w 6666359"/>
              <a:gd name="connsiteY1157" fmla="*/ 2937144 h 4343113"/>
              <a:gd name="connsiteX1158" fmla="*/ 6002768 w 6666359"/>
              <a:gd name="connsiteY1158" fmla="*/ 2946819 h 4343113"/>
              <a:gd name="connsiteX1159" fmla="*/ 5999543 w 6666359"/>
              <a:gd name="connsiteY1159" fmla="*/ 2953267 h 4343113"/>
              <a:gd name="connsiteX1160" fmla="*/ 5999543 w 6666359"/>
              <a:gd name="connsiteY1160" fmla="*/ 2962942 h 4343113"/>
              <a:gd name="connsiteX1161" fmla="*/ 6002768 w 6666359"/>
              <a:gd name="connsiteY1161" fmla="*/ 2969391 h 4343113"/>
              <a:gd name="connsiteX1162" fmla="*/ 6002768 w 6666359"/>
              <a:gd name="connsiteY1162" fmla="*/ 2975840 h 4343113"/>
              <a:gd name="connsiteX1163" fmla="*/ 5999543 w 6666359"/>
              <a:gd name="connsiteY1163" fmla="*/ 2988740 h 4343113"/>
              <a:gd name="connsiteX1164" fmla="*/ 5999543 w 6666359"/>
              <a:gd name="connsiteY1164" fmla="*/ 2998414 h 4343113"/>
              <a:gd name="connsiteX1165" fmla="*/ 5993094 w 6666359"/>
              <a:gd name="connsiteY1165" fmla="*/ 2995188 h 4343113"/>
              <a:gd name="connsiteX1166" fmla="*/ 5989870 w 6666359"/>
              <a:gd name="connsiteY1166" fmla="*/ 2991964 h 4343113"/>
              <a:gd name="connsiteX1167" fmla="*/ 5983420 w 6666359"/>
              <a:gd name="connsiteY1167" fmla="*/ 2991964 h 4343113"/>
              <a:gd name="connsiteX1168" fmla="*/ 5976971 w 6666359"/>
              <a:gd name="connsiteY1168" fmla="*/ 2995188 h 4343113"/>
              <a:gd name="connsiteX1169" fmla="*/ 5973747 w 6666359"/>
              <a:gd name="connsiteY1169" fmla="*/ 2998414 h 4343113"/>
              <a:gd name="connsiteX1170" fmla="*/ 5951173 w 6666359"/>
              <a:gd name="connsiteY1170" fmla="*/ 2979065 h 4343113"/>
              <a:gd name="connsiteX1171" fmla="*/ 5925375 w 6666359"/>
              <a:gd name="connsiteY1171" fmla="*/ 2959717 h 4343113"/>
              <a:gd name="connsiteX1172" fmla="*/ 5922151 w 6666359"/>
              <a:gd name="connsiteY1172" fmla="*/ 2953267 h 4343113"/>
              <a:gd name="connsiteX1173" fmla="*/ 5915702 w 6666359"/>
              <a:gd name="connsiteY1173" fmla="*/ 2946819 h 4343113"/>
              <a:gd name="connsiteX1174" fmla="*/ 5899579 w 6666359"/>
              <a:gd name="connsiteY1174" fmla="*/ 2933919 h 4343113"/>
              <a:gd name="connsiteX1175" fmla="*/ 5893129 w 6666359"/>
              <a:gd name="connsiteY1175" fmla="*/ 2924246 h 4343113"/>
              <a:gd name="connsiteX1176" fmla="*/ 5889904 w 6666359"/>
              <a:gd name="connsiteY1176" fmla="*/ 2917796 h 4343113"/>
              <a:gd name="connsiteX1177" fmla="*/ 5893129 w 6666359"/>
              <a:gd name="connsiteY1177" fmla="*/ 2917796 h 4343113"/>
              <a:gd name="connsiteX1178" fmla="*/ 5889904 w 6666359"/>
              <a:gd name="connsiteY1178" fmla="*/ 2908122 h 4343113"/>
              <a:gd name="connsiteX1179" fmla="*/ 5880230 w 6666359"/>
              <a:gd name="connsiteY1179" fmla="*/ 2891999 h 4343113"/>
              <a:gd name="connsiteX1180" fmla="*/ 5877005 w 6666359"/>
              <a:gd name="connsiteY1180" fmla="*/ 2885549 h 4343113"/>
              <a:gd name="connsiteX1181" fmla="*/ 5867332 w 6666359"/>
              <a:gd name="connsiteY1181" fmla="*/ 2872651 h 4343113"/>
              <a:gd name="connsiteX1182" fmla="*/ 5857658 w 6666359"/>
              <a:gd name="connsiteY1182" fmla="*/ 2866201 h 4343113"/>
              <a:gd name="connsiteX1183" fmla="*/ 5851208 w 6666359"/>
              <a:gd name="connsiteY1183" fmla="*/ 2853302 h 4343113"/>
              <a:gd name="connsiteX1184" fmla="*/ 5844758 w 6666359"/>
              <a:gd name="connsiteY1184" fmla="*/ 2837178 h 4343113"/>
              <a:gd name="connsiteX1185" fmla="*/ 5844758 w 6666359"/>
              <a:gd name="connsiteY1185" fmla="*/ 2833954 h 4343113"/>
              <a:gd name="connsiteX1186" fmla="*/ 5838309 w 6666359"/>
              <a:gd name="connsiteY1186" fmla="*/ 2827504 h 4343113"/>
              <a:gd name="connsiteX1187" fmla="*/ 5831859 w 6666359"/>
              <a:gd name="connsiteY1187" fmla="*/ 2824280 h 4343113"/>
              <a:gd name="connsiteX1188" fmla="*/ 5828635 w 6666359"/>
              <a:gd name="connsiteY1188" fmla="*/ 2821055 h 4343113"/>
              <a:gd name="connsiteX1189" fmla="*/ 5818961 w 6666359"/>
              <a:gd name="connsiteY1189" fmla="*/ 2811381 h 4343113"/>
              <a:gd name="connsiteX1190" fmla="*/ 5809287 w 6666359"/>
              <a:gd name="connsiteY1190" fmla="*/ 2801707 h 4343113"/>
              <a:gd name="connsiteX1191" fmla="*/ 5802837 w 6666359"/>
              <a:gd name="connsiteY1191" fmla="*/ 2792033 h 4343113"/>
              <a:gd name="connsiteX1192" fmla="*/ 5793164 w 6666359"/>
              <a:gd name="connsiteY1192" fmla="*/ 2788808 h 4343113"/>
              <a:gd name="connsiteX1193" fmla="*/ 5783490 w 6666359"/>
              <a:gd name="connsiteY1193" fmla="*/ 2779134 h 4343113"/>
              <a:gd name="connsiteX1194" fmla="*/ 5773815 w 6666359"/>
              <a:gd name="connsiteY1194" fmla="*/ 2769460 h 4343113"/>
              <a:gd name="connsiteX1195" fmla="*/ 5767366 w 6666359"/>
              <a:gd name="connsiteY1195" fmla="*/ 2756561 h 4343113"/>
              <a:gd name="connsiteX1196" fmla="*/ 6334911 w 6666359"/>
              <a:gd name="connsiteY1196" fmla="*/ 2740439 h 4343113"/>
              <a:gd name="connsiteX1197" fmla="*/ 6338135 w 6666359"/>
              <a:gd name="connsiteY1197" fmla="*/ 2740439 h 4343113"/>
              <a:gd name="connsiteX1198" fmla="*/ 6341361 w 6666359"/>
              <a:gd name="connsiteY1198" fmla="*/ 2740439 h 4343113"/>
              <a:gd name="connsiteX1199" fmla="*/ 6341361 w 6666359"/>
              <a:gd name="connsiteY1199" fmla="*/ 2743665 h 4343113"/>
              <a:gd name="connsiteX1200" fmla="*/ 6331687 w 6666359"/>
              <a:gd name="connsiteY1200" fmla="*/ 2743665 h 4343113"/>
              <a:gd name="connsiteX1201" fmla="*/ 6357485 w 6666359"/>
              <a:gd name="connsiteY1201" fmla="*/ 2724316 h 4343113"/>
              <a:gd name="connsiteX1202" fmla="*/ 6360709 w 6666359"/>
              <a:gd name="connsiteY1202" fmla="*/ 2727541 h 4343113"/>
              <a:gd name="connsiteX1203" fmla="*/ 6354259 w 6666359"/>
              <a:gd name="connsiteY1203" fmla="*/ 2733991 h 4343113"/>
              <a:gd name="connsiteX1204" fmla="*/ 6351035 w 6666359"/>
              <a:gd name="connsiteY1204" fmla="*/ 2727541 h 4343113"/>
              <a:gd name="connsiteX1205" fmla="*/ 6241397 w 6666359"/>
              <a:gd name="connsiteY1205" fmla="*/ 2724316 h 4343113"/>
              <a:gd name="connsiteX1206" fmla="*/ 6257520 w 6666359"/>
              <a:gd name="connsiteY1206" fmla="*/ 2730765 h 4343113"/>
              <a:gd name="connsiteX1207" fmla="*/ 6260745 w 6666359"/>
              <a:gd name="connsiteY1207" fmla="*/ 2730765 h 4343113"/>
              <a:gd name="connsiteX1208" fmla="*/ 6260745 w 6666359"/>
              <a:gd name="connsiteY1208" fmla="*/ 2737215 h 4343113"/>
              <a:gd name="connsiteX1209" fmla="*/ 6263969 w 6666359"/>
              <a:gd name="connsiteY1209" fmla="*/ 2743665 h 4343113"/>
              <a:gd name="connsiteX1210" fmla="*/ 6273643 w 6666359"/>
              <a:gd name="connsiteY1210" fmla="*/ 2743665 h 4343113"/>
              <a:gd name="connsiteX1211" fmla="*/ 6286541 w 6666359"/>
              <a:gd name="connsiteY1211" fmla="*/ 2750114 h 4343113"/>
              <a:gd name="connsiteX1212" fmla="*/ 6296215 w 6666359"/>
              <a:gd name="connsiteY1212" fmla="*/ 2756563 h 4343113"/>
              <a:gd name="connsiteX1213" fmla="*/ 6289767 w 6666359"/>
              <a:gd name="connsiteY1213" fmla="*/ 2763013 h 4343113"/>
              <a:gd name="connsiteX1214" fmla="*/ 6276868 w 6666359"/>
              <a:gd name="connsiteY1214" fmla="*/ 2763013 h 4343113"/>
              <a:gd name="connsiteX1215" fmla="*/ 6270418 w 6666359"/>
              <a:gd name="connsiteY1215" fmla="*/ 2766238 h 4343113"/>
              <a:gd name="connsiteX1216" fmla="*/ 6280093 w 6666359"/>
              <a:gd name="connsiteY1216" fmla="*/ 2772686 h 4343113"/>
              <a:gd name="connsiteX1217" fmla="*/ 6276868 w 6666359"/>
              <a:gd name="connsiteY1217" fmla="*/ 2779136 h 4343113"/>
              <a:gd name="connsiteX1218" fmla="*/ 6270418 w 6666359"/>
              <a:gd name="connsiteY1218" fmla="*/ 2779136 h 4343113"/>
              <a:gd name="connsiteX1219" fmla="*/ 6260745 w 6666359"/>
              <a:gd name="connsiteY1219" fmla="*/ 2775912 h 4343113"/>
              <a:gd name="connsiteX1220" fmla="*/ 6257521 w 6666359"/>
              <a:gd name="connsiteY1220" fmla="*/ 2782360 h 4343113"/>
              <a:gd name="connsiteX1221" fmla="*/ 6260743 w 6666359"/>
              <a:gd name="connsiteY1221" fmla="*/ 2785584 h 4343113"/>
              <a:gd name="connsiteX1222" fmla="*/ 6263969 w 6666359"/>
              <a:gd name="connsiteY1222" fmla="*/ 2792033 h 4343113"/>
              <a:gd name="connsiteX1223" fmla="*/ 6254295 w 6666359"/>
              <a:gd name="connsiteY1223" fmla="*/ 2792033 h 4343113"/>
              <a:gd name="connsiteX1224" fmla="*/ 6247845 w 6666359"/>
              <a:gd name="connsiteY1224" fmla="*/ 2792033 h 4343113"/>
              <a:gd name="connsiteX1225" fmla="*/ 6247845 w 6666359"/>
              <a:gd name="connsiteY1225" fmla="*/ 2795257 h 4343113"/>
              <a:gd name="connsiteX1226" fmla="*/ 6260743 w 6666359"/>
              <a:gd name="connsiteY1226" fmla="*/ 2808157 h 4343113"/>
              <a:gd name="connsiteX1227" fmla="*/ 6267193 w 6666359"/>
              <a:gd name="connsiteY1227" fmla="*/ 2821055 h 4343113"/>
              <a:gd name="connsiteX1228" fmla="*/ 6267193 w 6666359"/>
              <a:gd name="connsiteY1228" fmla="*/ 2827504 h 4343113"/>
              <a:gd name="connsiteX1229" fmla="*/ 6267193 w 6666359"/>
              <a:gd name="connsiteY1229" fmla="*/ 2830729 h 4343113"/>
              <a:gd name="connsiteX1230" fmla="*/ 6276867 w 6666359"/>
              <a:gd name="connsiteY1230" fmla="*/ 2840404 h 4343113"/>
              <a:gd name="connsiteX1231" fmla="*/ 6289766 w 6666359"/>
              <a:gd name="connsiteY1231" fmla="*/ 2846852 h 4343113"/>
              <a:gd name="connsiteX1232" fmla="*/ 6289766 w 6666359"/>
              <a:gd name="connsiteY1232" fmla="*/ 2853302 h 4343113"/>
              <a:gd name="connsiteX1233" fmla="*/ 6280092 w 6666359"/>
              <a:gd name="connsiteY1233" fmla="*/ 2853302 h 4343113"/>
              <a:gd name="connsiteX1234" fmla="*/ 6273643 w 6666359"/>
              <a:gd name="connsiteY1234" fmla="*/ 2853302 h 4343113"/>
              <a:gd name="connsiteX1235" fmla="*/ 6263969 w 6666359"/>
              <a:gd name="connsiteY1235" fmla="*/ 2853302 h 4343113"/>
              <a:gd name="connsiteX1236" fmla="*/ 6260743 w 6666359"/>
              <a:gd name="connsiteY1236" fmla="*/ 2859752 h 4343113"/>
              <a:gd name="connsiteX1237" fmla="*/ 6257519 w 6666359"/>
              <a:gd name="connsiteY1237" fmla="*/ 2866201 h 4343113"/>
              <a:gd name="connsiteX1238" fmla="*/ 6254295 w 6666359"/>
              <a:gd name="connsiteY1238" fmla="*/ 2879099 h 4343113"/>
              <a:gd name="connsiteX1239" fmla="*/ 6254295 w 6666359"/>
              <a:gd name="connsiteY1239" fmla="*/ 2882325 h 4343113"/>
              <a:gd name="connsiteX1240" fmla="*/ 6260743 w 6666359"/>
              <a:gd name="connsiteY1240" fmla="*/ 2882325 h 4343113"/>
              <a:gd name="connsiteX1241" fmla="*/ 6260743 w 6666359"/>
              <a:gd name="connsiteY1241" fmla="*/ 2888773 h 4343113"/>
              <a:gd name="connsiteX1242" fmla="*/ 6251069 w 6666359"/>
              <a:gd name="connsiteY1242" fmla="*/ 2891999 h 4343113"/>
              <a:gd name="connsiteX1243" fmla="*/ 6238171 w 6666359"/>
              <a:gd name="connsiteY1243" fmla="*/ 2904897 h 4343113"/>
              <a:gd name="connsiteX1244" fmla="*/ 6231721 w 6666359"/>
              <a:gd name="connsiteY1244" fmla="*/ 2911346 h 4343113"/>
              <a:gd name="connsiteX1245" fmla="*/ 6234946 w 6666359"/>
              <a:gd name="connsiteY1245" fmla="*/ 2917796 h 4343113"/>
              <a:gd name="connsiteX1246" fmla="*/ 6238171 w 6666359"/>
              <a:gd name="connsiteY1246" fmla="*/ 2921020 h 4343113"/>
              <a:gd name="connsiteX1247" fmla="*/ 6234946 w 6666359"/>
              <a:gd name="connsiteY1247" fmla="*/ 2930695 h 4343113"/>
              <a:gd name="connsiteX1248" fmla="*/ 6228496 w 6666359"/>
              <a:gd name="connsiteY1248" fmla="*/ 2943593 h 4343113"/>
              <a:gd name="connsiteX1249" fmla="*/ 6225272 w 6666359"/>
              <a:gd name="connsiteY1249" fmla="*/ 2950043 h 4343113"/>
              <a:gd name="connsiteX1250" fmla="*/ 6218823 w 6666359"/>
              <a:gd name="connsiteY1250" fmla="*/ 2953267 h 4343113"/>
              <a:gd name="connsiteX1251" fmla="*/ 6205924 w 6666359"/>
              <a:gd name="connsiteY1251" fmla="*/ 2959717 h 4343113"/>
              <a:gd name="connsiteX1252" fmla="*/ 6196249 w 6666359"/>
              <a:gd name="connsiteY1252" fmla="*/ 2962942 h 4343113"/>
              <a:gd name="connsiteX1253" fmla="*/ 6193025 w 6666359"/>
              <a:gd name="connsiteY1253" fmla="*/ 2959717 h 4343113"/>
              <a:gd name="connsiteX1254" fmla="*/ 6189801 w 6666359"/>
              <a:gd name="connsiteY1254" fmla="*/ 2950043 h 4343113"/>
              <a:gd name="connsiteX1255" fmla="*/ 6183351 w 6666359"/>
              <a:gd name="connsiteY1255" fmla="*/ 2946819 h 4343113"/>
              <a:gd name="connsiteX1256" fmla="*/ 6170451 w 6666359"/>
              <a:gd name="connsiteY1256" fmla="*/ 2946819 h 4343113"/>
              <a:gd name="connsiteX1257" fmla="*/ 6164003 w 6666359"/>
              <a:gd name="connsiteY1257" fmla="*/ 2943593 h 4343113"/>
              <a:gd name="connsiteX1258" fmla="*/ 6160778 w 6666359"/>
              <a:gd name="connsiteY1258" fmla="*/ 2940369 h 4343113"/>
              <a:gd name="connsiteX1259" fmla="*/ 6147879 w 6666359"/>
              <a:gd name="connsiteY1259" fmla="*/ 2946819 h 4343113"/>
              <a:gd name="connsiteX1260" fmla="*/ 6131756 w 6666359"/>
              <a:gd name="connsiteY1260" fmla="*/ 2946819 h 4343113"/>
              <a:gd name="connsiteX1261" fmla="*/ 6131756 w 6666359"/>
              <a:gd name="connsiteY1261" fmla="*/ 2933919 h 4343113"/>
              <a:gd name="connsiteX1262" fmla="*/ 6128531 w 6666359"/>
              <a:gd name="connsiteY1262" fmla="*/ 2933919 h 4343113"/>
              <a:gd name="connsiteX1263" fmla="*/ 6122082 w 6666359"/>
              <a:gd name="connsiteY1263" fmla="*/ 2937144 h 4343113"/>
              <a:gd name="connsiteX1264" fmla="*/ 6109183 w 6666359"/>
              <a:gd name="connsiteY1264" fmla="*/ 2940369 h 4343113"/>
              <a:gd name="connsiteX1265" fmla="*/ 6096284 w 6666359"/>
              <a:gd name="connsiteY1265" fmla="*/ 2933919 h 4343113"/>
              <a:gd name="connsiteX1266" fmla="*/ 6096284 w 6666359"/>
              <a:gd name="connsiteY1266" fmla="*/ 2921020 h 4343113"/>
              <a:gd name="connsiteX1267" fmla="*/ 6093059 w 6666359"/>
              <a:gd name="connsiteY1267" fmla="*/ 2904897 h 4343113"/>
              <a:gd name="connsiteX1268" fmla="*/ 6089835 w 6666359"/>
              <a:gd name="connsiteY1268" fmla="*/ 2895223 h 4343113"/>
              <a:gd name="connsiteX1269" fmla="*/ 6080160 w 6666359"/>
              <a:gd name="connsiteY1269" fmla="*/ 2885549 h 4343113"/>
              <a:gd name="connsiteX1270" fmla="*/ 6076936 w 6666359"/>
              <a:gd name="connsiteY1270" fmla="*/ 2885549 h 4343113"/>
              <a:gd name="connsiteX1271" fmla="*/ 6073711 w 6666359"/>
              <a:gd name="connsiteY1271" fmla="*/ 2875875 h 4343113"/>
              <a:gd name="connsiteX1272" fmla="*/ 6070487 w 6666359"/>
              <a:gd name="connsiteY1272" fmla="*/ 2862976 h 4343113"/>
              <a:gd name="connsiteX1273" fmla="*/ 6070487 w 6666359"/>
              <a:gd name="connsiteY1273" fmla="*/ 2850078 h 4343113"/>
              <a:gd name="connsiteX1274" fmla="*/ 6073711 w 6666359"/>
              <a:gd name="connsiteY1274" fmla="*/ 2837178 h 4343113"/>
              <a:gd name="connsiteX1275" fmla="*/ 6083385 w 6666359"/>
              <a:gd name="connsiteY1275" fmla="*/ 2827504 h 4343113"/>
              <a:gd name="connsiteX1276" fmla="*/ 6083385 w 6666359"/>
              <a:gd name="connsiteY1276" fmla="*/ 2830729 h 4343113"/>
              <a:gd name="connsiteX1277" fmla="*/ 6083387 w 6666359"/>
              <a:gd name="connsiteY1277" fmla="*/ 2830731 h 4343113"/>
              <a:gd name="connsiteX1278" fmla="*/ 6083387 w 6666359"/>
              <a:gd name="connsiteY1278" fmla="*/ 2827507 h 4343113"/>
              <a:gd name="connsiteX1279" fmla="*/ 6086611 w 6666359"/>
              <a:gd name="connsiteY1279" fmla="*/ 2833956 h 4343113"/>
              <a:gd name="connsiteX1280" fmla="*/ 6093061 w 6666359"/>
              <a:gd name="connsiteY1280" fmla="*/ 2833956 h 4343113"/>
              <a:gd name="connsiteX1281" fmla="*/ 6096285 w 6666359"/>
              <a:gd name="connsiteY1281" fmla="*/ 2833956 h 4343113"/>
              <a:gd name="connsiteX1282" fmla="*/ 6118858 w 6666359"/>
              <a:gd name="connsiteY1282" fmla="*/ 2840406 h 4343113"/>
              <a:gd name="connsiteX1283" fmla="*/ 6115633 w 6666359"/>
              <a:gd name="connsiteY1283" fmla="*/ 2837180 h 4343113"/>
              <a:gd name="connsiteX1284" fmla="*/ 6118858 w 6666359"/>
              <a:gd name="connsiteY1284" fmla="*/ 2827507 h 4343113"/>
              <a:gd name="connsiteX1285" fmla="*/ 6118858 w 6666359"/>
              <a:gd name="connsiteY1285" fmla="*/ 2817833 h 4343113"/>
              <a:gd name="connsiteX1286" fmla="*/ 6122082 w 6666359"/>
              <a:gd name="connsiteY1286" fmla="*/ 2821057 h 4343113"/>
              <a:gd name="connsiteX1287" fmla="*/ 6125307 w 6666359"/>
              <a:gd name="connsiteY1287" fmla="*/ 2821057 h 4343113"/>
              <a:gd name="connsiteX1288" fmla="*/ 6125307 w 6666359"/>
              <a:gd name="connsiteY1288" fmla="*/ 2814607 h 4343113"/>
              <a:gd name="connsiteX1289" fmla="*/ 6128532 w 6666359"/>
              <a:gd name="connsiteY1289" fmla="*/ 2811383 h 4343113"/>
              <a:gd name="connsiteX1290" fmla="*/ 6138206 w 6666359"/>
              <a:gd name="connsiteY1290" fmla="*/ 2808159 h 4343113"/>
              <a:gd name="connsiteX1291" fmla="*/ 6151105 w 6666359"/>
              <a:gd name="connsiteY1291" fmla="*/ 2804933 h 4343113"/>
              <a:gd name="connsiteX1292" fmla="*/ 6160779 w 6666359"/>
              <a:gd name="connsiteY1292" fmla="*/ 2801709 h 4343113"/>
              <a:gd name="connsiteX1293" fmla="*/ 6170453 w 6666359"/>
              <a:gd name="connsiteY1293" fmla="*/ 2788810 h 4343113"/>
              <a:gd name="connsiteX1294" fmla="*/ 6183352 w 6666359"/>
              <a:gd name="connsiteY1294" fmla="*/ 2772686 h 4343113"/>
              <a:gd name="connsiteX1295" fmla="*/ 6193026 w 6666359"/>
              <a:gd name="connsiteY1295" fmla="*/ 2769462 h 4343113"/>
              <a:gd name="connsiteX1296" fmla="*/ 6205925 w 6666359"/>
              <a:gd name="connsiteY1296" fmla="*/ 2766238 h 4343113"/>
              <a:gd name="connsiteX1297" fmla="*/ 6215599 w 6666359"/>
              <a:gd name="connsiteY1297" fmla="*/ 2759788 h 4343113"/>
              <a:gd name="connsiteX1298" fmla="*/ 6209149 w 6666359"/>
              <a:gd name="connsiteY1298" fmla="*/ 2756563 h 4343113"/>
              <a:gd name="connsiteX1299" fmla="*/ 6212373 w 6666359"/>
              <a:gd name="connsiteY1299" fmla="*/ 2753339 h 4343113"/>
              <a:gd name="connsiteX1300" fmla="*/ 6215599 w 6666359"/>
              <a:gd name="connsiteY1300" fmla="*/ 2750114 h 4343113"/>
              <a:gd name="connsiteX1301" fmla="*/ 6218823 w 6666359"/>
              <a:gd name="connsiteY1301" fmla="*/ 2750114 h 4343113"/>
              <a:gd name="connsiteX1302" fmla="*/ 6225273 w 6666359"/>
              <a:gd name="connsiteY1302" fmla="*/ 2743665 h 4343113"/>
              <a:gd name="connsiteX1303" fmla="*/ 6231723 w 6666359"/>
              <a:gd name="connsiteY1303" fmla="*/ 2730765 h 4343113"/>
              <a:gd name="connsiteX1304" fmla="*/ 5735119 w 6666359"/>
              <a:gd name="connsiteY1304" fmla="*/ 2714640 h 4343113"/>
              <a:gd name="connsiteX1305" fmla="*/ 5738343 w 6666359"/>
              <a:gd name="connsiteY1305" fmla="*/ 2714640 h 4343113"/>
              <a:gd name="connsiteX1306" fmla="*/ 5738343 w 6666359"/>
              <a:gd name="connsiteY1306" fmla="*/ 2724315 h 4343113"/>
              <a:gd name="connsiteX1307" fmla="*/ 5735119 w 6666359"/>
              <a:gd name="connsiteY1307" fmla="*/ 2721089 h 4343113"/>
              <a:gd name="connsiteX1308" fmla="*/ 1889670 w 6666359"/>
              <a:gd name="connsiteY1308" fmla="*/ 2704968 h 4343113"/>
              <a:gd name="connsiteX1309" fmla="*/ 1892894 w 6666359"/>
              <a:gd name="connsiteY1309" fmla="*/ 2711418 h 4343113"/>
              <a:gd name="connsiteX1310" fmla="*/ 1889670 w 6666359"/>
              <a:gd name="connsiteY1310" fmla="*/ 2711418 h 4343113"/>
              <a:gd name="connsiteX1311" fmla="*/ 6431653 w 6666359"/>
              <a:gd name="connsiteY1311" fmla="*/ 2659823 h 4343113"/>
              <a:gd name="connsiteX1312" fmla="*/ 6434877 w 6666359"/>
              <a:gd name="connsiteY1312" fmla="*/ 2659823 h 4343113"/>
              <a:gd name="connsiteX1313" fmla="*/ 6438102 w 6666359"/>
              <a:gd name="connsiteY1313" fmla="*/ 2663047 h 4343113"/>
              <a:gd name="connsiteX1314" fmla="*/ 6444551 w 6666359"/>
              <a:gd name="connsiteY1314" fmla="*/ 2669497 h 4343113"/>
              <a:gd name="connsiteX1315" fmla="*/ 6447776 w 6666359"/>
              <a:gd name="connsiteY1315" fmla="*/ 2669497 h 4343113"/>
              <a:gd name="connsiteX1316" fmla="*/ 6457449 w 6666359"/>
              <a:gd name="connsiteY1316" fmla="*/ 2704968 h 4343113"/>
              <a:gd name="connsiteX1317" fmla="*/ 6457449 w 6666359"/>
              <a:gd name="connsiteY1317" fmla="*/ 2714642 h 4343113"/>
              <a:gd name="connsiteX1318" fmla="*/ 6451000 w 6666359"/>
              <a:gd name="connsiteY1318" fmla="*/ 2721092 h 4343113"/>
              <a:gd name="connsiteX1319" fmla="*/ 6447776 w 6666359"/>
              <a:gd name="connsiteY1319" fmla="*/ 2727541 h 4343113"/>
              <a:gd name="connsiteX1320" fmla="*/ 6444551 w 6666359"/>
              <a:gd name="connsiteY1320" fmla="*/ 2724316 h 4343113"/>
              <a:gd name="connsiteX1321" fmla="*/ 6438102 w 6666359"/>
              <a:gd name="connsiteY1321" fmla="*/ 2714642 h 4343113"/>
              <a:gd name="connsiteX1322" fmla="*/ 6434877 w 6666359"/>
              <a:gd name="connsiteY1322" fmla="*/ 2714642 h 4343113"/>
              <a:gd name="connsiteX1323" fmla="*/ 6431653 w 6666359"/>
              <a:gd name="connsiteY1323" fmla="*/ 2721092 h 4343113"/>
              <a:gd name="connsiteX1324" fmla="*/ 6431653 w 6666359"/>
              <a:gd name="connsiteY1324" fmla="*/ 2727541 h 4343113"/>
              <a:gd name="connsiteX1325" fmla="*/ 6431653 w 6666359"/>
              <a:gd name="connsiteY1325" fmla="*/ 2730765 h 4343113"/>
              <a:gd name="connsiteX1326" fmla="*/ 6434877 w 6666359"/>
              <a:gd name="connsiteY1326" fmla="*/ 2733991 h 4343113"/>
              <a:gd name="connsiteX1327" fmla="*/ 6434877 w 6666359"/>
              <a:gd name="connsiteY1327" fmla="*/ 2743665 h 4343113"/>
              <a:gd name="connsiteX1328" fmla="*/ 6428427 w 6666359"/>
              <a:gd name="connsiteY1328" fmla="*/ 2750114 h 4343113"/>
              <a:gd name="connsiteX1329" fmla="*/ 6425203 w 6666359"/>
              <a:gd name="connsiteY1329" fmla="*/ 2746889 h 4343113"/>
              <a:gd name="connsiteX1330" fmla="*/ 6421979 w 6666359"/>
              <a:gd name="connsiteY1330" fmla="*/ 2743665 h 4343113"/>
              <a:gd name="connsiteX1331" fmla="*/ 6412303 w 6666359"/>
              <a:gd name="connsiteY1331" fmla="*/ 2740439 h 4343113"/>
              <a:gd name="connsiteX1332" fmla="*/ 6402629 w 6666359"/>
              <a:gd name="connsiteY1332" fmla="*/ 2733991 h 4343113"/>
              <a:gd name="connsiteX1333" fmla="*/ 6399405 w 6666359"/>
              <a:gd name="connsiteY1333" fmla="*/ 2724316 h 4343113"/>
              <a:gd name="connsiteX1334" fmla="*/ 6402629 w 6666359"/>
              <a:gd name="connsiteY1334" fmla="*/ 2714642 h 4343113"/>
              <a:gd name="connsiteX1335" fmla="*/ 6392955 w 6666359"/>
              <a:gd name="connsiteY1335" fmla="*/ 2701744 h 4343113"/>
              <a:gd name="connsiteX1336" fmla="*/ 6386506 w 6666359"/>
              <a:gd name="connsiteY1336" fmla="*/ 2701744 h 4343113"/>
              <a:gd name="connsiteX1337" fmla="*/ 6386506 w 6666359"/>
              <a:gd name="connsiteY1337" fmla="*/ 2711418 h 4343113"/>
              <a:gd name="connsiteX1338" fmla="*/ 6373608 w 6666359"/>
              <a:gd name="connsiteY1338" fmla="*/ 2708192 h 4343113"/>
              <a:gd name="connsiteX1339" fmla="*/ 6370383 w 6666359"/>
              <a:gd name="connsiteY1339" fmla="*/ 2701744 h 4343113"/>
              <a:gd name="connsiteX1340" fmla="*/ 6367159 w 6666359"/>
              <a:gd name="connsiteY1340" fmla="*/ 2704968 h 4343113"/>
              <a:gd name="connsiteX1341" fmla="*/ 6363934 w 6666359"/>
              <a:gd name="connsiteY1341" fmla="*/ 2708192 h 4343113"/>
              <a:gd name="connsiteX1342" fmla="*/ 6357485 w 6666359"/>
              <a:gd name="connsiteY1342" fmla="*/ 2721092 h 4343113"/>
              <a:gd name="connsiteX1343" fmla="*/ 6354259 w 6666359"/>
              <a:gd name="connsiteY1343" fmla="*/ 2717867 h 4343113"/>
              <a:gd name="connsiteX1344" fmla="*/ 6357485 w 6666359"/>
              <a:gd name="connsiteY1344" fmla="*/ 2704968 h 4343113"/>
              <a:gd name="connsiteX1345" fmla="*/ 6360709 w 6666359"/>
              <a:gd name="connsiteY1345" fmla="*/ 2698518 h 4343113"/>
              <a:gd name="connsiteX1346" fmla="*/ 6386506 w 6666359"/>
              <a:gd name="connsiteY1346" fmla="*/ 2682395 h 4343113"/>
              <a:gd name="connsiteX1347" fmla="*/ 6396181 w 6666359"/>
              <a:gd name="connsiteY1347" fmla="*/ 2688845 h 4343113"/>
              <a:gd name="connsiteX1348" fmla="*/ 6396181 w 6666359"/>
              <a:gd name="connsiteY1348" fmla="*/ 2692070 h 4343113"/>
              <a:gd name="connsiteX1349" fmla="*/ 6396181 w 6666359"/>
              <a:gd name="connsiteY1349" fmla="*/ 2695294 h 4343113"/>
              <a:gd name="connsiteX1350" fmla="*/ 6402629 w 6666359"/>
              <a:gd name="connsiteY1350" fmla="*/ 2692070 h 4343113"/>
              <a:gd name="connsiteX1351" fmla="*/ 6405855 w 6666359"/>
              <a:gd name="connsiteY1351" fmla="*/ 2692070 h 4343113"/>
              <a:gd name="connsiteX1352" fmla="*/ 6405855 w 6666359"/>
              <a:gd name="connsiteY1352" fmla="*/ 2688845 h 4343113"/>
              <a:gd name="connsiteX1353" fmla="*/ 6409079 w 6666359"/>
              <a:gd name="connsiteY1353" fmla="*/ 2685620 h 4343113"/>
              <a:gd name="connsiteX1354" fmla="*/ 6415529 w 6666359"/>
              <a:gd name="connsiteY1354" fmla="*/ 2685620 h 4343113"/>
              <a:gd name="connsiteX1355" fmla="*/ 6415529 w 6666359"/>
              <a:gd name="connsiteY1355" fmla="*/ 2682395 h 4343113"/>
              <a:gd name="connsiteX1356" fmla="*/ 6421979 w 6666359"/>
              <a:gd name="connsiteY1356" fmla="*/ 2679171 h 4343113"/>
              <a:gd name="connsiteX1357" fmla="*/ 6428427 w 6666359"/>
              <a:gd name="connsiteY1357" fmla="*/ 2675946 h 4343113"/>
              <a:gd name="connsiteX1358" fmla="*/ 6431653 w 6666359"/>
              <a:gd name="connsiteY1358" fmla="*/ 2669497 h 4343113"/>
              <a:gd name="connsiteX1359" fmla="*/ 5438448 w 6666359"/>
              <a:gd name="connsiteY1359" fmla="*/ 2656598 h 4343113"/>
              <a:gd name="connsiteX1360" fmla="*/ 5454572 w 6666359"/>
              <a:gd name="connsiteY1360" fmla="*/ 2672721 h 4343113"/>
              <a:gd name="connsiteX1361" fmla="*/ 5464246 w 6666359"/>
              <a:gd name="connsiteY1361" fmla="*/ 2692070 h 4343113"/>
              <a:gd name="connsiteX1362" fmla="*/ 5477144 w 6666359"/>
              <a:gd name="connsiteY1362" fmla="*/ 2711418 h 4343113"/>
              <a:gd name="connsiteX1363" fmla="*/ 5473920 w 6666359"/>
              <a:gd name="connsiteY1363" fmla="*/ 2724316 h 4343113"/>
              <a:gd name="connsiteX1364" fmla="*/ 5457796 w 6666359"/>
              <a:gd name="connsiteY1364" fmla="*/ 2740439 h 4343113"/>
              <a:gd name="connsiteX1365" fmla="*/ 5438448 w 6666359"/>
              <a:gd name="connsiteY1365" fmla="*/ 2737215 h 4343113"/>
              <a:gd name="connsiteX1366" fmla="*/ 5431999 w 6666359"/>
              <a:gd name="connsiteY1366" fmla="*/ 2717867 h 4343113"/>
              <a:gd name="connsiteX1367" fmla="*/ 5428774 w 6666359"/>
              <a:gd name="connsiteY1367" fmla="*/ 2698518 h 4343113"/>
              <a:gd name="connsiteX1368" fmla="*/ 5428774 w 6666359"/>
              <a:gd name="connsiteY1368" fmla="*/ 2692070 h 4343113"/>
              <a:gd name="connsiteX1369" fmla="*/ 5431999 w 6666359"/>
              <a:gd name="connsiteY1369" fmla="*/ 2682395 h 4343113"/>
              <a:gd name="connsiteX1370" fmla="*/ 5438448 w 6666359"/>
              <a:gd name="connsiteY1370" fmla="*/ 2669497 h 4343113"/>
              <a:gd name="connsiteX1371" fmla="*/ 5438448 w 6666359"/>
              <a:gd name="connsiteY1371" fmla="*/ 2663047 h 4343113"/>
              <a:gd name="connsiteX1372" fmla="*/ 5431999 w 6666359"/>
              <a:gd name="connsiteY1372" fmla="*/ 2659823 h 4343113"/>
              <a:gd name="connsiteX1373" fmla="*/ 6444551 w 6666359"/>
              <a:gd name="connsiteY1373" fmla="*/ 2653373 h 4343113"/>
              <a:gd name="connsiteX1374" fmla="*/ 6447776 w 6666359"/>
              <a:gd name="connsiteY1374" fmla="*/ 2656598 h 4343113"/>
              <a:gd name="connsiteX1375" fmla="*/ 6444551 w 6666359"/>
              <a:gd name="connsiteY1375" fmla="*/ 2656598 h 4343113"/>
              <a:gd name="connsiteX1376" fmla="*/ 6409079 w 6666359"/>
              <a:gd name="connsiteY1376" fmla="*/ 2650148 h 4343113"/>
              <a:gd name="connsiteX1377" fmla="*/ 6412303 w 6666359"/>
              <a:gd name="connsiteY1377" fmla="*/ 2656598 h 4343113"/>
              <a:gd name="connsiteX1378" fmla="*/ 6409079 w 6666359"/>
              <a:gd name="connsiteY1378" fmla="*/ 2659823 h 4343113"/>
              <a:gd name="connsiteX1379" fmla="*/ 6399405 w 6666359"/>
              <a:gd name="connsiteY1379" fmla="*/ 2663047 h 4343113"/>
              <a:gd name="connsiteX1380" fmla="*/ 6396181 w 6666359"/>
              <a:gd name="connsiteY1380" fmla="*/ 2653373 h 4343113"/>
              <a:gd name="connsiteX1381" fmla="*/ 6434877 w 6666359"/>
              <a:gd name="connsiteY1381" fmla="*/ 2643699 h 4343113"/>
              <a:gd name="connsiteX1382" fmla="*/ 6434877 w 6666359"/>
              <a:gd name="connsiteY1382" fmla="*/ 2646924 h 4343113"/>
              <a:gd name="connsiteX1383" fmla="*/ 6434877 w 6666359"/>
              <a:gd name="connsiteY1383" fmla="*/ 2650148 h 4343113"/>
              <a:gd name="connsiteX1384" fmla="*/ 6438102 w 6666359"/>
              <a:gd name="connsiteY1384" fmla="*/ 2656598 h 4343113"/>
              <a:gd name="connsiteX1385" fmla="*/ 6431653 w 6666359"/>
              <a:gd name="connsiteY1385" fmla="*/ 2650148 h 4343113"/>
              <a:gd name="connsiteX1386" fmla="*/ 2344352 w 6666359"/>
              <a:gd name="connsiteY1386" fmla="*/ 2634025 h 4343113"/>
              <a:gd name="connsiteX1387" fmla="*/ 2347576 w 6666359"/>
              <a:gd name="connsiteY1387" fmla="*/ 2637250 h 4343113"/>
              <a:gd name="connsiteX1388" fmla="*/ 2344352 w 6666359"/>
              <a:gd name="connsiteY1388" fmla="*/ 2640475 h 4343113"/>
              <a:gd name="connsiteX1389" fmla="*/ 2344352 w 6666359"/>
              <a:gd name="connsiteY1389" fmla="*/ 2650149 h 4343113"/>
              <a:gd name="connsiteX1390" fmla="*/ 2334677 w 6666359"/>
              <a:gd name="connsiteY1390" fmla="*/ 2653373 h 4343113"/>
              <a:gd name="connsiteX1391" fmla="*/ 2328228 w 6666359"/>
              <a:gd name="connsiteY1391" fmla="*/ 2650149 h 4343113"/>
              <a:gd name="connsiteX1392" fmla="*/ 2334677 w 6666359"/>
              <a:gd name="connsiteY1392" fmla="*/ 2646924 h 4343113"/>
              <a:gd name="connsiteX1393" fmla="*/ 2334677 w 6666359"/>
              <a:gd name="connsiteY1393" fmla="*/ 2643699 h 4343113"/>
              <a:gd name="connsiteX1394" fmla="*/ 2334677 w 6666359"/>
              <a:gd name="connsiteY1394" fmla="*/ 2637250 h 4343113"/>
              <a:gd name="connsiteX1395" fmla="*/ 2337902 w 6666359"/>
              <a:gd name="connsiteY1395" fmla="*/ 2637250 h 4343113"/>
              <a:gd name="connsiteX1396" fmla="*/ 6383282 w 6666359"/>
              <a:gd name="connsiteY1396" fmla="*/ 2630800 h 4343113"/>
              <a:gd name="connsiteX1397" fmla="*/ 6389731 w 6666359"/>
              <a:gd name="connsiteY1397" fmla="*/ 2634024 h 4343113"/>
              <a:gd name="connsiteX1398" fmla="*/ 6386506 w 6666359"/>
              <a:gd name="connsiteY1398" fmla="*/ 2643699 h 4343113"/>
              <a:gd name="connsiteX1399" fmla="*/ 6380057 w 6666359"/>
              <a:gd name="connsiteY1399" fmla="*/ 2656598 h 4343113"/>
              <a:gd name="connsiteX1400" fmla="*/ 6380057 w 6666359"/>
              <a:gd name="connsiteY1400" fmla="*/ 2663047 h 4343113"/>
              <a:gd name="connsiteX1401" fmla="*/ 6383282 w 6666359"/>
              <a:gd name="connsiteY1401" fmla="*/ 2669497 h 4343113"/>
              <a:gd name="connsiteX1402" fmla="*/ 6376832 w 6666359"/>
              <a:gd name="connsiteY1402" fmla="*/ 2672721 h 4343113"/>
              <a:gd name="connsiteX1403" fmla="*/ 6370383 w 6666359"/>
              <a:gd name="connsiteY1403" fmla="*/ 2666271 h 4343113"/>
              <a:gd name="connsiteX1404" fmla="*/ 6363934 w 6666359"/>
              <a:gd name="connsiteY1404" fmla="*/ 2659823 h 4343113"/>
              <a:gd name="connsiteX1405" fmla="*/ 6367159 w 6666359"/>
              <a:gd name="connsiteY1405" fmla="*/ 2653373 h 4343113"/>
              <a:gd name="connsiteX1406" fmla="*/ 6370383 w 6666359"/>
              <a:gd name="connsiteY1406" fmla="*/ 2653373 h 4343113"/>
              <a:gd name="connsiteX1407" fmla="*/ 6373608 w 6666359"/>
              <a:gd name="connsiteY1407" fmla="*/ 2653373 h 4343113"/>
              <a:gd name="connsiteX1408" fmla="*/ 6373608 w 6666359"/>
              <a:gd name="connsiteY1408" fmla="*/ 2646924 h 4343113"/>
              <a:gd name="connsiteX1409" fmla="*/ 6376832 w 6666359"/>
              <a:gd name="connsiteY1409" fmla="*/ 2637250 h 4343113"/>
              <a:gd name="connsiteX1410" fmla="*/ 6399405 w 6666359"/>
              <a:gd name="connsiteY1410" fmla="*/ 2627576 h 4343113"/>
              <a:gd name="connsiteX1411" fmla="*/ 6399405 w 6666359"/>
              <a:gd name="connsiteY1411" fmla="*/ 2646924 h 4343113"/>
              <a:gd name="connsiteX1412" fmla="*/ 6383282 w 6666359"/>
              <a:gd name="connsiteY1412" fmla="*/ 2666271 h 4343113"/>
              <a:gd name="connsiteX1413" fmla="*/ 6386506 w 6666359"/>
              <a:gd name="connsiteY1413" fmla="*/ 2656598 h 4343113"/>
              <a:gd name="connsiteX1414" fmla="*/ 6389731 w 6666359"/>
              <a:gd name="connsiteY1414" fmla="*/ 2646924 h 4343113"/>
              <a:gd name="connsiteX1415" fmla="*/ 2279857 w 6666359"/>
              <a:gd name="connsiteY1415" fmla="*/ 2627576 h 4343113"/>
              <a:gd name="connsiteX1416" fmla="*/ 2283082 w 6666359"/>
              <a:gd name="connsiteY1416" fmla="*/ 2630801 h 4343113"/>
              <a:gd name="connsiteX1417" fmla="*/ 2279857 w 6666359"/>
              <a:gd name="connsiteY1417" fmla="*/ 2634025 h 4343113"/>
              <a:gd name="connsiteX1418" fmla="*/ 2276632 w 6666359"/>
              <a:gd name="connsiteY1418" fmla="*/ 2634025 h 4343113"/>
              <a:gd name="connsiteX1419" fmla="*/ 2270184 w 6666359"/>
              <a:gd name="connsiteY1419" fmla="*/ 2630801 h 4343113"/>
              <a:gd name="connsiteX1420" fmla="*/ 2273408 w 6666359"/>
              <a:gd name="connsiteY1420" fmla="*/ 2630801 h 4343113"/>
              <a:gd name="connsiteX1421" fmla="*/ 6299440 w 6666359"/>
              <a:gd name="connsiteY1421" fmla="*/ 2621126 h 4343113"/>
              <a:gd name="connsiteX1422" fmla="*/ 6302664 w 6666359"/>
              <a:gd name="connsiteY1422" fmla="*/ 2627576 h 4343113"/>
              <a:gd name="connsiteX1423" fmla="*/ 6302664 w 6666359"/>
              <a:gd name="connsiteY1423" fmla="*/ 2643699 h 4343113"/>
              <a:gd name="connsiteX1424" fmla="*/ 6296215 w 6666359"/>
              <a:gd name="connsiteY1424" fmla="*/ 2646924 h 4343113"/>
              <a:gd name="connsiteX1425" fmla="*/ 6283317 w 6666359"/>
              <a:gd name="connsiteY1425" fmla="*/ 2663047 h 4343113"/>
              <a:gd name="connsiteX1426" fmla="*/ 6267193 w 6666359"/>
              <a:gd name="connsiteY1426" fmla="*/ 2679171 h 4343113"/>
              <a:gd name="connsiteX1427" fmla="*/ 6254295 w 6666359"/>
              <a:gd name="connsiteY1427" fmla="*/ 2685620 h 4343113"/>
              <a:gd name="connsiteX1428" fmla="*/ 6251069 w 6666359"/>
              <a:gd name="connsiteY1428" fmla="*/ 2688845 h 4343113"/>
              <a:gd name="connsiteX1429" fmla="*/ 6263969 w 6666359"/>
              <a:gd name="connsiteY1429" fmla="*/ 2669497 h 4343113"/>
              <a:gd name="connsiteX1430" fmla="*/ 6267193 w 6666359"/>
              <a:gd name="connsiteY1430" fmla="*/ 2669497 h 4343113"/>
              <a:gd name="connsiteX1431" fmla="*/ 6273643 w 6666359"/>
              <a:gd name="connsiteY1431" fmla="*/ 2666271 h 4343113"/>
              <a:gd name="connsiteX1432" fmla="*/ 6280092 w 6666359"/>
              <a:gd name="connsiteY1432" fmla="*/ 2656598 h 4343113"/>
              <a:gd name="connsiteX1433" fmla="*/ 6289766 w 6666359"/>
              <a:gd name="connsiteY1433" fmla="*/ 2646924 h 4343113"/>
              <a:gd name="connsiteX1434" fmla="*/ 6299440 w 6666359"/>
              <a:gd name="connsiteY1434" fmla="*/ 2637250 h 4343113"/>
              <a:gd name="connsiteX1435" fmla="*/ 6296215 w 6666359"/>
              <a:gd name="connsiteY1435" fmla="*/ 2630800 h 4343113"/>
              <a:gd name="connsiteX1436" fmla="*/ 6299440 w 6666359"/>
              <a:gd name="connsiteY1436" fmla="*/ 2624350 h 4343113"/>
              <a:gd name="connsiteX1437" fmla="*/ 6405855 w 6666359"/>
              <a:gd name="connsiteY1437" fmla="*/ 2617902 h 4343113"/>
              <a:gd name="connsiteX1438" fmla="*/ 6415529 w 6666359"/>
              <a:gd name="connsiteY1438" fmla="*/ 2621126 h 4343113"/>
              <a:gd name="connsiteX1439" fmla="*/ 6421979 w 6666359"/>
              <a:gd name="connsiteY1439" fmla="*/ 2630800 h 4343113"/>
              <a:gd name="connsiteX1440" fmla="*/ 6425203 w 6666359"/>
              <a:gd name="connsiteY1440" fmla="*/ 2643699 h 4343113"/>
              <a:gd name="connsiteX1441" fmla="*/ 6425203 w 6666359"/>
              <a:gd name="connsiteY1441" fmla="*/ 2646924 h 4343113"/>
              <a:gd name="connsiteX1442" fmla="*/ 6421979 w 6666359"/>
              <a:gd name="connsiteY1442" fmla="*/ 2653373 h 4343113"/>
              <a:gd name="connsiteX1443" fmla="*/ 6418753 w 6666359"/>
              <a:gd name="connsiteY1443" fmla="*/ 2650148 h 4343113"/>
              <a:gd name="connsiteX1444" fmla="*/ 6415529 w 6666359"/>
              <a:gd name="connsiteY1444" fmla="*/ 2646924 h 4343113"/>
              <a:gd name="connsiteX1445" fmla="*/ 6409079 w 6666359"/>
              <a:gd name="connsiteY1445" fmla="*/ 2634024 h 4343113"/>
              <a:gd name="connsiteX1446" fmla="*/ 6405855 w 6666359"/>
              <a:gd name="connsiteY1446" fmla="*/ 2624350 h 4343113"/>
              <a:gd name="connsiteX1447" fmla="*/ 6354259 w 6666359"/>
              <a:gd name="connsiteY1447" fmla="*/ 2611452 h 4343113"/>
              <a:gd name="connsiteX1448" fmla="*/ 6360709 w 6666359"/>
              <a:gd name="connsiteY1448" fmla="*/ 2614677 h 4343113"/>
              <a:gd name="connsiteX1449" fmla="*/ 6363934 w 6666359"/>
              <a:gd name="connsiteY1449" fmla="*/ 2614677 h 4343113"/>
              <a:gd name="connsiteX1450" fmla="*/ 6376832 w 6666359"/>
              <a:gd name="connsiteY1450" fmla="*/ 2617902 h 4343113"/>
              <a:gd name="connsiteX1451" fmla="*/ 6380057 w 6666359"/>
              <a:gd name="connsiteY1451" fmla="*/ 2621126 h 4343113"/>
              <a:gd name="connsiteX1452" fmla="*/ 6380057 w 6666359"/>
              <a:gd name="connsiteY1452" fmla="*/ 2627576 h 4343113"/>
              <a:gd name="connsiteX1453" fmla="*/ 6370383 w 6666359"/>
              <a:gd name="connsiteY1453" fmla="*/ 2637250 h 4343113"/>
              <a:gd name="connsiteX1454" fmla="*/ 6354259 w 6666359"/>
              <a:gd name="connsiteY1454" fmla="*/ 2643699 h 4343113"/>
              <a:gd name="connsiteX1455" fmla="*/ 6354259 w 6666359"/>
              <a:gd name="connsiteY1455" fmla="*/ 2637250 h 4343113"/>
              <a:gd name="connsiteX1456" fmla="*/ 6357485 w 6666359"/>
              <a:gd name="connsiteY1456" fmla="*/ 2621126 h 4343113"/>
              <a:gd name="connsiteX1457" fmla="*/ 6354259 w 6666359"/>
              <a:gd name="connsiteY1457" fmla="*/ 2614677 h 4343113"/>
              <a:gd name="connsiteX1458" fmla="*/ 6351035 w 6666359"/>
              <a:gd name="connsiteY1458" fmla="*/ 2614677 h 4343113"/>
              <a:gd name="connsiteX1459" fmla="*/ 6309114 w 6666359"/>
              <a:gd name="connsiteY1459" fmla="*/ 2601778 h 4343113"/>
              <a:gd name="connsiteX1460" fmla="*/ 6318787 w 6666359"/>
              <a:gd name="connsiteY1460" fmla="*/ 2605003 h 4343113"/>
              <a:gd name="connsiteX1461" fmla="*/ 6318787 w 6666359"/>
              <a:gd name="connsiteY1461" fmla="*/ 2608227 h 4343113"/>
              <a:gd name="connsiteX1462" fmla="*/ 6309114 w 6666359"/>
              <a:gd name="connsiteY1462" fmla="*/ 2608227 h 4343113"/>
              <a:gd name="connsiteX1463" fmla="*/ 6405855 w 6666359"/>
              <a:gd name="connsiteY1463" fmla="*/ 2595329 h 4343113"/>
              <a:gd name="connsiteX1464" fmla="*/ 6418753 w 6666359"/>
              <a:gd name="connsiteY1464" fmla="*/ 2598553 h 4343113"/>
              <a:gd name="connsiteX1465" fmla="*/ 6428427 w 6666359"/>
              <a:gd name="connsiteY1465" fmla="*/ 2601778 h 4343113"/>
              <a:gd name="connsiteX1466" fmla="*/ 6431653 w 6666359"/>
              <a:gd name="connsiteY1466" fmla="*/ 2601778 h 4343113"/>
              <a:gd name="connsiteX1467" fmla="*/ 6431653 w 6666359"/>
              <a:gd name="connsiteY1467" fmla="*/ 2605003 h 4343113"/>
              <a:gd name="connsiteX1468" fmla="*/ 6431653 w 6666359"/>
              <a:gd name="connsiteY1468" fmla="*/ 2614677 h 4343113"/>
              <a:gd name="connsiteX1469" fmla="*/ 6438102 w 6666359"/>
              <a:gd name="connsiteY1469" fmla="*/ 2630800 h 4343113"/>
              <a:gd name="connsiteX1470" fmla="*/ 6428427 w 6666359"/>
              <a:gd name="connsiteY1470" fmla="*/ 2627576 h 4343113"/>
              <a:gd name="connsiteX1471" fmla="*/ 6425203 w 6666359"/>
              <a:gd name="connsiteY1471" fmla="*/ 2627576 h 4343113"/>
              <a:gd name="connsiteX1472" fmla="*/ 6418753 w 6666359"/>
              <a:gd name="connsiteY1472" fmla="*/ 2621126 h 4343113"/>
              <a:gd name="connsiteX1473" fmla="*/ 6418753 w 6666359"/>
              <a:gd name="connsiteY1473" fmla="*/ 2614677 h 4343113"/>
              <a:gd name="connsiteX1474" fmla="*/ 6409079 w 6666359"/>
              <a:gd name="connsiteY1474" fmla="*/ 2605003 h 4343113"/>
              <a:gd name="connsiteX1475" fmla="*/ 6383282 w 6666359"/>
              <a:gd name="connsiteY1475" fmla="*/ 2595329 h 4343113"/>
              <a:gd name="connsiteX1476" fmla="*/ 6396181 w 6666359"/>
              <a:gd name="connsiteY1476" fmla="*/ 2601778 h 4343113"/>
              <a:gd name="connsiteX1477" fmla="*/ 6399405 w 6666359"/>
              <a:gd name="connsiteY1477" fmla="*/ 2608227 h 4343113"/>
              <a:gd name="connsiteX1478" fmla="*/ 6399405 w 6666359"/>
              <a:gd name="connsiteY1478" fmla="*/ 2614677 h 4343113"/>
              <a:gd name="connsiteX1479" fmla="*/ 6386506 w 6666359"/>
              <a:gd name="connsiteY1479" fmla="*/ 2605003 h 4343113"/>
              <a:gd name="connsiteX1480" fmla="*/ 6383282 w 6666359"/>
              <a:gd name="connsiteY1480" fmla="*/ 2598553 h 4343113"/>
              <a:gd name="connsiteX1481" fmla="*/ 4854779 w 6666359"/>
              <a:gd name="connsiteY1481" fmla="*/ 2592106 h 4343113"/>
              <a:gd name="connsiteX1482" fmla="*/ 4864453 w 6666359"/>
              <a:gd name="connsiteY1482" fmla="*/ 2592106 h 4343113"/>
              <a:gd name="connsiteX1483" fmla="*/ 4877353 w 6666359"/>
              <a:gd name="connsiteY1483" fmla="*/ 2598555 h 4343113"/>
              <a:gd name="connsiteX1484" fmla="*/ 4861229 w 6666359"/>
              <a:gd name="connsiteY1484" fmla="*/ 2601779 h 4343113"/>
              <a:gd name="connsiteX1485" fmla="*/ 4848330 w 6666359"/>
              <a:gd name="connsiteY1485" fmla="*/ 2598555 h 4343113"/>
              <a:gd name="connsiteX1486" fmla="*/ 6318787 w 6666359"/>
              <a:gd name="connsiteY1486" fmla="*/ 2575980 h 4343113"/>
              <a:gd name="connsiteX1487" fmla="*/ 6325237 w 6666359"/>
              <a:gd name="connsiteY1487" fmla="*/ 2575980 h 4343113"/>
              <a:gd name="connsiteX1488" fmla="*/ 6338135 w 6666359"/>
              <a:gd name="connsiteY1488" fmla="*/ 2579205 h 4343113"/>
              <a:gd name="connsiteX1489" fmla="*/ 6344585 w 6666359"/>
              <a:gd name="connsiteY1489" fmla="*/ 2582430 h 4343113"/>
              <a:gd name="connsiteX1490" fmla="*/ 6344585 w 6666359"/>
              <a:gd name="connsiteY1490" fmla="*/ 2588879 h 4343113"/>
              <a:gd name="connsiteX1491" fmla="*/ 6341361 w 6666359"/>
              <a:gd name="connsiteY1491" fmla="*/ 2601778 h 4343113"/>
              <a:gd name="connsiteX1492" fmla="*/ 6338135 w 6666359"/>
              <a:gd name="connsiteY1492" fmla="*/ 2605003 h 4343113"/>
              <a:gd name="connsiteX1493" fmla="*/ 6331687 w 6666359"/>
              <a:gd name="connsiteY1493" fmla="*/ 2598553 h 4343113"/>
              <a:gd name="connsiteX1494" fmla="*/ 6328461 w 6666359"/>
              <a:gd name="connsiteY1494" fmla="*/ 2588879 h 4343113"/>
              <a:gd name="connsiteX1495" fmla="*/ 6325237 w 6666359"/>
              <a:gd name="connsiteY1495" fmla="*/ 2582430 h 4343113"/>
              <a:gd name="connsiteX1496" fmla="*/ 6322013 w 6666359"/>
              <a:gd name="connsiteY1496" fmla="*/ 2582430 h 4343113"/>
              <a:gd name="connsiteX1497" fmla="*/ 5715770 w 6666359"/>
              <a:gd name="connsiteY1497" fmla="*/ 2575979 h 4343113"/>
              <a:gd name="connsiteX1498" fmla="*/ 5722220 w 6666359"/>
              <a:gd name="connsiteY1498" fmla="*/ 2575979 h 4343113"/>
              <a:gd name="connsiteX1499" fmla="*/ 5718996 w 6666359"/>
              <a:gd name="connsiteY1499" fmla="*/ 2585653 h 4343113"/>
              <a:gd name="connsiteX1500" fmla="*/ 5715770 w 6666359"/>
              <a:gd name="connsiteY1500" fmla="*/ 2601776 h 4343113"/>
              <a:gd name="connsiteX1501" fmla="*/ 5715770 w 6666359"/>
              <a:gd name="connsiteY1501" fmla="*/ 2611450 h 4343113"/>
              <a:gd name="connsiteX1502" fmla="*/ 5712546 w 6666359"/>
              <a:gd name="connsiteY1502" fmla="*/ 2621124 h 4343113"/>
              <a:gd name="connsiteX1503" fmla="*/ 5709322 w 6666359"/>
              <a:gd name="connsiteY1503" fmla="*/ 2614674 h 4343113"/>
              <a:gd name="connsiteX1504" fmla="*/ 5712546 w 6666359"/>
              <a:gd name="connsiteY1504" fmla="*/ 2605001 h 4343113"/>
              <a:gd name="connsiteX1505" fmla="*/ 5715770 w 6666359"/>
              <a:gd name="connsiteY1505" fmla="*/ 2585653 h 4343113"/>
              <a:gd name="connsiteX1506" fmla="*/ 6402629 w 6666359"/>
              <a:gd name="connsiteY1506" fmla="*/ 2563082 h 4343113"/>
              <a:gd name="connsiteX1507" fmla="*/ 6405855 w 6666359"/>
              <a:gd name="connsiteY1507" fmla="*/ 2563082 h 4343113"/>
              <a:gd name="connsiteX1508" fmla="*/ 6409079 w 6666359"/>
              <a:gd name="connsiteY1508" fmla="*/ 2566306 h 4343113"/>
              <a:gd name="connsiteX1509" fmla="*/ 6405855 w 6666359"/>
              <a:gd name="connsiteY1509" fmla="*/ 2572756 h 4343113"/>
              <a:gd name="connsiteX1510" fmla="*/ 6399405 w 6666359"/>
              <a:gd name="connsiteY1510" fmla="*/ 2572756 h 4343113"/>
              <a:gd name="connsiteX1511" fmla="*/ 6402629 w 6666359"/>
              <a:gd name="connsiteY1511" fmla="*/ 2569531 h 4343113"/>
              <a:gd name="connsiteX1512" fmla="*/ 6402629 w 6666359"/>
              <a:gd name="connsiteY1512" fmla="*/ 2566306 h 4343113"/>
              <a:gd name="connsiteX1513" fmla="*/ 2341126 w 6666359"/>
              <a:gd name="connsiteY1513" fmla="*/ 2543733 h 4343113"/>
              <a:gd name="connsiteX1514" fmla="*/ 2347576 w 6666359"/>
              <a:gd name="connsiteY1514" fmla="*/ 2550182 h 4343113"/>
              <a:gd name="connsiteX1515" fmla="*/ 2347576 w 6666359"/>
              <a:gd name="connsiteY1515" fmla="*/ 2553407 h 4343113"/>
              <a:gd name="connsiteX1516" fmla="*/ 2344352 w 6666359"/>
              <a:gd name="connsiteY1516" fmla="*/ 2553407 h 4343113"/>
              <a:gd name="connsiteX1517" fmla="*/ 3160202 w 6666359"/>
              <a:gd name="connsiteY1517" fmla="*/ 2534061 h 4343113"/>
              <a:gd name="connsiteX1518" fmla="*/ 3166652 w 6666359"/>
              <a:gd name="connsiteY1518" fmla="*/ 2540511 h 4343113"/>
              <a:gd name="connsiteX1519" fmla="*/ 3163428 w 6666359"/>
              <a:gd name="connsiteY1519" fmla="*/ 2540511 h 4343113"/>
              <a:gd name="connsiteX1520" fmla="*/ 4558108 w 6666359"/>
              <a:gd name="connsiteY1520" fmla="*/ 2521162 h 4343113"/>
              <a:gd name="connsiteX1521" fmla="*/ 4567781 w 6666359"/>
              <a:gd name="connsiteY1521" fmla="*/ 2527611 h 4343113"/>
              <a:gd name="connsiteX1522" fmla="*/ 4561332 w 6666359"/>
              <a:gd name="connsiteY1522" fmla="*/ 2527611 h 4343113"/>
              <a:gd name="connsiteX1523" fmla="*/ 4558108 w 6666359"/>
              <a:gd name="connsiteY1523" fmla="*/ 2527611 h 4343113"/>
              <a:gd name="connsiteX1524" fmla="*/ 3179551 w 6666359"/>
              <a:gd name="connsiteY1524" fmla="*/ 2514713 h 4343113"/>
              <a:gd name="connsiteX1525" fmla="*/ 3182776 w 6666359"/>
              <a:gd name="connsiteY1525" fmla="*/ 2514713 h 4343113"/>
              <a:gd name="connsiteX1526" fmla="*/ 3186000 w 6666359"/>
              <a:gd name="connsiteY1526" fmla="*/ 2517938 h 4343113"/>
              <a:gd name="connsiteX1527" fmla="*/ 3179551 w 6666359"/>
              <a:gd name="connsiteY1527" fmla="*/ 2517938 h 4343113"/>
              <a:gd name="connsiteX1528" fmla="*/ 2334677 w 6666359"/>
              <a:gd name="connsiteY1528" fmla="*/ 2508262 h 4343113"/>
              <a:gd name="connsiteX1529" fmla="*/ 2337902 w 6666359"/>
              <a:gd name="connsiteY1529" fmla="*/ 2511486 h 4343113"/>
              <a:gd name="connsiteX1530" fmla="*/ 2337902 w 6666359"/>
              <a:gd name="connsiteY1530" fmla="*/ 2514710 h 4343113"/>
              <a:gd name="connsiteX1531" fmla="*/ 2331452 w 6666359"/>
              <a:gd name="connsiteY1531" fmla="*/ 2514710 h 4343113"/>
              <a:gd name="connsiteX1532" fmla="*/ 2328228 w 6666359"/>
              <a:gd name="connsiteY1532" fmla="*/ 2517935 h 4343113"/>
              <a:gd name="connsiteX1533" fmla="*/ 2328228 w 6666359"/>
              <a:gd name="connsiteY1533" fmla="*/ 2514710 h 4343113"/>
              <a:gd name="connsiteX1534" fmla="*/ 2331452 w 6666359"/>
              <a:gd name="connsiteY1534" fmla="*/ 2511486 h 4343113"/>
              <a:gd name="connsiteX1535" fmla="*/ 4596802 w 6666359"/>
              <a:gd name="connsiteY1535" fmla="*/ 2498588 h 4343113"/>
              <a:gd name="connsiteX1536" fmla="*/ 4600026 w 6666359"/>
              <a:gd name="connsiteY1536" fmla="*/ 2501812 h 4343113"/>
              <a:gd name="connsiteX1537" fmla="*/ 4603252 w 6666359"/>
              <a:gd name="connsiteY1537" fmla="*/ 2501812 h 4343113"/>
              <a:gd name="connsiteX1538" fmla="*/ 4606476 w 6666359"/>
              <a:gd name="connsiteY1538" fmla="*/ 2505037 h 4343113"/>
              <a:gd name="connsiteX1539" fmla="*/ 4600026 w 6666359"/>
              <a:gd name="connsiteY1539" fmla="*/ 2505037 h 4343113"/>
              <a:gd name="connsiteX1540" fmla="*/ 6325237 w 6666359"/>
              <a:gd name="connsiteY1540" fmla="*/ 2463116 h 4343113"/>
              <a:gd name="connsiteX1541" fmla="*/ 6347811 w 6666359"/>
              <a:gd name="connsiteY1541" fmla="*/ 2466341 h 4343113"/>
              <a:gd name="connsiteX1542" fmla="*/ 6354259 w 6666359"/>
              <a:gd name="connsiteY1542" fmla="*/ 2466341 h 4343113"/>
              <a:gd name="connsiteX1543" fmla="*/ 6357485 w 6666359"/>
              <a:gd name="connsiteY1543" fmla="*/ 2479240 h 4343113"/>
              <a:gd name="connsiteX1544" fmla="*/ 6360709 w 6666359"/>
              <a:gd name="connsiteY1544" fmla="*/ 2485688 h 4343113"/>
              <a:gd name="connsiteX1545" fmla="*/ 6360709 w 6666359"/>
              <a:gd name="connsiteY1545" fmla="*/ 2488914 h 4343113"/>
              <a:gd name="connsiteX1546" fmla="*/ 6367159 w 6666359"/>
              <a:gd name="connsiteY1546" fmla="*/ 2495363 h 4343113"/>
              <a:gd name="connsiteX1547" fmla="*/ 6363934 w 6666359"/>
              <a:gd name="connsiteY1547" fmla="*/ 2501812 h 4343113"/>
              <a:gd name="connsiteX1548" fmla="*/ 6357485 w 6666359"/>
              <a:gd name="connsiteY1548" fmla="*/ 2514711 h 4343113"/>
              <a:gd name="connsiteX1549" fmla="*/ 6347811 w 6666359"/>
              <a:gd name="connsiteY1549" fmla="*/ 2521161 h 4343113"/>
              <a:gd name="connsiteX1550" fmla="*/ 6344585 w 6666359"/>
              <a:gd name="connsiteY1550" fmla="*/ 2530835 h 4343113"/>
              <a:gd name="connsiteX1551" fmla="*/ 6344585 w 6666359"/>
              <a:gd name="connsiteY1551" fmla="*/ 2543734 h 4343113"/>
              <a:gd name="connsiteX1552" fmla="*/ 6347811 w 6666359"/>
              <a:gd name="connsiteY1552" fmla="*/ 2556632 h 4343113"/>
              <a:gd name="connsiteX1553" fmla="*/ 6354259 w 6666359"/>
              <a:gd name="connsiteY1553" fmla="*/ 2563082 h 4343113"/>
              <a:gd name="connsiteX1554" fmla="*/ 6360709 w 6666359"/>
              <a:gd name="connsiteY1554" fmla="*/ 2563082 h 4343113"/>
              <a:gd name="connsiteX1555" fmla="*/ 6360709 w 6666359"/>
              <a:gd name="connsiteY1555" fmla="*/ 2559856 h 4343113"/>
              <a:gd name="connsiteX1556" fmla="*/ 6367159 w 6666359"/>
              <a:gd name="connsiteY1556" fmla="*/ 2556632 h 4343113"/>
              <a:gd name="connsiteX1557" fmla="*/ 6376832 w 6666359"/>
              <a:gd name="connsiteY1557" fmla="*/ 2563082 h 4343113"/>
              <a:gd name="connsiteX1558" fmla="*/ 6386506 w 6666359"/>
              <a:gd name="connsiteY1558" fmla="*/ 2566306 h 4343113"/>
              <a:gd name="connsiteX1559" fmla="*/ 6392955 w 6666359"/>
              <a:gd name="connsiteY1559" fmla="*/ 2566306 h 4343113"/>
              <a:gd name="connsiteX1560" fmla="*/ 6396181 w 6666359"/>
              <a:gd name="connsiteY1560" fmla="*/ 2569531 h 4343113"/>
              <a:gd name="connsiteX1561" fmla="*/ 6396181 w 6666359"/>
              <a:gd name="connsiteY1561" fmla="*/ 2579205 h 4343113"/>
              <a:gd name="connsiteX1562" fmla="*/ 6392955 w 6666359"/>
              <a:gd name="connsiteY1562" fmla="*/ 2582430 h 4343113"/>
              <a:gd name="connsiteX1563" fmla="*/ 6402629 w 6666359"/>
              <a:gd name="connsiteY1563" fmla="*/ 2585655 h 4343113"/>
              <a:gd name="connsiteX1564" fmla="*/ 6402629 w 6666359"/>
              <a:gd name="connsiteY1564" fmla="*/ 2595329 h 4343113"/>
              <a:gd name="connsiteX1565" fmla="*/ 6392955 w 6666359"/>
              <a:gd name="connsiteY1565" fmla="*/ 2588879 h 4343113"/>
              <a:gd name="connsiteX1566" fmla="*/ 6386506 w 6666359"/>
              <a:gd name="connsiteY1566" fmla="*/ 2582430 h 4343113"/>
              <a:gd name="connsiteX1567" fmla="*/ 6380057 w 6666359"/>
              <a:gd name="connsiteY1567" fmla="*/ 2575980 h 4343113"/>
              <a:gd name="connsiteX1568" fmla="*/ 6367159 w 6666359"/>
              <a:gd name="connsiteY1568" fmla="*/ 2566306 h 4343113"/>
              <a:gd name="connsiteX1569" fmla="*/ 6363934 w 6666359"/>
              <a:gd name="connsiteY1569" fmla="*/ 2566306 h 4343113"/>
              <a:gd name="connsiteX1570" fmla="*/ 6367159 w 6666359"/>
              <a:gd name="connsiteY1570" fmla="*/ 2572756 h 4343113"/>
              <a:gd name="connsiteX1571" fmla="*/ 6360709 w 6666359"/>
              <a:gd name="connsiteY1571" fmla="*/ 2572756 h 4343113"/>
              <a:gd name="connsiteX1572" fmla="*/ 6357485 w 6666359"/>
              <a:gd name="connsiteY1572" fmla="*/ 2569531 h 4343113"/>
              <a:gd name="connsiteX1573" fmla="*/ 6347811 w 6666359"/>
              <a:gd name="connsiteY1573" fmla="*/ 2566306 h 4343113"/>
              <a:gd name="connsiteX1574" fmla="*/ 6344585 w 6666359"/>
              <a:gd name="connsiteY1574" fmla="*/ 2566306 h 4343113"/>
              <a:gd name="connsiteX1575" fmla="*/ 6344585 w 6666359"/>
              <a:gd name="connsiteY1575" fmla="*/ 2569531 h 4343113"/>
              <a:gd name="connsiteX1576" fmla="*/ 6338135 w 6666359"/>
              <a:gd name="connsiteY1576" fmla="*/ 2569531 h 4343113"/>
              <a:gd name="connsiteX1577" fmla="*/ 6331687 w 6666359"/>
              <a:gd name="connsiteY1577" fmla="*/ 2569531 h 4343113"/>
              <a:gd name="connsiteX1578" fmla="*/ 6331687 w 6666359"/>
              <a:gd name="connsiteY1578" fmla="*/ 2566306 h 4343113"/>
              <a:gd name="connsiteX1579" fmla="*/ 6325237 w 6666359"/>
              <a:gd name="connsiteY1579" fmla="*/ 2566306 h 4343113"/>
              <a:gd name="connsiteX1580" fmla="*/ 6325237 w 6666359"/>
              <a:gd name="connsiteY1580" fmla="*/ 2559856 h 4343113"/>
              <a:gd name="connsiteX1581" fmla="*/ 6331687 w 6666359"/>
              <a:gd name="connsiteY1581" fmla="*/ 2553408 h 4343113"/>
              <a:gd name="connsiteX1582" fmla="*/ 6331687 w 6666359"/>
              <a:gd name="connsiteY1582" fmla="*/ 2550182 h 4343113"/>
              <a:gd name="connsiteX1583" fmla="*/ 6325237 w 6666359"/>
              <a:gd name="connsiteY1583" fmla="*/ 2546958 h 4343113"/>
              <a:gd name="connsiteX1584" fmla="*/ 6325237 w 6666359"/>
              <a:gd name="connsiteY1584" fmla="*/ 2553408 h 4343113"/>
              <a:gd name="connsiteX1585" fmla="*/ 6322013 w 6666359"/>
              <a:gd name="connsiteY1585" fmla="*/ 2553408 h 4343113"/>
              <a:gd name="connsiteX1586" fmla="*/ 6315563 w 6666359"/>
              <a:gd name="connsiteY1586" fmla="*/ 2546958 h 4343113"/>
              <a:gd name="connsiteX1587" fmla="*/ 6312338 w 6666359"/>
              <a:gd name="connsiteY1587" fmla="*/ 2530835 h 4343113"/>
              <a:gd name="connsiteX1588" fmla="*/ 6305889 w 6666359"/>
              <a:gd name="connsiteY1588" fmla="*/ 2514711 h 4343113"/>
              <a:gd name="connsiteX1589" fmla="*/ 6309114 w 6666359"/>
              <a:gd name="connsiteY1589" fmla="*/ 2511487 h 4343113"/>
              <a:gd name="connsiteX1590" fmla="*/ 6309114 w 6666359"/>
              <a:gd name="connsiteY1590" fmla="*/ 2514711 h 4343113"/>
              <a:gd name="connsiteX1591" fmla="*/ 6318787 w 6666359"/>
              <a:gd name="connsiteY1591" fmla="*/ 2517935 h 4343113"/>
              <a:gd name="connsiteX1592" fmla="*/ 6322013 w 6666359"/>
              <a:gd name="connsiteY1592" fmla="*/ 2505037 h 4343113"/>
              <a:gd name="connsiteX1593" fmla="*/ 6322013 w 6666359"/>
              <a:gd name="connsiteY1593" fmla="*/ 2492138 h 4343113"/>
              <a:gd name="connsiteX1594" fmla="*/ 6318787 w 6666359"/>
              <a:gd name="connsiteY1594" fmla="*/ 2479240 h 4343113"/>
              <a:gd name="connsiteX1595" fmla="*/ 6322013 w 6666359"/>
              <a:gd name="connsiteY1595" fmla="*/ 2469566 h 4343113"/>
              <a:gd name="connsiteX1596" fmla="*/ 1973513 w 6666359"/>
              <a:gd name="connsiteY1596" fmla="*/ 2463116 h 4343113"/>
              <a:gd name="connsiteX1597" fmla="*/ 1979962 w 6666359"/>
              <a:gd name="connsiteY1597" fmla="*/ 2463116 h 4343113"/>
              <a:gd name="connsiteX1598" fmla="*/ 2008984 w 6666359"/>
              <a:gd name="connsiteY1598" fmla="*/ 2469566 h 4343113"/>
              <a:gd name="connsiteX1599" fmla="*/ 2008984 w 6666359"/>
              <a:gd name="connsiteY1599" fmla="*/ 2472790 h 4343113"/>
              <a:gd name="connsiteX1600" fmla="*/ 2008984 w 6666359"/>
              <a:gd name="connsiteY1600" fmla="*/ 2476016 h 4343113"/>
              <a:gd name="connsiteX1601" fmla="*/ 2002534 w 6666359"/>
              <a:gd name="connsiteY1601" fmla="*/ 2476016 h 4343113"/>
              <a:gd name="connsiteX1602" fmla="*/ 1999310 w 6666359"/>
              <a:gd name="connsiteY1602" fmla="*/ 2472790 h 4343113"/>
              <a:gd name="connsiteX1603" fmla="*/ 1992861 w 6666359"/>
              <a:gd name="connsiteY1603" fmla="*/ 2476016 h 4343113"/>
              <a:gd name="connsiteX1604" fmla="*/ 1989636 w 6666359"/>
              <a:gd name="connsiteY1604" fmla="*/ 2479240 h 4343113"/>
              <a:gd name="connsiteX1605" fmla="*/ 1986411 w 6666359"/>
              <a:gd name="connsiteY1605" fmla="*/ 2476016 h 4343113"/>
              <a:gd name="connsiteX1606" fmla="*/ 1983187 w 6666359"/>
              <a:gd name="connsiteY1606" fmla="*/ 2476016 h 4343113"/>
              <a:gd name="connsiteX1607" fmla="*/ 1976737 w 6666359"/>
              <a:gd name="connsiteY1607" fmla="*/ 2476016 h 4343113"/>
              <a:gd name="connsiteX1608" fmla="*/ 1963839 w 6666359"/>
              <a:gd name="connsiteY1608" fmla="*/ 2466342 h 4343113"/>
              <a:gd name="connsiteX1609" fmla="*/ 2212140 w 6666359"/>
              <a:gd name="connsiteY1609" fmla="*/ 2459892 h 4343113"/>
              <a:gd name="connsiteX1610" fmla="*/ 2215364 w 6666359"/>
              <a:gd name="connsiteY1610" fmla="*/ 2463116 h 4343113"/>
              <a:gd name="connsiteX1611" fmla="*/ 2218589 w 6666359"/>
              <a:gd name="connsiteY1611" fmla="*/ 2463116 h 4343113"/>
              <a:gd name="connsiteX1612" fmla="*/ 2228264 w 6666359"/>
              <a:gd name="connsiteY1612" fmla="*/ 2463116 h 4343113"/>
              <a:gd name="connsiteX1613" fmla="*/ 2241162 w 6666359"/>
              <a:gd name="connsiteY1613" fmla="*/ 2463116 h 4343113"/>
              <a:gd name="connsiteX1614" fmla="*/ 2244387 w 6666359"/>
              <a:gd name="connsiteY1614" fmla="*/ 2466342 h 4343113"/>
              <a:gd name="connsiteX1615" fmla="*/ 2237938 w 6666359"/>
              <a:gd name="connsiteY1615" fmla="*/ 2472790 h 4343113"/>
              <a:gd name="connsiteX1616" fmla="*/ 2228264 w 6666359"/>
              <a:gd name="connsiteY1616" fmla="*/ 2476016 h 4343113"/>
              <a:gd name="connsiteX1617" fmla="*/ 2212140 w 6666359"/>
              <a:gd name="connsiteY1617" fmla="*/ 2476016 h 4343113"/>
              <a:gd name="connsiteX1618" fmla="*/ 2208915 w 6666359"/>
              <a:gd name="connsiteY1618" fmla="*/ 2472790 h 4343113"/>
              <a:gd name="connsiteX1619" fmla="*/ 2208915 w 6666359"/>
              <a:gd name="connsiteY1619" fmla="*/ 2466342 h 4343113"/>
              <a:gd name="connsiteX1620" fmla="*/ 2086376 w 6666359"/>
              <a:gd name="connsiteY1620" fmla="*/ 2427645 h 4343113"/>
              <a:gd name="connsiteX1621" fmla="*/ 2096051 w 6666359"/>
              <a:gd name="connsiteY1621" fmla="*/ 2430869 h 4343113"/>
              <a:gd name="connsiteX1622" fmla="*/ 2102500 w 6666359"/>
              <a:gd name="connsiteY1622" fmla="*/ 2434095 h 4343113"/>
              <a:gd name="connsiteX1623" fmla="*/ 2108949 w 6666359"/>
              <a:gd name="connsiteY1623" fmla="*/ 2430869 h 4343113"/>
              <a:gd name="connsiteX1624" fmla="*/ 2118623 w 6666359"/>
              <a:gd name="connsiteY1624" fmla="*/ 2430869 h 4343113"/>
              <a:gd name="connsiteX1625" fmla="*/ 2128298 w 6666359"/>
              <a:gd name="connsiteY1625" fmla="*/ 2430869 h 4343113"/>
              <a:gd name="connsiteX1626" fmla="*/ 2137972 w 6666359"/>
              <a:gd name="connsiteY1626" fmla="*/ 2434095 h 4343113"/>
              <a:gd name="connsiteX1627" fmla="*/ 2147646 w 6666359"/>
              <a:gd name="connsiteY1627" fmla="*/ 2437319 h 4343113"/>
              <a:gd name="connsiteX1628" fmla="*/ 2154096 w 6666359"/>
              <a:gd name="connsiteY1628" fmla="*/ 2443769 h 4343113"/>
              <a:gd name="connsiteX1629" fmla="*/ 2154096 w 6666359"/>
              <a:gd name="connsiteY1629" fmla="*/ 2446993 h 4343113"/>
              <a:gd name="connsiteX1630" fmla="*/ 2163770 w 6666359"/>
              <a:gd name="connsiteY1630" fmla="*/ 2450218 h 4343113"/>
              <a:gd name="connsiteX1631" fmla="*/ 2173443 w 6666359"/>
              <a:gd name="connsiteY1631" fmla="*/ 2450218 h 4343113"/>
              <a:gd name="connsiteX1632" fmla="*/ 2179893 w 6666359"/>
              <a:gd name="connsiteY1632" fmla="*/ 2456667 h 4343113"/>
              <a:gd name="connsiteX1633" fmla="*/ 2179893 w 6666359"/>
              <a:gd name="connsiteY1633" fmla="*/ 2466342 h 4343113"/>
              <a:gd name="connsiteX1634" fmla="*/ 2173443 w 6666359"/>
              <a:gd name="connsiteY1634" fmla="*/ 2466342 h 4343113"/>
              <a:gd name="connsiteX1635" fmla="*/ 2170219 w 6666359"/>
              <a:gd name="connsiteY1635" fmla="*/ 2463116 h 4343113"/>
              <a:gd name="connsiteX1636" fmla="*/ 2160544 w 6666359"/>
              <a:gd name="connsiteY1636" fmla="*/ 2463116 h 4343113"/>
              <a:gd name="connsiteX1637" fmla="*/ 2154096 w 6666359"/>
              <a:gd name="connsiteY1637" fmla="*/ 2463116 h 4343113"/>
              <a:gd name="connsiteX1638" fmla="*/ 2147646 w 6666359"/>
              <a:gd name="connsiteY1638" fmla="*/ 2463116 h 4343113"/>
              <a:gd name="connsiteX1639" fmla="*/ 2141196 w 6666359"/>
              <a:gd name="connsiteY1639" fmla="*/ 2466342 h 4343113"/>
              <a:gd name="connsiteX1640" fmla="*/ 2134747 w 6666359"/>
              <a:gd name="connsiteY1640" fmla="*/ 2466342 h 4343113"/>
              <a:gd name="connsiteX1641" fmla="*/ 2128298 w 6666359"/>
              <a:gd name="connsiteY1641" fmla="*/ 2466342 h 4343113"/>
              <a:gd name="connsiteX1642" fmla="*/ 2125073 w 6666359"/>
              <a:gd name="connsiteY1642" fmla="*/ 2466342 h 4343113"/>
              <a:gd name="connsiteX1643" fmla="*/ 2118623 w 6666359"/>
              <a:gd name="connsiteY1643" fmla="*/ 2476016 h 4343113"/>
              <a:gd name="connsiteX1644" fmla="*/ 2115399 w 6666359"/>
              <a:gd name="connsiteY1644" fmla="*/ 2482465 h 4343113"/>
              <a:gd name="connsiteX1645" fmla="*/ 2112175 w 6666359"/>
              <a:gd name="connsiteY1645" fmla="*/ 2476016 h 4343113"/>
              <a:gd name="connsiteX1646" fmla="*/ 2108949 w 6666359"/>
              <a:gd name="connsiteY1646" fmla="*/ 2472790 h 4343113"/>
              <a:gd name="connsiteX1647" fmla="*/ 2083152 w 6666359"/>
              <a:gd name="connsiteY1647" fmla="*/ 2469566 h 4343113"/>
              <a:gd name="connsiteX1648" fmla="*/ 2070254 w 6666359"/>
              <a:gd name="connsiteY1648" fmla="*/ 2466342 h 4343113"/>
              <a:gd name="connsiteX1649" fmla="*/ 2063804 w 6666359"/>
              <a:gd name="connsiteY1649" fmla="*/ 2469566 h 4343113"/>
              <a:gd name="connsiteX1650" fmla="*/ 2057355 w 6666359"/>
              <a:gd name="connsiteY1650" fmla="*/ 2469566 h 4343113"/>
              <a:gd name="connsiteX1651" fmla="*/ 2054130 w 6666359"/>
              <a:gd name="connsiteY1651" fmla="*/ 2466342 h 4343113"/>
              <a:gd name="connsiteX1652" fmla="*/ 2050905 w 6666359"/>
              <a:gd name="connsiteY1652" fmla="*/ 2463116 h 4343113"/>
              <a:gd name="connsiteX1653" fmla="*/ 2057355 w 6666359"/>
              <a:gd name="connsiteY1653" fmla="*/ 2459892 h 4343113"/>
              <a:gd name="connsiteX1654" fmla="*/ 2067029 w 6666359"/>
              <a:gd name="connsiteY1654" fmla="*/ 2463116 h 4343113"/>
              <a:gd name="connsiteX1655" fmla="*/ 2079928 w 6666359"/>
              <a:gd name="connsiteY1655" fmla="*/ 2463116 h 4343113"/>
              <a:gd name="connsiteX1656" fmla="*/ 2096051 w 6666359"/>
              <a:gd name="connsiteY1656" fmla="*/ 2459892 h 4343113"/>
              <a:gd name="connsiteX1657" fmla="*/ 2092826 w 6666359"/>
              <a:gd name="connsiteY1657" fmla="*/ 2456667 h 4343113"/>
              <a:gd name="connsiteX1658" fmla="*/ 2089602 w 6666359"/>
              <a:gd name="connsiteY1658" fmla="*/ 2450218 h 4343113"/>
              <a:gd name="connsiteX1659" fmla="*/ 2086376 w 6666359"/>
              <a:gd name="connsiteY1659" fmla="*/ 2443769 h 4343113"/>
              <a:gd name="connsiteX1660" fmla="*/ 2086376 w 6666359"/>
              <a:gd name="connsiteY1660" fmla="*/ 2437319 h 4343113"/>
              <a:gd name="connsiteX1661" fmla="*/ 2079928 w 6666359"/>
              <a:gd name="connsiteY1661" fmla="*/ 2437319 h 4343113"/>
              <a:gd name="connsiteX1662" fmla="*/ 2073478 w 6666359"/>
              <a:gd name="connsiteY1662" fmla="*/ 2434095 h 4343113"/>
              <a:gd name="connsiteX1663" fmla="*/ 2079928 w 6666359"/>
              <a:gd name="connsiteY1663" fmla="*/ 2430869 h 4343113"/>
              <a:gd name="connsiteX1664" fmla="*/ 6096285 w 6666359"/>
              <a:gd name="connsiteY1664" fmla="*/ 2424419 h 4343113"/>
              <a:gd name="connsiteX1665" fmla="*/ 6099510 w 6666359"/>
              <a:gd name="connsiteY1665" fmla="*/ 2424419 h 4343113"/>
              <a:gd name="connsiteX1666" fmla="*/ 6109184 w 6666359"/>
              <a:gd name="connsiteY1666" fmla="*/ 2424419 h 4343113"/>
              <a:gd name="connsiteX1667" fmla="*/ 6112409 w 6666359"/>
              <a:gd name="connsiteY1667" fmla="*/ 2430868 h 4343113"/>
              <a:gd name="connsiteX1668" fmla="*/ 6115633 w 6666359"/>
              <a:gd name="connsiteY1668" fmla="*/ 2437318 h 4343113"/>
              <a:gd name="connsiteX1669" fmla="*/ 6109184 w 6666359"/>
              <a:gd name="connsiteY1669" fmla="*/ 2440542 h 4343113"/>
              <a:gd name="connsiteX1670" fmla="*/ 6105960 w 6666359"/>
              <a:gd name="connsiteY1670" fmla="*/ 2446992 h 4343113"/>
              <a:gd name="connsiteX1671" fmla="*/ 6102735 w 6666359"/>
              <a:gd name="connsiteY1671" fmla="*/ 2453441 h 4343113"/>
              <a:gd name="connsiteX1672" fmla="*/ 6099510 w 6666359"/>
              <a:gd name="connsiteY1672" fmla="*/ 2459890 h 4343113"/>
              <a:gd name="connsiteX1673" fmla="*/ 6089837 w 6666359"/>
              <a:gd name="connsiteY1673" fmla="*/ 2463115 h 4343113"/>
              <a:gd name="connsiteX1674" fmla="*/ 6080161 w 6666359"/>
              <a:gd name="connsiteY1674" fmla="*/ 2466340 h 4343113"/>
              <a:gd name="connsiteX1675" fmla="*/ 6070487 w 6666359"/>
              <a:gd name="connsiteY1675" fmla="*/ 2463115 h 4343113"/>
              <a:gd name="connsiteX1676" fmla="*/ 6064038 w 6666359"/>
              <a:gd name="connsiteY1676" fmla="*/ 2456666 h 4343113"/>
              <a:gd name="connsiteX1677" fmla="*/ 6060813 w 6666359"/>
              <a:gd name="connsiteY1677" fmla="*/ 2450216 h 4343113"/>
              <a:gd name="connsiteX1678" fmla="*/ 6073713 w 6666359"/>
              <a:gd name="connsiteY1678" fmla="*/ 2437318 h 4343113"/>
              <a:gd name="connsiteX1679" fmla="*/ 6083387 w 6666359"/>
              <a:gd name="connsiteY1679" fmla="*/ 2427643 h 4343113"/>
              <a:gd name="connsiteX1680" fmla="*/ 6086611 w 6666359"/>
              <a:gd name="connsiteY1680" fmla="*/ 2427643 h 4343113"/>
              <a:gd name="connsiteX1681" fmla="*/ 6089837 w 6666359"/>
              <a:gd name="connsiteY1681" fmla="*/ 2427643 h 4343113"/>
              <a:gd name="connsiteX1682" fmla="*/ 6093061 w 6666359"/>
              <a:gd name="connsiteY1682" fmla="*/ 2427643 h 4343113"/>
              <a:gd name="connsiteX1683" fmla="*/ 6096285 w 6666359"/>
              <a:gd name="connsiteY1683" fmla="*/ 2427643 h 4343113"/>
              <a:gd name="connsiteX1684" fmla="*/ 267650 w 6666359"/>
              <a:gd name="connsiteY1684" fmla="*/ 2421195 h 4343113"/>
              <a:gd name="connsiteX1685" fmla="*/ 274098 w 6666359"/>
              <a:gd name="connsiteY1685" fmla="*/ 2424420 h 4343113"/>
              <a:gd name="connsiteX1686" fmla="*/ 280548 w 6666359"/>
              <a:gd name="connsiteY1686" fmla="*/ 2430869 h 4343113"/>
              <a:gd name="connsiteX1687" fmla="*/ 286997 w 6666359"/>
              <a:gd name="connsiteY1687" fmla="*/ 2440543 h 4343113"/>
              <a:gd name="connsiteX1688" fmla="*/ 280548 w 6666359"/>
              <a:gd name="connsiteY1688" fmla="*/ 2446993 h 4343113"/>
              <a:gd name="connsiteX1689" fmla="*/ 267650 w 6666359"/>
              <a:gd name="connsiteY1689" fmla="*/ 2450218 h 4343113"/>
              <a:gd name="connsiteX1690" fmla="*/ 264424 w 6666359"/>
              <a:gd name="connsiteY1690" fmla="*/ 2440543 h 4343113"/>
              <a:gd name="connsiteX1691" fmla="*/ 4970867 w 6666359"/>
              <a:gd name="connsiteY1691" fmla="*/ 2411520 h 4343113"/>
              <a:gd name="connsiteX1692" fmla="*/ 4970867 w 6666359"/>
              <a:gd name="connsiteY1692" fmla="*/ 2414745 h 4343113"/>
              <a:gd name="connsiteX1693" fmla="*/ 4970867 w 6666359"/>
              <a:gd name="connsiteY1693" fmla="*/ 2421194 h 4343113"/>
              <a:gd name="connsiteX1694" fmla="*/ 4967643 w 6666359"/>
              <a:gd name="connsiteY1694" fmla="*/ 2424419 h 4343113"/>
              <a:gd name="connsiteX1695" fmla="*/ 248301 w 6666359"/>
              <a:gd name="connsiteY1695" fmla="*/ 2405072 h 4343113"/>
              <a:gd name="connsiteX1696" fmla="*/ 254750 w 6666359"/>
              <a:gd name="connsiteY1696" fmla="*/ 2405072 h 4343113"/>
              <a:gd name="connsiteX1697" fmla="*/ 261200 w 6666359"/>
              <a:gd name="connsiteY1697" fmla="*/ 2411522 h 4343113"/>
              <a:gd name="connsiteX1698" fmla="*/ 254750 w 6666359"/>
              <a:gd name="connsiteY1698" fmla="*/ 2414746 h 4343113"/>
              <a:gd name="connsiteX1699" fmla="*/ 235402 w 6666359"/>
              <a:gd name="connsiteY1699" fmla="*/ 2398622 h 4343113"/>
              <a:gd name="connsiteX1700" fmla="*/ 245076 w 6666359"/>
              <a:gd name="connsiteY1700" fmla="*/ 2401848 h 4343113"/>
              <a:gd name="connsiteX1701" fmla="*/ 238627 w 6666359"/>
              <a:gd name="connsiteY1701" fmla="*/ 2401848 h 4343113"/>
              <a:gd name="connsiteX1702" fmla="*/ 232177 w 6666359"/>
              <a:gd name="connsiteY1702" fmla="*/ 2401848 h 4343113"/>
              <a:gd name="connsiteX1703" fmla="*/ 2083152 w 6666359"/>
              <a:gd name="connsiteY1703" fmla="*/ 2395397 h 4343113"/>
              <a:gd name="connsiteX1704" fmla="*/ 2079928 w 6666359"/>
              <a:gd name="connsiteY1704" fmla="*/ 2401847 h 4343113"/>
              <a:gd name="connsiteX1705" fmla="*/ 2073478 w 6666359"/>
              <a:gd name="connsiteY1705" fmla="*/ 2405071 h 4343113"/>
              <a:gd name="connsiteX1706" fmla="*/ 2067029 w 6666359"/>
              <a:gd name="connsiteY1706" fmla="*/ 2405071 h 4343113"/>
              <a:gd name="connsiteX1707" fmla="*/ 2067029 w 6666359"/>
              <a:gd name="connsiteY1707" fmla="*/ 2401847 h 4343113"/>
              <a:gd name="connsiteX1708" fmla="*/ 2076702 w 6666359"/>
              <a:gd name="connsiteY1708" fmla="*/ 2398621 h 4343113"/>
              <a:gd name="connsiteX1709" fmla="*/ 212829 w 6666359"/>
              <a:gd name="connsiteY1709" fmla="*/ 2388948 h 4343113"/>
              <a:gd name="connsiteX1710" fmla="*/ 219279 w 6666359"/>
              <a:gd name="connsiteY1710" fmla="*/ 2388948 h 4343113"/>
              <a:gd name="connsiteX1711" fmla="*/ 225729 w 6666359"/>
              <a:gd name="connsiteY1711" fmla="*/ 2395398 h 4343113"/>
              <a:gd name="connsiteX1712" fmla="*/ 222504 w 6666359"/>
              <a:gd name="connsiteY1712" fmla="*/ 2398622 h 4343113"/>
              <a:gd name="connsiteX1713" fmla="*/ 216053 w 6666359"/>
              <a:gd name="connsiteY1713" fmla="*/ 2395398 h 4343113"/>
              <a:gd name="connsiteX1714" fmla="*/ 212829 w 6666359"/>
              <a:gd name="connsiteY1714" fmla="*/ 2392174 h 4343113"/>
              <a:gd name="connsiteX1715" fmla="*/ 1863872 w 6666359"/>
              <a:gd name="connsiteY1715" fmla="*/ 2382498 h 4343113"/>
              <a:gd name="connsiteX1716" fmla="*/ 1870321 w 6666359"/>
              <a:gd name="connsiteY1716" fmla="*/ 2382498 h 4343113"/>
              <a:gd name="connsiteX1717" fmla="*/ 1870321 w 6666359"/>
              <a:gd name="connsiteY1717" fmla="*/ 2392173 h 4343113"/>
              <a:gd name="connsiteX1718" fmla="*/ 1860647 w 6666359"/>
              <a:gd name="connsiteY1718" fmla="*/ 2392173 h 4343113"/>
              <a:gd name="connsiteX1719" fmla="*/ 1860647 w 6666359"/>
              <a:gd name="connsiteY1719" fmla="*/ 2385723 h 4343113"/>
              <a:gd name="connsiteX1720" fmla="*/ 190256 w 6666359"/>
              <a:gd name="connsiteY1720" fmla="*/ 2376050 h 4343113"/>
              <a:gd name="connsiteX1721" fmla="*/ 190256 w 6666359"/>
              <a:gd name="connsiteY1721" fmla="*/ 2379274 h 4343113"/>
              <a:gd name="connsiteX1722" fmla="*/ 190256 w 6666359"/>
              <a:gd name="connsiteY1722" fmla="*/ 2382499 h 4343113"/>
              <a:gd name="connsiteX1723" fmla="*/ 180582 w 6666359"/>
              <a:gd name="connsiteY1723" fmla="*/ 2382499 h 4343113"/>
              <a:gd name="connsiteX1724" fmla="*/ 2063804 w 6666359"/>
              <a:gd name="connsiteY1724" fmla="*/ 2363151 h 4343113"/>
              <a:gd name="connsiteX1725" fmla="*/ 2060579 w 6666359"/>
              <a:gd name="connsiteY1725" fmla="*/ 2372825 h 4343113"/>
              <a:gd name="connsiteX1726" fmla="*/ 2054130 w 6666359"/>
              <a:gd name="connsiteY1726" fmla="*/ 2376050 h 4343113"/>
              <a:gd name="connsiteX1727" fmla="*/ 2057355 w 6666359"/>
              <a:gd name="connsiteY1727" fmla="*/ 2369601 h 4343113"/>
              <a:gd name="connsiteX1728" fmla="*/ 5673850 w 6666359"/>
              <a:gd name="connsiteY1728" fmla="*/ 2363150 h 4343113"/>
              <a:gd name="connsiteX1729" fmla="*/ 5677076 w 6666359"/>
              <a:gd name="connsiteY1729" fmla="*/ 2372824 h 4343113"/>
              <a:gd name="connsiteX1730" fmla="*/ 5673850 w 6666359"/>
              <a:gd name="connsiteY1730" fmla="*/ 2379273 h 4343113"/>
              <a:gd name="connsiteX1731" fmla="*/ 5670626 w 6666359"/>
              <a:gd name="connsiteY1731" fmla="*/ 2379273 h 4343113"/>
              <a:gd name="connsiteX1732" fmla="*/ 5667401 w 6666359"/>
              <a:gd name="connsiteY1732" fmla="*/ 2366374 h 4343113"/>
              <a:gd name="connsiteX1733" fmla="*/ 2050905 w 6666359"/>
              <a:gd name="connsiteY1733" fmla="*/ 2359926 h 4343113"/>
              <a:gd name="connsiteX1734" fmla="*/ 2060579 w 6666359"/>
              <a:gd name="connsiteY1734" fmla="*/ 2363150 h 4343113"/>
              <a:gd name="connsiteX1735" fmla="*/ 2057355 w 6666359"/>
              <a:gd name="connsiteY1735" fmla="*/ 2363150 h 4343113"/>
              <a:gd name="connsiteX1736" fmla="*/ 1876771 w 6666359"/>
              <a:gd name="connsiteY1736" fmla="*/ 2353476 h 4343113"/>
              <a:gd name="connsiteX1737" fmla="*/ 1892894 w 6666359"/>
              <a:gd name="connsiteY1737" fmla="*/ 2353476 h 4343113"/>
              <a:gd name="connsiteX1738" fmla="*/ 1905793 w 6666359"/>
              <a:gd name="connsiteY1738" fmla="*/ 2353476 h 4343113"/>
              <a:gd name="connsiteX1739" fmla="*/ 1912242 w 6666359"/>
              <a:gd name="connsiteY1739" fmla="*/ 2353476 h 4343113"/>
              <a:gd name="connsiteX1740" fmla="*/ 1918692 w 6666359"/>
              <a:gd name="connsiteY1740" fmla="*/ 2356700 h 4343113"/>
              <a:gd name="connsiteX1741" fmla="*/ 1928365 w 6666359"/>
              <a:gd name="connsiteY1741" fmla="*/ 2359926 h 4343113"/>
              <a:gd name="connsiteX1742" fmla="*/ 1938040 w 6666359"/>
              <a:gd name="connsiteY1742" fmla="*/ 2366374 h 4343113"/>
              <a:gd name="connsiteX1743" fmla="*/ 1944489 w 6666359"/>
              <a:gd name="connsiteY1743" fmla="*/ 2372824 h 4343113"/>
              <a:gd name="connsiteX1744" fmla="*/ 1954164 w 6666359"/>
              <a:gd name="connsiteY1744" fmla="*/ 2372824 h 4343113"/>
              <a:gd name="connsiteX1745" fmla="*/ 1963838 w 6666359"/>
              <a:gd name="connsiteY1745" fmla="*/ 2376049 h 4343113"/>
              <a:gd name="connsiteX1746" fmla="*/ 1970286 w 6666359"/>
              <a:gd name="connsiteY1746" fmla="*/ 2379273 h 4343113"/>
              <a:gd name="connsiteX1747" fmla="*/ 1979961 w 6666359"/>
              <a:gd name="connsiteY1747" fmla="*/ 2385723 h 4343113"/>
              <a:gd name="connsiteX1748" fmla="*/ 1986410 w 6666359"/>
              <a:gd name="connsiteY1748" fmla="*/ 2385723 h 4343113"/>
              <a:gd name="connsiteX1749" fmla="*/ 1989635 w 6666359"/>
              <a:gd name="connsiteY1749" fmla="*/ 2392173 h 4343113"/>
              <a:gd name="connsiteX1750" fmla="*/ 1992860 w 6666359"/>
              <a:gd name="connsiteY1750" fmla="*/ 2392173 h 4343113"/>
              <a:gd name="connsiteX1751" fmla="*/ 1999309 w 6666359"/>
              <a:gd name="connsiteY1751" fmla="*/ 2395397 h 4343113"/>
              <a:gd name="connsiteX1752" fmla="*/ 2021882 w 6666359"/>
              <a:gd name="connsiteY1752" fmla="*/ 2405071 h 4343113"/>
              <a:gd name="connsiteX1753" fmla="*/ 2025107 w 6666359"/>
              <a:gd name="connsiteY1753" fmla="*/ 2405071 h 4343113"/>
              <a:gd name="connsiteX1754" fmla="*/ 2025107 w 6666359"/>
              <a:gd name="connsiteY1754" fmla="*/ 2408296 h 4343113"/>
              <a:gd name="connsiteX1755" fmla="*/ 2038006 w 6666359"/>
              <a:gd name="connsiteY1755" fmla="*/ 2411520 h 4343113"/>
              <a:gd name="connsiteX1756" fmla="*/ 2044454 w 6666359"/>
              <a:gd name="connsiteY1756" fmla="*/ 2414745 h 4343113"/>
              <a:gd name="connsiteX1757" fmla="*/ 2047680 w 6666359"/>
              <a:gd name="connsiteY1757" fmla="*/ 2417970 h 4343113"/>
              <a:gd name="connsiteX1758" fmla="*/ 2050904 w 6666359"/>
              <a:gd name="connsiteY1758" fmla="*/ 2421194 h 4343113"/>
              <a:gd name="connsiteX1759" fmla="*/ 2054129 w 6666359"/>
              <a:gd name="connsiteY1759" fmla="*/ 2424420 h 4343113"/>
              <a:gd name="connsiteX1760" fmla="*/ 2041230 w 6666359"/>
              <a:gd name="connsiteY1760" fmla="*/ 2427644 h 4343113"/>
              <a:gd name="connsiteX1761" fmla="*/ 2034780 w 6666359"/>
              <a:gd name="connsiteY1761" fmla="*/ 2430868 h 4343113"/>
              <a:gd name="connsiteX1762" fmla="*/ 2031556 w 6666359"/>
              <a:gd name="connsiteY1762" fmla="*/ 2430868 h 4343113"/>
              <a:gd name="connsiteX1763" fmla="*/ 2018657 w 6666359"/>
              <a:gd name="connsiteY1763" fmla="*/ 2427644 h 4343113"/>
              <a:gd name="connsiteX1764" fmla="*/ 2005759 w 6666359"/>
              <a:gd name="connsiteY1764" fmla="*/ 2427644 h 4343113"/>
              <a:gd name="connsiteX1765" fmla="*/ 1976736 w 6666359"/>
              <a:gd name="connsiteY1765" fmla="*/ 2430868 h 4343113"/>
              <a:gd name="connsiteX1766" fmla="*/ 1989635 w 6666359"/>
              <a:gd name="connsiteY1766" fmla="*/ 2421194 h 4343113"/>
              <a:gd name="connsiteX1767" fmla="*/ 1989635 w 6666359"/>
              <a:gd name="connsiteY1767" fmla="*/ 2414745 h 4343113"/>
              <a:gd name="connsiteX1768" fmla="*/ 1983186 w 6666359"/>
              <a:gd name="connsiteY1768" fmla="*/ 2411520 h 4343113"/>
              <a:gd name="connsiteX1769" fmla="*/ 1976736 w 6666359"/>
              <a:gd name="connsiteY1769" fmla="*/ 2411520 h 4343113"/>
              <a:gd name="connsiteX1770" fmla="*/ 1970286 w 6666359"/>
              <a:gd name="connsiteY1770" fmla="*/ 2411520 h 4343113"/>
              <a:gd name="connsiteX1771" fmla="*/ 1963838 w 6666359"/>
              <a:gd name="connsiteY1771" fmla="*/ 2405071 h 4343113"/>
              <a:gd name="connsiteX1772" fmla="*/ 1960612 w 6666359"/>
              <a:gd name="connsiteY1772" fmla="*/ 2401847 h 4343113"/>
              <a:gd name="connsiteX1773" fmla="*/ 1957388 w 6666359"/>
              <a:gd name="connsiteY1773" fmla="*/ 2395397 h 4343113"/>
              <a:gd name="connsiteX1774" fmla="*/ 1954164 w 6666359"/>
              <a:gd name="connsiteY1774" fmla="*/ 2392173 h 4343113"/>
              <a:gd name="connsiteX1775" fmla="*/ 1947714 w 6666359"/>
              <a:gd name="connsiteY1775" fmla="*/ 2392173 h 4343113"/>
              <a:gd name="connsiteX1776" fmla="*/ 1931591 w 6666359"/>
              <a:gd name="connsiteY1776" fmla="*/ 2388947 h 4343113"/>
              <a:gd name="connsiteX1777" fmla="*/ 1918692 w 6666359"/>
              <a:gd name="connsiteY1777" fmla="*/ 2379273 h 4343113"/>
              <a:gd name="connsiteX1778" fmla="*/ 1912242 w 6666359"/>
              <a:gd name="connsiteY1778" fmla="*/ 2379273 h 4343113"/>
              <a:gd name="connsiteX1779" fmla="*/ 1905793 w 6666359"/>
              <a:gd name="connsiteY1779" fmla="*/ 2379273 h 4343113"/>
              <a:gd name="connsiteX1780" fmla="*/ 1902568 w 6666359"/>
              <a:gd name="connsiteY1780" fmla="*/ 2376049 h 4343113"/>
              <a:gd name="connsiteX1781" fmla="*/ 1892894 w 6666359"/>
              <a:gd name="connsiteY1781" fmla="*/ 2376049 h 4343113"/>
              <a:gd name="connsiteX1782" fmla="*/ 1886444 w 6666359"/>
              <a:gd name="connsiteY1782" fmla="*/ 2376049 h 4343113"/>
              <a:gd name="connsiteX1783" fmla="*/ 1883220 w 6666359"/>
              <a:gd name="connsiteY1783" fmla="*/ 2369600 h 4343113"/>
              <a:gd name="connsiteX1784" fmla="*/ 1889670 w 6666359"/>
              <a:gd name="connsiteY1784" fmla="*/ 2369600 h 4343113"/>
              <a:gd name="connsiteX1785" fmla="*/ 1886444 w 6666359"/>
              <a:gd name="connsiteY1785" fmla="*/ 2366374 h 4343113"/>
              <a:gd name="connsiteX1786" fmla="*/ 1883220 w 6666359"/>
              <a:gd name="connsiteY1786" fmla="*/ 2366374 h 4343113"/>
              <a:gd name="connsiteX1787" fmla="*/ 1876771 w 6666359"/>
              <a:gd name="connsiteY1787" fmla="*/ 2363150 h 4343113"/>
              <a:gd name="connsiteX1788" fmla="*/ 1863872 w 6666359"/>
              <a:gd name="connsiteY1788" fmla="*/ 2366374 h 4343113"/>
              <a:gd name="connsiteX1789" fmla="*/ 1860647 w 6666359"/>
              <a:gd name="connsiteY1789" fmla="*/ 2372824 h 4343113"/>
              <a:gd name="connsiteX1790" fmla="*/ 1854197 w 6666359"/>
              <a:gd name="connsiteY1790" fmla="*/ 2376049 h 4343113"/>
              <a:gd name="connsiteX1791" fmla="*/ 1844524 w 6666359"/>
              <a:gd name="connsiteY1791" fmla="*/ 2379273 h 4343113"/>
              <a:gd name="connsiteX1792" fmla="*/ 1838074 w 6666359"/>
              <a:gd name="connsiteY1792" fmla="*/ 2382498 h 4343113"/>
              <a:gd name="connsiteX1793" fmla="*/ 1834850 w 6666359"/>
              <a:gd name="connsiteY1793" fmla="*/ 2382498 h 4343113"/>
              <a:gd name="connsiteX1794" fmla="*/ 1828400 w 6666359"/>
              <a:gd name="connsiteY1794" fmla="*/ 2382498 h 4343113"/>
              <a:gd name="connsiteX1795" fmla="*/ 1821951 w 6666359"/>
              <a:gd name="connsiteY1795" fmla="*/ 2382498 h 4343113"/>
              <a:gd name="connsiteX1796" fmla="*/ 1831625 w 6666359"/>
              <a:gd name="connsiteY1796" fmla="*/ 2379273 h 4343113"/>
              <a:gd name="connsiteX1797" fmla="*/ 1831625 w 6666359"/>
              <a:gd name="connsiteY1797" fmla="*/ 2372824 h 4343113"/>
              <a:gd name="connsiteX1798" fmla="*/ 1838074 w 6666359"/>
              <a:gd name="connsiteY1798" fmla="*/ 2366374 h 4343113"/>
              <a:gd name="connsiteX1799" fmla="*/ 1850973 w 6666359"/>
              <a:gd name="connsiteY1799" fmla="*/ 2359926 h 4343113"/>
              <a:gd name="connsiteX1800" fmla="*/ 1857423 w 6666359"/>
              <a:gd name="connsiteY1800" fmla="*/ 2356700 h 4343113"/>
              <a:gd name="connsiteX1801" fmla="*/ 1863872 w 6666359"/>
              <a:gd name="connsiteY1801" fmla="*/ 2356700 h 4343113"/>
              <a:gd name="connsiteX1802" fmla="*/ 1870321 w 6666359"/>
              <a:gd name="connsiteY1802" fmla="*/ 2356700 h 4343113"/>
              <a:gd name="connsiteX1803" fmla="*/ 2031557 w 6666359"/>
              <a:gd name="connsiteY1803" fmla="*/ 2340577 h 4343113"/>
              <a:gd name="connsiteX1804" fmla="*/ 2041231 w 6666359"/>
              <a:gd name="connsiteY1804" fmla="*/ 2359926 h 4343113"/>
              <a:gd name="connsiteX1805" fmla="*/ 2034781 w 6666359"/>
              <a:gd name="connsiteY1805" fmla="*/ 2353476 h 4343113"/>
              <a:gd name="connsiteX1806" fmla="*/ 1979962 w 6666359"/>
              <a:gd name="connsiteY1806" fmla="*/ 2327679 h 4343113"/>
              <a:gd name="connsiteX1807" fmla="*/ 1979962 w 6666359"/>
              <a:gd name="connsiteY1807" fmla="*/ 2340577 h 4343113"/>
              <a:gd name="connsiteX1808" fmla="*/ 1976737 w 6666359"/>
              <a:gd name="connsiteY1808" fmla="*/ 2334128 h 4343113"/>
              <a:gd name="connsiteX1809" fmla="*/ 2012209 w 6666359"/>
              <a:gd name="connsiteY1809" fmla="*/ 2308330 h 4343113"/>
              <a:gd name="connsiteX1810" fmla="*/ 2012209 w 6666359"/>
              <a:gd name="connsiteY1810" fmla="*/ 2318005 h 4343113"/>
              <a:gd name="connsiteX1811" fmla="*/ 2008984 w 6666359"/>
              <a:gd name="connsiteY1811" fmla="*/ 2314779 h 4343113"/>
              <a:gd name="connsiteX1812" fmla="*/ 6341362 w 6666359"/>
              <a:gd name="connsiteY1812" fmla="*/ 2305105 h 4343113"/>
              <a:gd name="connsiteX1813" fmla="*/ 6347811 w 6666359"/>
              <a:gd name="connsiteY1813" fmla="*/ 2305105 h 4343113"/>
              <a:gd name="connsiteX1814" fmla="*/ 6354260 w 6666359"/>
              <a:gd name="connsiteY1814" fmla="*/ 2308330 h 4343113"/>
              <a:gd name="connsiteX1815" fmla="*/ 6354260 w 6666359"/>
              <a:gd name="connsiteY1815" fmla="*/ 2314779 h 4343113"/>
              <a:gd name="connsiteX1816" fmla="*/ 6344586 w 6666359"/>
              <a:gd name="connsiteY1816" fmla="*/ 2343801 h 4343113"/>
              <a:gd name="connsiteX1817" fmla="*/ 6334913 w 6666359"/>
              <a:gd name="connsiteY1817" fmla="*/ 2363150 h 4343113"/>
              <a:gd name="connsiteX1818" fmla="*/ 6331688 w 6666359"/>
              <a:gd name="connsiteY1818" fmla="*/ 2372824 h 4343113"/>
              <a:gd name="connsiteX1819" fmla="*/ 6325239 w 6666359"/>
              <a:gd name="connsiteY1819" fmla="*/ 2372824 h 4343113"/>
              <a:gd name="connsiteX1820" fmla="*/ 6322013 w 6666359"/>
              <a:gd name="connsiteY1820" fmla="*/ 2372824 h 4343113"/>
              <a:gd name="connsiteX1821" fmla="*/ 6318789 w 6666359"/>
              <a:gd name="connsiteY1821" fmla="*/ 2369598 h 4343113"/>
              <a:gd name="connsiteX1822" fmla="*/ 6315565 w 6666359"/>
              <a:gd name="connsiteY1822" fmla="*/ 2359925 h 4343113"/>
              <a:gd name="connsiteX1823" fmla="*/ 6312339 w 6666359"/>
              <a:gd name="connsiteY1823" fmla="*/ 2350251 h 4343113"/>
              <a:gd name="connsiteX1824" fmla="*/ 6315565 w 6666359"/>
              <a:gd name="connsiteY1824" fmla="*/ 2340577 h 4343113"/>
              <a:gd name="connsiteX1825" fmla="*/ 6318789 w 6666359"/>
              <a:gd name="connsiteY1825" fmla="*/ 2334127 h 4343113"/>
              <a:gd name="connsiteX1826" fmla="*/ 6328463 w 6666359"/>
              <a:gd name="connsiteY1826" fmla="*/ 2318004 h 4343113"/>
              <a:gd name="connsiteX1827" fmla="*/ 6338137 w 6666359"/>
              <a:gd name="connsiteY1827" fmla="*/ 2308330 h 4343113"/>
              <a:gd name="connsiteX1828" fmla="*/ 1967063 w 6666359"/>
              <a:gd name="connsiteY1828" fmla="*/ 2305105 h 4343113"/>
              <a:gd name="connsiteX1829" fmla="*/ 1976737 w 6666359"/>
              <a:gd name="connsiteY1829" fmla="*/ 2314779 h 4343113"/>
              <a:gd name="connsiteX1830" fmla="*/ 1973513 w 6666359"/>
              <a:gd name="connsiteY1830" fmla="*/ 2324453 h 4343113"/>
              <a:gd name="connsiteX1831" fmla="*/ 1967063 w 6666359"/>
              <a:gd name="connsiteY1831" fmla="*/ 2321229 h 4343113"/>
              <a:gd name="connsiteX1832" fmla="*/ 1963839 w 6666359"/>
              <a:gd name="connsiteY1832" fmla="*/ 2318005 h 4343113"/>
              <a:gd name="connsiteX1833" fmla="*/ 1999310 w 6666359"/>
              <a:gd name="connsiteY1833" fmla="*/ 2295432 h 4343113"/>
              <a:gd name="connsiteX1834" fmla="*/ 2012209 w 6666359"/>
              <a:gd name="connsiteY1834" fmla="*/ 2305105 h 4343113"/>
              <a:gd name="connsiteX1835" fmla="*/ 2012209 w 6666359"/>
              <a:gd name="connsiteY1835" fmla="*/ 2308330 h 4343113"/>
              <a:gd name="connsiteX1836" fmla="*/ 2008984 w 6666359"/>
              <a:gd name="connsiteY1836" fmla="*/ 2305105 h 4343113"/>
              <a:gd name="connsiteX1837" fmla="*/ 2005760 w 6666359"/>
              <a:gd name="connsiteY1837" fmla="*/ 2301881 h 4343113"/>
              <a:gd name="connsiteX1838" fmla="*/ 4806408 w 6666359"/>
              <a:gd name="connsiteY1838" fmla="*/ 2282532 h 4343113"/>
              <a:gd name="connsiteX1839" fmla="*/ 4812857 w 6666359"/>
              <a:gd name="connsiteY1839" fmla="*/ 2288982 h 4343113"/>
              <a:gd name="connsiteX1840" fmla="*/ 4812857 w 6666359"/>
              <a:gd name="connsiteY1840" fmla="*/ 2305105 h 4343113"/>
              <a:gd name="connsiteX1841" fmla="*/ 4809633 w 6666359"/>
              <a:gd name="connsiteY1841" fmla="*/ 2314779 h 4343113"/>
              <a:gd name="connsiteX1842" fmla="*/ 4809633 w 6666359"/>
              <a:gd name="connsiteY1842" fmla="*/ 2318004 h 4343113"/>
              <a:gd name="connsiteX1843" fmla="*/ 4799959 w 6666359"/>
              <a:gd name="connsiteY1843" fmla="*/ 2321229 h 4343113"/>
              <a:gd name="connsiteX1844" fmla="*/ 4793510 w 6666359"/>
              <a:gd name="connsiteY1844" fmla="*/ 2314779 h 4343113"/>
              <a:gd name="connsiteX1845" fmla="*/ 4793510 w 6666359"/>
              <a:gd name="connsiteY1845" fmla="*/ 2308330 h 4343113"/>
              <a:gd name="connsiteX1846" fmla="*/ 4793510 w 6666359"/>
              <a:gd name="connsiteY1846" fmla="*/ 2298656 h 4343113"/>
              <a:gd name="connsiteX1847" fmla="*/ 4799959 w 6666359"/>
              <a:gd name="connsiteY1847" fmla="*/ 2288982 h 4343113"/>
              <a:gd name="connsiteX1848" fmla="*/ 1960614 w 6666359"/>
              <a:gd name="connsiteY1848" fmla="*/ 2269634 h 4343113"/>
              <a:gd name="connsiteX1849" fmla="*/ 1967063 w 6666359"/>
              <a:gd name="connsiteY1849" fmla="*/ 2269634 h 4343113"/>
              <a:gd name="connsiteX1850" fmla="*/ 1970287 w 6666359"/>
              <a:gd name="connsiteY1850" fmla="*/ 2269634 h 4343113"/>
              <a:gd name="connsiteX1851" fmla="*/ 1957389 w 6666359"/>
              <a:gd name="connsiteY1851" fmla="*/ 2272858 h 4343113"/>
              <a:gd name="connsiteX1852" fmla="*/ 6492921 w 6666359"/>
              <a:gd name="connsiteY1852" fmla="*/ 2263184 h 4343113"/>
              <a:gd name="connsiteX1853" fmla="*/ 6489697 w 6666359"/>
              <a:gd name="connsiteY1853" fmla="*/ 2272859 h 4343113"/>
              <a:gd name="connsiteX1854" fmla="*/ 6483247 w 6666359"/>
              <a:gd name="connsiteY1854" fmla="*/ 2279308 h 4343113"/>
              <a:gd name="connsiteX1855" fmla="*/ 6480023 w 6666359"/>
              <a:gd name="connsiteY1855" fmla="*/ 2282533 h 4343113"/>
              <a:gd name="connsiteX1856" fmla="*/ 6483247 w 6666359"/>
              <a:gd name="connsiteY1856" fmla="*/ 2272859 h 4343113"/>
              <a:gd name="connsiteX1857" fmla="*/ 4903149 w 6666359"/>
              <a:gd name="connsiteY1857" fmla="*/ 2263184 h 4343113"/>
              <a:gd name="connsiteX1858" fmla="*/ 4916048 w 6666359"/>
              <a:gd name="connsiteY1858" fmla="*/ 2263184 h 4343113"/>
              <a:gd name="connsiteX1859" fmla="*/ 4903149 w 6666359"/>
              <a:gd name="connsiteY1859" fmla="*/ 2269633 h 4343113"/>
              <a:gd name="connsiteX1860" fmla="*/ 4893475 w 6666359"/>
              <a:gd name="connsiteY1860" fmla="*/ 2272858 h 4343113"/>
              <a:gd name="connsiteX1861" fmla="*/ 4893475 w 6666359"/>
              <a:gd name="connsiteY1861" fmla="*/ 2269633 h 4343113"/>
              <a:gd name="connsiteX1862" fmla="*/ 1983187 w 6666359"/>
              <a:gd name="connsiteY1862" fmla="*/ 2263184 h 4343113"/>
              <a:gd name="connsiteX1863" fmla="*/ 1992861 w 6666359"/>
              <a:gd name="connsiteY1863" fmla="*/ 2272858 h 4343113"/>
              <a:gd name="connsiteX1864" fmla="*/ 1992861 w 6666359"/>
              <a:gd name="connsiteY1864" fmla="*/ 2279308 h 4343113"/>
              <a:gd name="connsiteX1865" fmla="*/ 1989636 w 6666359"/>
              <a:gd name="connsiteY1865" fmla="*/ 2288982 h 4343113"/>
              <a:gd name="connsiteX1866" fmla="*/ 1986411 w 6666359"/>
              <a:gd name="connsiteY1866" fmla="*/ 2285758 h 4343113"/>
              <a:gd name="connsiteX1867" fmla="*/ 1989636 w 6666359"/>
              <a:gd name="connsiteY1867" fmla="*/ 2282532 h 4343113"/>
              <a:gd name="connsiteX1868" fmla="*/ 1989636 w 6666359"/>
              <a:gd name="connsiteY1868" fmla="*/ 2272858 h 4343113"/>
              <a:gd name="connsiteX1869" fmla="*/ 3337561 w 6666359"/>
              <a:gd name="connsiteY1869" fmla="*/ 2234163 h 4343113"/>
              <a:gd name="connsiteX1870" fmla="*/ 3340785 w 6666359"/>
              <a:gd name="connsiteY1870" fmla="*/ 2234163 h 4343113"/>
              <a:gd name="connsiteX1871" fmla="*/ 3344010 w 6666359"/>
              <a:gd name="connsiteY1871" fmla="*/ 2234163 h 4343113"/>
              <a:gd name="connsiteX1872" fmla="*/ 3344010 w 6666359"/>
              <a:gd name="connsiteY1872" fmla="*/ 2237388 h 4343113"/>
              <a:gd name="connsiteX1873" fmla="*/ 3340785 w 6666359"/>
              <a:gd name="connsiteY1873" fmla="*/ 2243838 h 4343113"/>
              <a:gd name="connsiteX1874" fmla="*/ 3334336 w 6666359"/>
              <a:gd name="connsiteY1874" fmla="*/ 2237388 h 4343113"/>
              <a:gd name="connsiteX1875" fmla="*/ 6525168 w 6666359"/>
              <a:gd name="connsiteY1875" fmla="*/ 2224489 h 4343113"/>
              <a:gd name="connsiteX1876" fmla="*/ 6518719 w 6666359"/>
              <a:gd name="connsiteY1876" fmla="*/ 2230939 h 4343113"/>
              <a:gd name="connsiteX1877" fmla="*/ 6515494 w 6666359"/>
              <a:gd name="connsiteY1877" fmla="*/ 2230939 h 4343113"/>
              <a:gd name="connsiteX1878" fmla="*/ 3327887 w 6666359"/>
              <a:gd name="connsiteY1878" fmla="*/ 2221265 h 4343113"/>
              <a:gd name="connsiteX1879" fmla="*/ 3324662 w 6666359"/>
              <a:gd name="connsiteY1879" fmla="*/ 2227714 h 4343113"/>
              <a:gd name="connsiteX1880" fmla="*/ 3321438 w 6666359"/>
              <a:gd name="connsiteY1880" fmla="*/ 2234163 h 4343113"/>
              <a:gd name="connsiteX1881" fmla="*/ 3318212 w 6666359"/>
              <a:gd name="connsiteY1881" fmla="*/ 2237388 h 4343113"/>
              <a:gd name="connsiteX1882" fmla="*/ 3314988 w 6666359"/>
              <a:gd name="connsiteY1882" fmla="*/ 2234163 h 4343113"/>
              <a:gd name="connsiteX1883" fmla="*/ 3311764 w 6666359"/>
              <a:gd name="connsiteY1883" fmla="*/ 2227714 h 4343113"/>
              <a:gd name="connsiteX1884" fmla="*/ 3314988 w 6666359"/>
              <a:gd name="connsiteY1884" fmla="*/ 2227714 h 4343113"/>
              <a:gd name="connsiteX1885" fmla="*/ 3376257 w 6666359"/>
              <a:gd name="connsiteY1885" fmla="*/ 2218039 h 4343113"/>
              <a:gd name="connsiteX1886" fmla="*/ 3379482 w 6666359"/>
              <a:gd name="connsiteY1886" fmla="*/ 2224489 h 4343113"/>
              <a:gd name="connsiteX1887" fmla="*/ 3376257 w 6666359"/>
              <a:gd name="connsiteY1887" fmla="*/ 2230939 h 4343113"/>
              <a:gd name="connsiteX1888" fmla="*/ 3366583 w 6666359"/>
              <a:gd name="connsiteY1888" fmla="*/ 2234163 h 4343113"/>
              <a:gd name="connsiteX1889" fmla="*/ 3373032 w 6666359"/>
              <a:gd name="connsiteY1889" fmla="*/ 2224489 h 4343113"/>
              <a:gd name="connsiteX1890" fmla="*/ 1215707 w 6666359"/>
              <a:gd name="connsiteY1890" fmla="*/ 2208365 h 4343113"/>
              <a:gd name="connsiteX1891" fmla="*/ 1222157 w 6666359"/>
              <a:gd name="connsiteY1891" fmla="*/ 2208365 h 4343113"/>
              <a:gd name="connsiteX1892" fmla="*/ 1222157 w 6666359"/>
              <a:gd name="connsiteY1892" fmla="*/ 2211591 h 4343113"/>
              <a:gd name="connsiteX1893" fmla="*/ 1215707 w 6666359"/>
              <a:gd name="connsiteY1893" fmla="*/ 2214815 h 4343113"/>
              <a:gd name="connsiteX1894" fmla="*/ 1215707 w 6666359"/>
              <a:gd name="connsiteY1894" fmla="*/ 2211591 h 4343113"/>
              <a:gd name="connsiteX1895" fmla="*/ 3385932 w 6666359"/>
              <a:gd name="connsiteY1895" fmla="*/ 2205141 h 4343113"/>
              <a:gd name="connsiteX1896" fmla="*/ 3385932 w 6666359"/>
              <a:gd name="connsiteY1896" fmla="*/ 2208365 h 4343113"/>
              <a:gd name="connsiteX1897" fmla="*/ 3382706 w 6666359"/>
              <a:gd name="connsiteY1897" fmla="*/ 2214815 h 4343113"/>
              <a:gd name="connsiteX1898" fmla="*/ 3379482 w 6666359"/>
              <a:gd name="connsiteY1898" fmla="*/ 2214815 h 4343113"/>
              <a:gd name="connsiteX1899" fmla="*/ 3379482 w 6666359"/>
              <a:gd name="connsiteY1899" fmla="*/ 2211591 h 4343113"/>
              <a:gd name="connsiteX1900" fmla="*/ 3382706 w 6666359"/>
              <a:gd name="connsiteY1900" fmla="*/ 2208365 h 4343113"/>
              <a:gd name="connsiteX1901" fmla="*/ 1193135 w 6666359"/>
              <a:gd name="connsiteY1901" fmla="*/ 2195467 h 4343113"/>
              <a:gd name="connsiteX1902" fmla="*/ 1196360 w 6666359"/>
              <a:gd name="connsiteY1902" fmla="*/ 2201917 h 4343113"/>
              <a:gd name="connsiteX1903" fmla="*/ 1202809 w 6666359"/>
              <a:gd name="connsiteY1903" fmla="*/ 2211591 h 4343113"/>
              <a:gd name="connsiteX1904" fmla="*/ 1196360 w 6666359"/>
              <a:gd name="connsiteY1904" fmla="*/ 2205141 h 4343113"/>
              <a:gd name="connsiteX1905" fmla="*/ 3305313 w 6666359"/>
              <a:gd name="connsiteY1905" fmla="*/ 2114849 h 4343113"/>
              <a:gd name="connsiteX1906" fmla="*/ 3308537 w 6666359"/>
              <a:gd name="connsiteY1906" fmla="*/ 2114849 h 4343113"/>
              <a:gd name="connsiteX1907" fmla="*/ 3314987 w 6666359"/>
              <a:gd name="connsiteY1907" fmla="*/ 2114849 h 4343113"/>
              <a:gd name="connsiteX1908" fmla="*/ 3308537 w 6666359"/>
              <a:gd name="connsiteY1908" fmla="*/ 2118073 h 4343113"/>
              <a:gd name="connsiteX1909" fmla="*/ 6460674 w 6666359"/>
              <a:gd name="connsiteY1909" fmla="*/ 2095500 h 4343113"/>
              <a:gd name="connsiteX1910" fmla="*/ 6463899 w 6666359"/>
              <a:gd name="connsiteY1910" fmla="*/ 2098725 h 4343113"/>
              <a:gd name="connsiteX1911" fmla="*/ 6457449 w 6666359"/>
              <a:gd name="connsiteY1911" fmla="*/ 2101949 h 4343113"/>
              <a:gd name="connsiteX1912" fmla="*/ 6447776 w 6666359"/>
              <a:gd name="connsiteY1912" fmla="*/ 2105174 h 4343113"/>
              <a:gd name="connsiteX1913" fmla="*/ 6544517 w 6666359"/>
              <a:gd name="connsiteY1913" fmla="*/ 2085827 h 4343113"/>
              <a:gd name="connsiteX1914" fmla="*/ 6550967 w 6666359"/>
              <a:gd name="connsiteY1914" fmla="*/ 2085827 h 4343113"/>
              <a:gd name="connsiteX1915" fmla="*/ 6550967 w 6666359"/>
              <a:gd name="connsiteY1915" fmla="*/ 2089051 h 4343113"/>
              <a:gd name="connsiteX1916" fmla="*/ 6554192 w 6666359"/>
              <a:gd name="connsiteY1916" fmla="*/ 2092276 h 4343113"/>
              <a:gd name="connsiteX1917" fmla="*/ 6560641 w 6666359"/>
              <a:gd name="connsiteY1917" fmla="*/ 2095501 h 4343113"/>
              <a:gd name="connsiteX1918" fmla="*/ 6563866 w 6666359"/>
              <a:gd name="connsiteY1918" fmla="*/ 2095501 h 4343113"/>
              <a:gd name="connsiteX1919" fmla="*/ 6567090 w 6666359"/>
              <a:gd name="connsiteY1919" fmla="*/ 2098726 h 4343113"/>
              <a:gd name="connsiteX1920" fmla="*/ 6573539 w 6666359"/>
              <a:gd name="connsiteY1920" fmla="*/ 2105175 h 4343113"/>
              <a:gd name="connsiteX1921" fmla="*/ 6573539 w 6666359"/>
              <a:gd name="connsiteY1921" fmla="*/ 2114849 h 4343113"/>
              <a:gd name="connsiteX1922" fmla="*/ 6567090 w 6666359"/>
              <a:gd name="connsiteY1922" fmla="*/ 2124524 h 4343113"/>
              <a:gd name="connsiteX1923" fmla="*/ 6563866 w 6666359"/>
              <a:gd name="connsiteY1923" fmla="*/ 2137422 h 4343113"/>
              <a:gd name="connsiteX1924" fmla="*/ 6563866 w 6666359"/>
              <a:gd name="connsiteY1924" fmla="*/ 2140647 h 4343113"/>
              <a:gd name="connsiteX1925" fmla="*/ 6563866 w 6666359"/>
              <a:gd name="connsiteY1925" fmla="*/ 2143871 h 4343113"/>
              <a:gd name="connsiteX1926" fmla="*/ 6547743 w 6666359"/>
              <a:gd name="connsiteY1926" fmla="*/ 2159995 h 4343113"/>
              <a:gd name="connsiteX1927" fmla="*/ 6544517 w 6666359"/>
              <a:gd name="connsiteY1927" fmla="*/ 2156771 h 4343113"/>
              <a:gd name="connsiteX1928" fmla="*/ 6531619 w 6666359"/>
              <a:gd name="connsiteY1928" fmla="*/ 2150321 h 4343113"/>
              <a:gd name="connsiteX1929" fmla="*/ 6538069 w 6666359"/>
              <a:gd name="connsiteY1929" fmla="*/ 2143871 h 4343113"/>
              <a:gd name="connsiteX1930" fmla="*/ 6534843 w 6666359"/>
              <a:gd name="connsiteY1930" fmla="*/ 2137422 h 4343113"/>
              <a:gd name="connsiteX1931" fmla="*/ 6538069 w 6666359"/>
              <a:gd name="connsiteY1931" fmla="*/ 2130972 h 4343113"/>
              <a:gd name="connsiteX1932" fmla="*/ 6544517 w 6666359"/>
              <a:gd name="connsiteY1932" fmla="*/ 2124524 h 4343113"/>
              <a:gd name="connsiteX1933" fmla="*/ 6544517 w 6666359"/>
              <a:gd name="connsiteY1933" fmla="*/ 2114849 h 4343113"/>
              <a:gd name="connsiteX1934" fmla="*/ 6538069 w 6666359"/>
              <a:gd name="connsiteY1934" fmla="*/ 2105175 h 4343113"/>
              <a:gd name="connsiteX1935" fmla="*/ 6531619 w 6666359"/>
              <a:gd name="connsiteY1935" fmla="*/ 2111624 h 4343113"/>
              <a:gd name="connsiteX1936" fmla="*/ 6528395 w 6666359"/>
              <a:gd name="connsiteY1936" fmla="*/ 2121298 h 4343113"/>
              <a:gd name="connsiteX1937" fmla="*/ 6525169 w 6666359"/>
              <a:gd name="connsiteY1937" fmla="*/ 2108400 h 4343113"/>
              <a:gd name="connsiteX1938" fmla="*/ 6521945 w 6666359"/>
              <a:gd name="connsiteY1938" fmla="*/ 2098726 h 4343113"/>
              <a:gd name="connsiteX1939" fmla="*/ 6531619 w 6666359"/>
              <a:gd name="connsiteY1939" fmla="*/ 2098726 h 4343113"/>
              <a:gd name="connsiteX1940" fmla="*/ 6538069 w 6666359"/>
              <a:gd name="connsiteY1940" fmla="*/ 2095501 h 4343113"/>
              <a:gd name="connsiteX1941" fmla="*/ 6538069 w 6666359"/>
              <a:gd name="connsiteY1941" fmla="*/ 2092276 h 4343113"/>
              <a:gd name="connsiteX1942" fmla="*/ 6612235 w 6666359"/>
              <a:gd name="connsiteY1942" fmla="*/ 2076153 h 4343113"/>
              <a:gd name="connsiteX1943" fmla="*/ 6621909 w 6666359"/>
              <a:gd name="connsiteY1943" fmla="*/ 2076153 h 4343113"/>
              <a:gd name="connsiteX1944" fmla="*/ 6631583 w 6666359"/>
              <a:gd name="connsiteY1944" fmla="*/ 2082603 h 4343113"/>
              <a:gd name="connsiteX1945" fmla="*/ 6634807 w 6666359"/>
              <a:gd name="connsiteY1945" fmla="*/ 2089051 h 4343113"/>
              <a:gd name="connsiteX1946" fmla="*/ 6625133 w 6666359"/>
              <a:gd name="connsiteY1946" fmla="*/ 2095501 h 4343113"/>
              <a:gd name="connsiteX1947" fmla="*/ 6609010 w 6666359"/>
              <a:gd name="connsiteY1947" fmla="*/ 2095501 h 4343113"/>
              <a:gd name="connsiteX1948" fmla="*/ 6599336 w 6666359"/>
              <a:gd name="connsiteY1948" fmla="*/ 2108400 h 4343113"/>
              <a:gd name="connsiteX1949" fmla="*/ 6592887 w 6666359"/>
              <a:gd name="connsiteY1949" fmla="*/ 2111624 h 4343113"/>
              <a:gd name="connsiteX1950" fmla="*/ 6586438 w 6666359"/>
              <a:gd name="connsiteY1950" fmla="*/ 2111624 h 4343113"/>
              <a:gd name="connsiteX1951" fmla="*/ 6586438 w 6666359"/>
              <a:gd name="connsiteY1951" fmla="*/ 2108400 h 4343113"/>
              <a:gd name="connsiteX1952" fmla="*/ 6586438 w 6666359"/>
              <a:gd name="connsiteY1952" fmla="*/ 2105175 h 4343113"/>
              <a:gd name="connsiteX1953" fmla="*/ 6583213 w 6666359"/>
              <a:gd name="connsiteY1953" fmla="*/ 2095501 h 4343113"/>
              <a:gd name="connsiteX1954" fmla="*/ 6596112 w 6666359"/>
              <a:gd name="connsiteY1954" fmla="*/ 2079377 h 4343113"/>
              <a:gd name="connsiteX1955" fmla="*/ 6599336 w 6666359"/>
              <a:gd name="connsiteY1955" fmla="*/ 2085827 h 4343113"/>
              <a:gd name="connsiteX1956" fmla="*/ 6609010 w 6666359"/>
              <a:gd name="connsiteY1956" fmla="*/ 2085827 h 4343113"/>
              <a:gd name="connsiteX1957" fmla="*/ 6515494 w 6666359"/>
              <a:gd name="connsiteY1957" fmla="*/ 2066478 h 4343113"/>
              <a:gd name="connsiteX1958" fmla="*/ 6518719 w 6666359"/>
              <a:gd name="connsiteY1958" fmla="*/ 2066478 h 4343113"/>
              <a:gd name="connsiteX1959" fmla="*/ 6518719 w 6666359"/>
              <a:gd name="connsiteY1959" fmla="*/ 2069702 h 4343113"/>
              <a:gd name="connsiteX1960" fmla="*/ 6515494 w 6666359"/>
              <a:gd name="connsiteY1960" fmla="*/ 2076152 h 4343113"/>
              <a:gd name="connsiteX1961" fmla="*/ 6515494 w 6666359"/>
              <a:gd name="connsiteY1961" fmla="*/ 2072927 h 4343113"/>
              <a:gd name="connsiteX1962" fmla="*/ 4403321 w 6666359"/>
              <a:gd name="connsiteY1962" fmla="*/ 2047130 h 4343113"/>
              <a:gd name="connsiteX1963" fmla="*/ 4409771 w 6666359"/>
              <a:gd name="connsiteY1963" fmla="*/ 2047130 h 4343113"/>
              <a:gd name="connsiteX1964" fmla="*/ 4419444 w 6666359"/>
              <a:gd name="connsiteY1964" fmla="*/ 2047130 h 4343113"/>
              <a:gd name="connsiteX1965" fmla="*/ 4422670 w 6666359"/>
              <a:gd name="connsiteY1965" fmla="*/ 2047130 h 4343113"/>
              <a:gd name="connsiteX1966" fmla="*/ 4425894 w 6666359"/>
              <a:gd name="connsiteY1966" fmla="*/ 2053580 h 4343113"/>
              <a:gd name="connsiteX1967" fmla="*/ 4429118 w 6666359"/>
              <a:gd name="connsiteY1967" fmla="*/ 2056805 h 4343113"/>
              <a:gd name="connsiteX1968" fmla="*/ 4419444 w 6666359"/>
              <a:gd name="connsiteY1968" fmla="*/ 2060029 h 4343113"/>
              <a:gd name="connsiteX1969" fmla="*/ 4416220 w 6666359"/>
              <a:gd name="connsiteY1969" fmla="*/ 2063254 h 4343113"/>
              <a:gd name="connsiteX1970" fmla="*/ 4412996 w 6666359"/>
              <a:gd name="connsiteY1970" fmla="*/ 2063254 h 4343113"/>
              <a:gd name="connsiteX1971" fmla="*/ 4409771 w 6666359"/>
              <a:gd name="connsiteY1971" fmla="*/ 2063254 h 4343113"/>
              <a:gd name="connsiteX1972" fmla="*/ 4406546 w 6666359"/>
              <a:gd name="connsiteY1972" fmla="*/ 2066479 h 4343113"/>
              <a:gd name="connsiteX1973" fmla="*/ 4403321 w 6666359"/>
              <a:gd name="connsiteY1973" fmla="*/ 2069703 h 4343113"/>
              <a:gd name="connsiteX1974" fmla="*/ 4400097 w 6666359"/>
              <a:gd name="connsiteY1974" fmla="*/ 2066479 h 4343113"/>
              <a:gd name="connsiteX1975" fmla="*/ 4390423 w 6666359"/>
              <a:gd name="connsiteY1975" fmla="*/ 2063254 h 4343113"/>
              <a:gd name="connsiteX1976" fmla="*/ 4390423 w 6666359"/>
              <a:gd name="connsiteY1976" fmla="*/ 2053580 h 4343113"/>
              <a:gd name="connsiteX1977" fmla="*/ 4396872 w 6666359"/>
              <a:gd name="connsiteY1977" fmla="*/ 2053580 h 4343113"/>
              <a:gd name="connsiteX1978" fmla="*/ 4400097 w 6666359"/>
              <a:gd name="connsiteY1978" fmla="*/ 2053580 h 4343113"/>
              <a:gd name="connsiteX1979" fmla="*/ 4196939 w 6666359"/>
              <a:gd name="connsiteY1979" fmla="*/ 2040682 h 4343113"/>
              <a:gd name="connsiteX1980" fmla="*/ 4206614 w 6666359"/>
              <a:gd name="connsiteY1980" fmla="*/ 2043906 h 4343113"/>
              <a:gd name="connsiteX1981" fmla="*/ 4213063 w 6666359"/>
              <a:gd name="connsiteY1981" fmla="*/ 2047130 h 4343113"/>
              <a:gd name="connsiteX1982" fmla="*/ 4219513 w 6666359"/>
              <a:gd name="connsiteY1982" fmla="*/ 2047130 h 4343113"/>
              <a:gd name="connsiteX1983" fmla="*/ 4222738 w 6666359"/>
              <a:gd name="connsiteY1983" fmla="*/ 2047130 h 4343113"/>
              <a:gd name="connsiteX1984" fmla="*/ 4225962 w 6666359"/>
              <a:gd name="connsiteY1984" fmla="*/ 2047130 h 4343113"/>
              <a:gd name="connsiteX1985" fmla="*/ 4229186 w 6666359"/>
              <a:gd name="connsiteY1985" fmla="*/ 2047130 h 4343113"/>
              <a:gd name="connsiteX1986" fmla="*/ 4232412 w 6666359"/>
              <a:gd name="connsiteY1986" fmla="*/ 2047130 h 4343113"/>
              <a:gd name="connsiteX1987" fmla="*/ 4254984 w 6666359"/>
              <a:gd name="connsiteY1987" fmla="*/ 2050356 h 4343113"/>
              <a:gd name="connsiteX1988" fmla="*/ 4258209 w 6666359"/>
              <a:gd name="connsiteY1988" fmla="*/ 2050356 h 4343113"/>
              <a:gd name="connsiteX1989" fmla="*/ 4258209 w 6666359"/>
              <a:gd name="connsiteY1989" fmla="*/ 2053580 h 4343113"/>
              <a:gd name="connsiteX1990" fmla="*/ 4251760 w 6666359"/>
              <a:gd name="connsiteY1990" fmla="*/ 2056805 h 4343113"/>
              <a:gd name="connsiteX1991" fmla="*/ 4235636 w 6666359"/>
              <a:gd name="connsiteY1991" fmla="*/ 2056805 h 4343113"/>
              <a:gd name="connsiteX1992" fmla="*/ 4225962 w 6666359"/>
              <a:gd name="connsiteY1992" fmla="*/ 2060029 h 4343113"/>
              <a:gd name="connsiteX1993" fmla="*/ 4222738 w 6666359"/>
              <a:gd name="connsiteY1993" fmla="*/ 2060029 h 4343113"/>
              <a:gd name="connsiteX1994" fmla="*/ 4222738 w 6666359"/>
              <a:gd name="connsiteY1994" fmla="*/ 2056805 h 4343113"/>
              <a:gd name="connsiteX1995" fmla="*/ 4209839 w 6666359"/>
              <a:gd name="connsiteY1995" fmla="*/ 2053580 h 4343113"/>
              <a:gd name="connsiteX1996" fmla="*/ 4200165 w 6666359"/>
              <a:gd name="connsiteY1996" fmla="*/ 2050356 h 4343113"/>
              <a:gd name="connsiteX1997" fmla="*/ 4196939 w 6666359"/>
              <a:gd name="connsiteY1997" fmla="*/ 2047130 h 4343113"/>
              <a:gd name="connsiteX1998" fmla="*/ 4196939 w 6666359"/>
              <a:gd name="connsiteY1998" fmla="*/ 2043906 h 4343113"/>
              <a:gd name="connsiteX1999" fmla="*/ 4277557 w 6666359"/>
              <a:gd name="connsiteY1999" fmla="*/ 2037456 h 4343113"/>
              <a:gd name="connsiteX2000" fmla="*/ 4277557 w 6666359"/>
              <a:gd name="connsiteY2000" fmla="*/ 2040682 h 4343113"/>
              <a:gd name="connsiteX2001" fmla="*/ 4277557 w 6666359"/>
              <a:gd name="connsiteY2001" fmla="*/ 2043906 h 4343113"/>
              <a:gd name="connsiteX2002" fmla="*/ 4274333 w 6666359"/>
              <a:gd name="connsiteY2002" fmla="*/ 2047130 h 4343113"/>
              <a:gd name="connsiteX2003" fmla="*/ 4274333 w 6666359"/>
              <a:gd name="connsiteY2003" fmla="*/ 2043906 h 4343113"/>
              <a:gd name="connsiteX2004" fmla="*/ 4274333 w 6666359"/>
              <a:gd name="connsiteY2004" fmla="*/ 2040682 h 4343113"/>
              <a:gd name="connsiteX2005" fmla="*/ 3563288 w 6666359"/>
              <a:gd name="connsiteY2005" fmla="*/ 2031008 h 4343113"/>
              <a:gd name="connsiteX2006" fmla="*/ 3563288 w 6666359"/>
              <a:gd name="connsiteY2006" fmla="*/ 2031208 h 4343113"/>
              <a:gd name="connsiteX2007" fmla="*/ 3562918 w 6666359"/>
              <a:gd name="connsiteY2007" fmla="*/ 2031255 h 4343113"/>
              <a:gd name="connsiteX2008" fmla="*/ 6666359 w 6666359"/>
              <a:gd name="connsiteY2008" fmla="*/ 2024747 h 4343113"/>
              <a:gd name="connsiteX2009" fmla="*/ 6666359 w 6666359"/>
              <a:gd name="connsiteY2009" fmla="*/ 2088597 h 4343113"/>
              <a:gd name="connsiteX2010" fmla="*/ 6660606 w 6666359"/>
              <a:gd name="connsiteY2010" fmla="*/ 2095501 h 4343113"/>
              <a:gd name="connsiteX2011" fmla="*/ 6641257 w 6666359"/>
              <a:gd name="connsiteY2011" fmla="*/ 2085827 h 4343113"/>
              <a:gd name="connsiteX2012" fmla="*/ 6644481 w 6666359"/>
              <a:gd name="connsiteY2012" fmla="*/ 2076153 h 4343113"/>
              <a:gd name="connsiteX2013" fmla="*/ 6650931 w 6666359"/>
              <a:gd name="connsiteY2013" fmla="*/ 2069703 h 4343113"/>
              <a:gd name="connsiteX2014" fmla="*/ 6644481 w 6666359"/>
              <a:gd name="connsiteY2014" fmla="*/ 2063254 h 4343113"/>
              <a:gd name="connsiteX2015" fmla="*/ 6631583 w 6666359"/>
              <a:gd name="connsiteY2015" fmla="*/ 2063254 h 4343113"/>
              <a:gd name="connsiteX2016" fmla="*/ 6625133 w 6666359"/>
              <a:gd name="connsiteY2016" fmla="*/ 2066479 h 4343113"/>
              <a:gd name="connsiteX2017" fmla="*/ 6621909 w 6666359"/>
              <a:gd name="connsiteY2017" fmla="*/ 2069703 h 4343113"/>
              <a:gd name="connsiteX2018" fmla="*/ 6618685 w 6666359"/>
              <a:gd name="connsiteY2018" fmla="*/ 2069703 h 4343113"/>
              <a:gd name="connsiteX2019" fmla="*/ 6612235 w 6666359"/>
              <a:gd name="connsiteY2019" fmla="*/ 2069703 h 4343113"/>
              <a:gd name="connsiteX2020" fmla="*/ 6599336 w 6666359"/>
              <a:gd name="connsiteY2020" fmla="*/ 2076153 h 4343113"/>
              <a:gd name="connsiteX2021" fmla="*/ 6586438 w 6666359"/>
              <a:gd name="connsiteY2021" fmla="*/ 2079377 h 4343113"/>
              <a:gd name="connsiteX2022" fmla="*/ 6586438 w 6666359"/>
              <a:gd name="connsiteY2022" fmla="*/ 2076153 h 4343113"/>
              <a:gd name="connsiteX2023" fmla="*/ 6583213 w 6666359"/>
              <a:gd name="connsiteY2023" fmla="*/ 2072928 h 4343113"/>
              <a:gd name="connsiteX2024" fmla="*/ 6579989 w 6666359"/>
              <a:gd name="connsiteY2024" fmla="*/ 2085827 h 4343113"/>
              <a:gd name="connsiteX2025" fmla="*/ 6573539 w 6666359"/>
              <a:gd name="connsiteY2025" fmla="*/ 2082603 h 4343113"/>
              <a:gd name="connsiteX2026" fmla="*/ 6570315 w 6666359"/>
              <a:gd name="connsiteY2026" fmla="*/ 2085827 h 4343113"/>
              <a:gd name="connsiteX2027" fmla="*/ 6570315 w 6666359"/>
              <a:gd name="connsiteY2027" fmla="*/ 2082603 h 4343113"/>
              <a:gd name="connsiteX2028" fmla="*/ 6567089 w 6666359"/>
              <a:gd name="connsiteY2028" fmla="*/ 2082603 h 4343113"/>
              <a:gd name="connsiteX2029" fmla="*/ 6557415 w 6666359"/>
              <a:gd name="connsiteY2029" fmla="*/ 2085827 h 4343113"/>
              <a:gd name="connsiteX2030" fmla="*/ 6550965 w 6666359"/>
              <a:gd name="connsiteY2030" fmla="*/ 2079377 h 4343113"/>
              <a:gd name="connsiteX2031" fmla="*/ 6554191 w 6666359"/>
              <a:gd name="connsiteY2031" fmla="*/ 2072928 h 4343113"/>
              <a:gd name="connsiteX2032" fmla="*/ 6563865 w 6666359"/>
              <a:gd name="connsiteY2032" fmla="*/ 2069703 h 4343113"/>
              <a:gd name="connsiteX2033" fmla="*/ 6579989 w 6666359"/>
              <a:gd name="connsiteY2033" fmla="*/ 2056804 h 4343113"/>
              <a:gd name="connsiteX2034" fmla="*/ 6599336 w 6666359"/>
              <a:gd name="connsiteY2034" fmla="*/ 2040681 h 4343113"/>
              <a:gd name="connsiteX2035" fmla="*/ 6605785 w 6666359"/>
              <a:gd name="connsiteY2035" fmla="*/ 2043906 h 4343113"/>
              <a:gd name="connsiteX2036" fmla="*/ 6615459 w 6666359"/>
              <a:gd name="connsiteY2036" fmla="*/ 2043906 h 4343113"/>
              <a:gd name="connsiteX2037" fmla="*/ 6625133 w 6666359"/>
              <a:gd name="connsiteY2037" fmla="*/ 2040681 h 4343113"/>
              <a:gd name="connsiteX2038" fmla="*/ 6638033 w 6666359"/>
              <a:gd name="connsiteY2038" fmla="*/ 2037456 h 4343113"/>
              <a:gd name="connsiteX2039" fmla="*/ 6647707 w 6666359"/>
              <a:gd name="connsiteY2039" fmla="*/ 2037456 h 4343113"/>
              <a:gd name="connsiteX2040" fmla="*/ 6647707 w 6666359"/>
              <a:gd name="connsiteY2040" fmla="*/ 2043906 h 4343113"/>
              <a:gd name="connsiteX2041" fmla="*/ 6650931 w 6666359"/>
              <a:gd name="connsiteY2041" fmla="*/ 2043906 h 4343113"/>
              <a:gd name="connsiteX2042" fmla="*/ 6660606 w 6666359"/>
              <a:gd name="connsiteY2042" fmla="*/ 2040681 h 4343113"/>
              <a:gd name="connsiteX2043" fmla="*/ 6663830 w 6666359"/>
              <a:gd name="connsiteY2043" fmla="*/ 2037456 h 4343113"/>
              <a:gd name="connsiteX2044" fmla="*/ 6663830 w 6666359"/>
              <a:gd name="connsiteY2044" fmla="*/ 2027782 h 4343113"/>
              <a:gd name="connsiteX2045" fmla="*/ 4300130 w 6666359"/>
              <a:gd name="connsiteY2045" fmla="*/ 2018108 h 4343113"/>
              <a:gd name="connsiteX2046" fmla="*/ 4300130 w 6666359"/>
              <a:gd name="connsiteY2046" fmla="*/ 2021333 h 4343113"/>
              <a:gd name="connsiteX2047" fmla="*/ 4296905 w 6666359"/>
              <a:gd name="connsiteY2047" fmla="*/ 2027782 h 4343113"/>
              <a:gd name="connsiteX2048" fmla="*/ 4290456 w 6666359"/>
              <a:gd name="connsiteY2048" fmla="*/ 2034232 h 4343113"/>
              <a:gd name="connsiteX2049" fmla="*/ 4290456 w 6666359"/>
              <a:gd name="connsiteY2049" fmla="*/ 2024558 h 4343113"/>
              <a:gd name="connsiteX2050" fmla="*/ 4274333 w 6666359"/>
              <a:gd name="connsiteY2050" fmla="*/ 2005209 h 4343113"/>
              <a:gd name="connsiteX2051" fmla="*/ 4280782 w 6666359"/>
              <a:gd name="connsiteY2051" fmla="*/ 2005209 h 4343113"/>
              <a:gd name="connsiteX2052" fmla="*/ 4271107 w 6666359"/>
              <a:gd name="connsiteY2052" fmla="*/ 2011659 h 4343113"/>
              <a:gd name="connsiteX2053" fmla="*/ 4264659 w 6666359"/>
              <a:gd name="connsiteY2053" fmla="*/ 1982637 h 4343113"/>
              <a:gd name="connsiteX2054" fmla="*/ 4271107 w 6666359"/>
              <a:gd name="connsiteY2054" fmla="*/ 1982637 h 4343113"/>
              <a:gd name="connsiteX2055" fmla="*/ 4274333 w 6666359"/>
              <a:gd name="connsiteY2055" fmla="*/ 1982637 h 4343113"/>
              <a:gd name="connsiteX2056" fmla="*/ 4267883 w 6666359"/>
              <a:gd name="connsiteY2056" fmla="*/ 1985861 h 4343113"/>
              <a:gd name="connsiteX2057" fmla="*/ 3115055 w 6666359"/>
              <a:gd name="connsiteY2057" fmla="*/ 1979412 h 4343113"/>
              <a:gd name="connsiteX2058" fmla="*/ 3131179 w 6666359"/>
              <a:gd name="connsiteY2058" fmla="*/ 1979412 h 4343113"/>
              <a:gd name="connsiteX2059" fmla="*/ 3127953 w 6666359"/>
              <a:gd name="connsiteY2059" fmla="*/ 1982637 h 4343113"/>
              <a:gd name="connsiteX2060" fmla="*/ 3118279 w 6666359"/>
              <a:gd name="connsiteY2060" fmla="*/ 1982637 h 4343113"/>
              <a:gd name="connsiteX2061" fmla="*/ 3967987 w 6666359"/>
              <a:gd name="connsiteY2061" fmla="*/ 1969737 h 4343113"/>
              <a:gd name="connsiteX2062" fmla="*/ 3974435 w 6666359"/>
              <a:gd name="connsiteY2062" fmla="*/ 1972962 h 4343113"/>
              <a:gd name="connsiteX2063" fmla="*/ 3984110 w 6666359"/>
              <a:gd name="connsiteY2063" fmla="*/ 1976186 h 4343113"/>
              <a:gd name="connsiteX2064" fmla="*/ 3997009 w 6666359"/>
              <a:gd name="connsiteY2064" fmla="*/ 1976186 h 4343113"/>
              <a:gd name="connsiteX2065" fmla="*/ 4013132 w 6666359"/>
              <a:gd name="connsiteY2065" fmla="*/ 1972962 h 4343113"/>
              <a:gd name="connsiteX2066" fmla="*/ 4022806 w 6666359"/>
              <a:gd name="connsiteY2066" fmla="*/ 1969737 h 4343113"/>
              <a:gd name="connsiteX2067" fmla="*/ 4013132 w 6666359"/>
              <a:gd name="connsiteY2067" fmla="*/ 1985860 h 4343113"/>
              <a:gd name="connsiteX2068" fmla="*/ 4013132 w 6666359"/>
              <a:gd name="connsiteY2068" fmla="*/ 1992310 h 4343113"/>
              <a:gd name="connsiteX2069" fmla="*/ 4013132 w 6666359"/>
              <a:gd name="connsiteY2069" fmla="*/ 1998760 h 4343113"/>
              <a:gd name="connsiteX2070" fmla="*/ 4013132 w 6666359"/>
              <a:gd name="connsiteY2070" fmla="*/ 2005208 h 4343113"/>
              <a:gd name="connsiteX2071" fmla="*/ 4009908 w 6666359"/>
              <a:gd name="connsiteY2071" fmla="*/ 2011658 h 4343113"/>
              <a:gd name="connsiteX2072" fmla="*/ 4003458 w 6666359"/>
              <a:gd name="connsiteY2072" fmla="*/ 2011658 h 4343113"/>
              <a:gd name="connsiteX2073" fmla="*/ 3993784 w 6666359"/>
              <a:gd name="connsiteY2073" fmla="*/ 2005208 h 4343113"/>
              <a:gd name="connsiteX2074" fmla="*/ 3980885 w 6666359"/>
              <a:gd name="connsiteY2074" fmla="*/ 1998760 h 4343113"/>
              <a:gd name="connsiteX2075" fmla="*/ 3971211 w 6666359"/>
              <a:gd name="connsiteY2075" fmla="*/ 1992310 h 4343113"/>
              <a:gd name="connsiteX2076" fmla="*/ 3958313 w 6666359"/>
              <a:gd name="connsiteY2076" fmla="*/ 1985860 h 4343113"/>
              <a:gd name="connsiteX2077" fmla="*/ 3951863 w 6666359"/>
              <a:gd name="connsiteY2077" fmla="*/ 1982636 h 4343113"/>
              <a:gd name="connsiteX2078" fmla="*/ 3955088 w 6666359"/>
              <a:gd name="connsiteY2078" fmla="*/ 1976186 h 4343113"/>
              <a:gd name="connsiteX2079" fmla="*/ 4132446 w 6666359"/>
              <a:gd name="connsiteY2079" fmla="*/ 1963288 h 4343113"/>
              <a:gd name="connsiteX2080" fmla="*/ 4135671 w 6666359"/>
              <a:gd name="connsiteY2080" fmla="*/ 1972962 h 4343113"/>
              <a:gd name="connsiteX2081" fmla="*/ 4129221 w 6666359"/>
              <a:gd name="connsiteY2081" fmla="*/ 1969738 h 4343113"/>
              <a:gd name="connsiteX2082" fmla="*/ 4248535 w 6666359"/>
              <a:gd name="connsiteY2082" fmla="*/ 1960064 h 4343113"/>
              <a:gd name="connsiteX2083" fmla="*/ 4254984 w 6666359"/>
              <a:gd name="connsiteY2083" fmla="*/ 1960064 h 4343113"/>
              <a:gd name="connsiteX2084" fmla="*/ 4251760 w 6666359"/>
              <a:gd name="connsiteY2084" fmla="*/ 1969738 h 4343113"/>
              <a:gd name="connsiteX2085" fmla="*/ 4248535 w 6666359"/>
              <a:gd name="connsiteY2085" fmla="*/ 1966514 h 4343113"/>
              <a:gd name="connsiteX2086" fmla="*/ 4261433 w 6666359"/>
              <a:gd name="connsiteY2086" fmla="*/ 1937491 h 4343113"/>
              <a:gd name="connsiteX2087" fmla="*/ 4261433 w 6666359"/>
              <a:gd name="connsiteY2087" fmla="*/ 1947165 h 4343113"/>
              <a:gd name="connsiteX2088" fmla="*/ 4251760 w 6666359"/>
              <a:gd name="connsiteY2088" fmla="*/ 1947165 h 4343113"/>
              <a:gd name="connsiteX2089" fmla="*/ 4248535 w 6666359"/>
              <a:gd name="connsiteY2089" fmla="*/ 1943941 h 4343113"/>
              <a:gd name="connsiteX2090" fmla="*/ 4248535 w 6666359"/>
              <a:gd name="connsiteY2090" fmla="*/ 1940716 h 4343113"/>
              <a:gd name="connsiteX2091" fmla="*/ 3753545 w 6666359"/>
              <a:gd name="connsiteY2091" fmla="*/ 1921367 h 4343113"/>
              <a:gd name="connsiteX2092" fmla="*/ 3750320 w 6666359"/>
              <a:gd name="connsiteY2092" fmla="*/ 1924593 h 4343113"/>
              <a:gd name="connsiteX2093" fmla="*/ 3753545 w 6666359"/>
              <a:gd name="connsiteY2093" fmla="*/ 1927817 h 4343113"/>
              <a:gd name="connsiteX2094" fmla="*/ 3759995 w 6666359"/>
              <a:gd name="connsiteY2094" fmla="*/ 1927817 h 4343113"/>
              <a:gd name="connsiteX2095" fmla="*/ 3753545 w 6666359"/>
              <a:gd name="connsiteY2095" fmla="*/ 1937491 h 4343113"/>
              <a:gd name="connsiteX2096" fmla="*/ 3747096 w 6666359"/>
              <a:gd name="connsiteY2096" fmla="*/ 1937491 h 4343113"/>
              <a:gd name="connsiteX2097" fmla="*/ 3734196 w 6666359"/>
              <a:gd name="connsiteY2097" fmla="*/ 1934267 h 4343113"/>
              <a:gd name="connsiteX2098" fmla="*/ 3734196 w 6666359"/>
              <a:gd name="connsiteY2098" fmla="*/ 1927817 h 4343113"/>
              <a:gd name="connsiteX2099" fmla="*/ 3766443 w 6666359"/>
              <a:gd name="connsiteY2099" fmla="*/ 1918143 h 4343113"/>
              <a:gd name="connsiteX2100" fmla="*/ 3769669 w 6666359"/>
              <a:gd name="connsiteY2100" fmla="*/ 1918143 h 4343113"/>
              <a:gd name="connsiteX2101" fmla="*/ 3776117 w 6666359"/>
              <a:gd name="connsiteY2101" fmla="*/ 1918143 h 4343113"/>
              <a:gd name="connsiteX2102" fmla="*/ 3776117 w 6666359"/>
              <a:gd name="connsiteY2102" fmla="*/ 1924593 h 4343113"/>
              <a:gd name="connsiteX2103" fmla="*/ 3766443 w 6666359"/>
              <a:gd name="connsiteY2103" fmla="*/ 1921367 h 4343113"/>
              <a:gd name="connsiteX2104" fmla="*/ 3885757 w 6666359"/>
              <a:gd name="connsiteY2104" fmla="*/ 1882671 h 4343113"/>
              <a:gd name="connsiteX2105" fmla="*/ 3892206 w 6666359"/>
              <a:gd name="connsiteY2105" fmla="*/ 1892345 h 4343113"/>
              <a:gd name="connsiteX2106" fmla="*/ 3898655 w 6666359"/>
              <a:gd name="connsiteY2106" fmla="*/ 1905243 h 4343113"/>
              <a:gd name="connsiteX2107" fmla="*/ 3892206 w 6666359"/>
              <a:gd name="connsiteY2107" fmla="*/ 1911692 h 4343113"/>
              <a:gd name="connsiteX2108" fmla="*/ 3895430 w 6666359"/>
              <a:gd name="connsiteY2108" fmla="*/ 1918142 h 4343113"/>
              <a:gd name="connsiteX2109" fmla="*/ 3895430 w 6666359"/>
              <a:gd name="connsiteY2109" fmla="*/ 1924592 h 4343113"/>
              <a:gd name="connsiteX2110" fmla="*/ 3888981 w 6666359"/>
              <a:gd name="connsiteY2110" fmla="*/ 1943939 h 4343113"/>
              <a:gd name="connsiteX2111" fmla="*/ 3876083 w 6666359"/>
              <a:gd name="connsiteY2111" fmla="*/ 1950389 h 4343113"/>
              <a:gd name="connsiteX2112" fmla="*/ 3869633 w 6666359"/>
              <a:gd name="connsiteY2112" fmla="*/ 1947164 h 4343113"/>
              <a:gd name="connsiteX2113" fmla="*/ 3869633 w 6666359"/>
              <a:gd name="connsiteY2113" fmla="*/ 1924592 h 4343113"/>
              <a:gd name="connsiteX2114" fmla="*/ 3869633 w 6666359"/>
              <a:gd name="connsiteY2114" fmla="*/ 1911692 h 4343113"/>
              <a:gd name="connsiteX2115" fmla="*/ 3863183 w 6666359"/>
              <a:gd name="connsiteY2115" fmla="*/ 1902019 h 4343113"/>
              <a:gd name="connsiteX2116" fmla="*/ 3863183 w 6666359"/>
              <a:gd name="connsiteY2116" fmla="*/ 1892345 h 4343113"/>
              <a:gd name="connsiteX2117" fmla="*/ 3872857 w 6666359"/>
              <a:gd name="connsiteY2117" fmla="*/ 1895569 h 4343113"/>
              <a:gd name="connsiteX2118" fmla="*/ 3879307 w 6666359"/>
              <a:gd name="connsiteY2118" fmla="*/ 1889119 h 4343113"/>
              <a:gd name="connsiteX2119" fmla="*/ 4103425 w 6666359"/>
              <a:gd name="connsiteY2119" fmla="*/ 1856873 h 4343113"/>
              <a:gd name="connsiteX2120" fmla="*/ 4106649 w 6666359"/>
              <a:gd name="connsiteY2120" fmla="*/ 1860099 h 4343113"/>
              <a:gd name="connsiteX2121" fmla="*/ 4106649 w 6666359"/>
              <a:gd name="connsiteY2121" fmla="*/ 1860098 h 4343113"/>
              <a:gd name="connsiteX2122" fmla="*/ 6544514 w 6666359"/>
              <a:gd name="connsiteY2122" fmla="*/ 1852028 h 4343113"/>
              <a:gd name="connsiteX2123" fmla="*/ 6544515 w 6666359"/>
              <a:gd name="connsiteY2123" fmla="*/ 1852032 h 4343113"/>
              <a:gd name="connsiteX2124" fmla="*/ 6544517 w 6666359"/>
              <a:gd name="connsiteY2124" fmla="*/ 1852033 h 4343113"/>
              <a:gd name="connsiteX2125" fmla="*/ 3879308 w 6666359"/>
              <a:gd name="connsiteY2125" fmla="*/ 1842361 h 4343113"/>
              <a:gd name="connsiteX2126" fmla="*/ 3882532 w 6666359"/>
              <a:gd name="connsiteY2126" fmla="*/ 1842361 h 4343113"/>
              <a:gd name="connsiteX2127" fmla="*/ 3885758 w 6666359"/>
              <a:gd name="connsiteY2127" fmla="*/ 1842361 h 4343113"/>
              <a:gd name="connsiteX2128" fmla="*/ 3888982 w 6666359"/>
              <a:gd name="connsiteY2128" fmla="*/ 1845586 h 4343113"/>
              <a:gd name="connsiteX2129" fmla="*/ 3888982 w 6666359"/>
              <a:gd name="connsiteY2129" fmla="*/ 1866547 h 4343113"/>
              <a:gd name="connsiteX2130" fmla="*/ 3885758 w 6666359"/>
              <a:gd name="connsiteY2130" fmla="*/ 1879445 h 4343113"/>
              <a:gd name="connsiteX2131" fmla="*/ 3879308 w 6666359"/>
              <a:gd name="connsiteY2131" fmla="*/ 1876221 h 4343113"/>
              <a:gd name="connsiteX2132" fmla="*/ 3872858 w 6666359"/>
              <a:gd name="connsiteY2132" fmla="*/ 1863322 h 4343113"/>
              <a:gd name="connsiteX2133" fmla="*/ 3869634 w 6666359"/>
              <a:gd name="connsiteY2133" fmla="*/ 1855260 h 4343113"/>
              <a:gd name="connsiteX2134" fmla="*/ 3872858 w 6666359"/>
              <a:gd name="connsiteY2134" fmla="*/ 1848810 h 4343113"/>
              <a:gd name="connsiteX2135" fmla="*/ 6557416 w 6666359"/>
              <a:gd name="connsiteY2135" fmla="*/ 1835912 h 4343113"/>
              <a:gd name="connsiteX2136" fmla="*/ 6556879 w 6666359"/>
              <a:gd name="connsiteY2136" fmla="*/ 1836181 h 4343113"/>
              <a:gd name="connsiteX2137" fmla="*/ 6556609 w 6666359"/>
              <a:gd name="connsiteY2137" fmla="*/ 1836315 h 4343113"/>
              <a:gd name="connsiteX2138" fmla="*/ 6556611 w 6666359"/>
              <a:gd name="connsiteY2138" fmla="*/ 1836315 h 4343113"/>
              <a:gd name="connsiteX2139" fmla="*/ 6556879 w 6666359"/>
              <a:gd name="connsiteY2139" fmla="*/ 1836181 h 4343113"/>
              <a:gd name="connsiteX2140" fmla="*/ 6557416 w 6666359"/>
              <a:gd name="connsiteY2140" fmla="*/ 1835913 h 4343113"/>
              <a:gd name="connsiteX2141" fmla="*/ 2279857 w 6666359"/>
              <a:gd name="connsiteY2141" fmla="*/ 1710149 h 4343113"/>
              <a:gd name="connsiteX2142" fmla="*/ 2279857 w 6666359"/>
              <a:gd name="connsiteY2142" fmla="*/ 1716599 h 4343113"/>
              <a:gd name="connsiteX2143" fmla="*/ 2283082 w 6666359"/>
              <a:gd name="connsiteY2143" fmla="*/ 1726272 h 4343113"/>
              <a:gd name="connsiteX2144" fmla="*/ 2286307 w 6666359"/>
              <a:gd name="connsiteY2144" fmla="*/ 1726272 h 4343113"/>
              <a:gd name="connsiteX2145" fmla="*/ 2292756 w 6666359"/>
              <a:gd name="connsiteY2145" fmla="*/ 1726272 h 4343113"/>
              <a:gd name="connsiteX2146" fmla="*/ 2312104 w 6666359"/>
              <a:gd name="connsiteY2146" fmla="*/ 1726272 h 4343113"/>
              <a:gd name="connsiteX2147" fmla="*/ 2325003 w 6666359"/>
              <a:gd name="connsiteY2147" fmla="*/ 1726272 h 4343113"/>
              <a:gd name="connsiteX2148" fmla="*/ 2315329 w 6666359"/>
              <a:gd name="connsiteY2148" fmla="*/ 1732722 h 4343113"/>
              <a:gd name="connsiteX2149" fmla="*/ 2312104 w 6666359"/>
              <a:gd name="connsiteY2149" fmla="*/ 1739171 h 4343113"/>
              <a:gd name="connsiteX2150" fmla="*/ 2312104 w 6666359"/>
              <a:gd name="connsiteY2150" fmla="*/ 1742396 h 4343113"/>
              <a:gd name="connsiteX2151" fmla="*/ 2292756 w 6666359"/>
              <a:gd name="connsiteY2151" fmla="*/ 1735946 h 4343113"/>
              <a:gd name="connsiteX2152" fmla="*/ 2273408 w 6666359"/>
              <a:gd name="connsiteY2152" fmla="*/ 1723048 h 4343113"/>
              <a:gd name="connsiteX2153" fmla="*/ 2273408 w 6666359"/>
              <a:gd name="connsiteY2153" fmla="*/ 1713373 h 4343113"/>
              <a:gd name="connsiteX2154" fmla="*/ 2447542 w 6666359"/>
              <a:gd name="connsiteY2154" fmla="*/ 1706925 h 4343113"/>
              <a:gd name="connsiteX2155" fmla="*/ 2450767 w 6666359"/>
              <a:gd name="connsiteY2155" fmla="*/ 1713373 h 4343113"/>
              <a:gd name="connsiteX2156" fmla="*/ 2444318 w 6666359"/>
              <a:gd name="connsiteY2156" fmla="*/ 1716599 h 4343113"/>
              <a:gd name="connsiteX2157" fmla="*/ 2357250 w 6666359"/>
              <a:gd name="connsiteY2157" fmla="*/ 1706925 h 4343113"/>
              <a:gd name="connsiteX2158" fmla="*/ 2360475 w 6666359"/>
              <a:gd name="connsiteY2158" fmla="*/ 1713373 h 4343113"/>
              <a:gd name="connsiteX2159" fmla="*/ 2360475 w 6666359"/>
              <a:gd name="connsiteY2159" fmla="*/ 1729497 h 4343113"/>
              <a:gd name="connsiteX2160" fmla="*/ 2370149 w 6666359"/>
              <a:gd name="connsiteY2160" fmla="*/ 1732722 h 4343113"/>
              <a:gd name="connsiteX2161" fmla="*/ 2370149 w 6666359"/>
              <a:gd name="connsiteY2161" fmla="*/ 1739171 h 4343113"/>
              <a:gd name="connsiteX2162" fmla="*/ 2360475 w 6666359"/>
              <a:gd name="connsiteY2162" fmla="*/ 1748846 h 4343113"/>
              <a:gd name="connsiteX2163" fmla="*/ 2347576 w 6666359"/>
              <a:gd name="connsiteY2163" fmla="*/ 1752070 h 4343113"/>
              <a:gd name="connsiteX2164" fmla="*/ 2337902 w 6666359"/>
              <a:gd name="connsiteY2164" fmla="*/ 1748846 h 4343113"/>
              <a:gd name="connsiteX2165" fmla="*/ 2334677 w 6666359"/>
              <a:gd name="connsiteY2165" fmla="*/ 1739171 h 4343113"/>
              <a:gd name="connsiteX2166" fmla="*/ 2344352 w 6666359"/>
              <a:gd name="connsiteY2166" fmla="*/ 1726272 h 4343113"/>
              <a:gd name="connsiteX2167" fmla="*/ 2347576 w 6666359"/>
              <a:gd name="connsiteY2167" fmla="*/ 1716599 h 4343113"/>
              <a:gd name="connsiteX2168" fmla="*/ 2350800 w 6666359"/>
              <a:gd name="connsiteY2168" fmla="*/ 1710149 h 4343113"/>
              <a:gd name="connsiteX2169" fmla="*/ 2331452 w 6666359"/>
              <a:gd name="connsiteY2169" fmla="*/ 1690801 h 4343113"/>
              <a:gd name="connsiteX2170" fmla="*/ 2328228 w 6666359"/>
              <a:gd name="connsiteY2170" fmla="*/ 1697250 h 4343113"/>
              <a:gd name="connsiteX2171" fmla="*/ 2325003 w 6666359"/>
              <a:gd name="connsiteY2171" fmla="*/ 1700475 h 4343113"/>
              <a:gd name="connsiteX2172" fmla="*/ 2328228 w 6666359"/>
              <a:gd name="connsiteY2172" fmla="*/ 1703699 h 4343113"/>
              <a:gd name="connsiteX2173" fmla="*/ 2321778 w 6666359"/>
              <a:gd name="connsiteY2173" fmla="*/ 1703699 h 4343113"/>
              <a:gd name="connsiteX2174" fmla="*/ 2325003 w 6666359"/>
              <a:gd name="connsiteY2174" fmla="*/ 1697250 h 4343113"/>
              <a:gd name="connsiteX2175" fmla="*/ 993206 w 6666359"/>
              <a:gd name="connsiteY2175" fmla="*/ 1665003 h 4343113"/>
              <a:gd name="connsiteX2176" fmla="*/ 993206 w 6666359"/>
              <a:gd name="connsiteY2176" fmla="*/ 1671452 h 4343113"/>
              <a:gd name="connsiteX2177" fmla="*/ 999654 w 6666359"/>
              <a:gd name="connsiteY2177" fmla="*/ 1674678 h 4343113"/>
              <a:gd name="connsiteX2178" fmla="*/ 999654 w 6666359"/>
              <a:gd name="connsiteY2178" fmla="*/ 1681126 h 4343113"/>
              <a:gd name="connsiteX2179" fmla="*/ 989980 w 6666359"/>
              <a:gd name="connsiteY2179" fmla="*/ 1671452 h 4343113"/>
              <a:gd name="connsiteX2180" fmla="*/ 2276632 w 6666359"/>
              <a:gd name="connsiteY2180" fmla="*/ 1613408 h 4343113"/>
              <a:gd name="connsiteX2181" fmla="*/ 2289531 w 6666359"/>
              <a:gd name="connsiteY2181" fmla="*/ 1616633 h 4343113"/>
              <a:gd name="connsiteX2182" fmla="*/ 2321778 w 6666359"/>
              <a:gd name="connsiteY2182" fmla="*/ 1632757 h 4343113"/>
              <a:gd name="connsiteX2183" fmla="*/ 2328228 w 6666359"/>
              <a:gd name="connsiteY2183" fmla="*/ 1639205 h 4343113"/>
              <a:gd name="connsiteX2184" fmla="*/ 2321778 w 6666359"/>
              <a:gd name="connsiteY2184" fmla="*/ 1642431 h 4343113"/>
              <a:gd name="connsiteX2185" fmla="*/ 2318554 w 6666359"/>
              <a:gd name="connsiteY2185" fmla="*/ 1642431 h 4343113"/>
              <a:gd name="connsiteX2186" fmla="*/ 2289531 w 6666359"/>
              <a:gd name="connsiteY2186" fmla="*/ 1632757 h 4343113"/>
              <a:gd name="connsiteX2187" fmla="*/ 2266958 w 6666359"/>
              <a:gd name="connsiteY2187" fmla="*/ 1616633 h 4343113"/>
              <a:gd name="connsiteX2188" fmla="*/ 2453992 w 6666359"/>
              <a:gd name="connsiteY2188" fmla="*/ 1555363 h 4343113"/>
              <a:gd name="connsiteX2189" fmla="*/ 2466890 w 6666359"/>
              <a:gd name="connsiteY2189" fmla="*/ 1555363 h 4343113"/>
              <a:gd name="connsiteX2190" fmla="*/ 2466890 w 6666359"/>
              <a:gd name="connsiteY2190" fmla="*/ 1558589 h 4343113"/>
              <a:gd name="connsiteX2191" fmla="*/ 2463666 w 6666359"/>
              <a:gd name="connsiteY2191" fmla="*/ 1565037 h 4343113"/>
              <a:gd name="connsiteX2192" fmla="*/ 2457216 w 6666359"/>
              <a:gd name="connsiteY2192" fmla="*/ 1577937 h 4343113"/>
              <a:gd name="connsiteX2193" fmla="*/ 2441093 w 6666359"/>
              <a:gd name="connsiteY2193" fmla="*/ 1603734 h 4343113"/>
              <a:gd name="connsiteX2194" fmla="*/ 2437868 w 6666359"/>
              <a:gd name="connsiteY2194" fmla="*/ 1616633 h 4343113"/>
              <a:gd name="connsiteX2195" fmla="*/ 2437868 w 6666359"/>
              <a:gd name="connsiteY2195" fmla="*/ 1619857 h 4343113"/>
              <a:gd name="connsiteX2196" fmla="*/ 2444318 w 6666359"/>
              <a:gd name="connsiteY2196" fmla="*/ 1616633 h 4343113"/>
              <a:gd name="connsiteX2197" fmla="*/ 2450767 w 6666359"/>
              <a:gd name="connsiteY2197" fmla="*/ 1603734 h 4343113"/>
              <a:gd name="connsiteX2198" fmla="*/ 2460441 w 6666359"/>
              <a:gd name="connsiteY2198" fmla="*/ 1613408 h 4343113"/>
              <a:gd name="connsiteX2199" fmla="*/ 2457216 w 6666359"/>
              <a:gd name="connsiteY2199" fmla="*/ 1619857 h 4343113"/>
              <a:gd name="connsiteX2200" fmla="*/ 2460441 w 6666359"/>
              <a:gd name="connsiteY2200" fmla="*/ 1629531 h 4343113"/>
              <a:gd name="connsiteX2201" fmla="*/ 2463666 w 6666359"/>
              <a:gd name="connsiteY2201" fmla="*/ 1629531 h 4343113"/>
              <a:gd name="connsiteX2202" fmla="*/ 2470115 w 6666359"/>
              <a:gd name="connsiteY2202" fmla="*/ 1626307 h 4343113"/>
              <a:gd name="connsiteX2203" fmla="*/ 2473340 w 6666359"/>
              <a:gd name="connsiteY2203" fmla="*/ 1629531 h 4343113"/>
              <a:gd name="connsiteX2204" fmla="*/ 2476565 w 6666359"/>
              <a:gd name="connsiteY2204" fmla="*/ 1635981 h 4343113"/>
              <a:gd name="connsiteX2205" fmla="*/ 2483014 w 6666359"/>
              <a:gd name="connsiteY2205" fmla="*/ 1629531 h 4343113"/>
              <a:gd name="connsiteX2206" fmla="*/ 2486239 w 6666359"/>
              <a:gd name="connsiteY2206" fmla="*/ 1626307 h 4343113"/>
              <a:gd name="connsiteX2207" fmla="*/ 2492689 w 6666359"/>
              <a:gd name="connsiteY2207" fmla="*/ 1629531 h 4343113"/>
              <a:gd name="connsiteX2208" fmla="*/ 2499137 w 6666359"/>
              <a:gd name="connsiteY2208" fmla="*/ 1629531 h 4343113"/>
              <a:gd name="connsiteX2209" fmla="*/ 2505587 w 6666359"/>
              <a:gd name="connsiteY2209" fmla="*/ 1632757 h 4343113"/>
              <a:gd name="connsiteX2210" fmla="*/ 2508812 w 6666359"/>
              <a:gd name="connsiteY2210" fmla="*/ 1635981 h 4343113"/>
              <a:gd name="connsiteX2211" fmla="*/ 2508812 w 6666359"/>
              <a:gd name="connsiteY2211" fmla="*/ 1639205 h 4343113"/>
              <a:gd name="connsiteX2212" fmla="*/ 2502362 w 6666359"/>
              <a:gd name="connsiteY2212" fmla="*/ 1645655 h 4343113"/>
              <a:gd name="connsiteX2213" fmla="*/ 2499137 w 6666359"/>
              <a:gd name="connsiteY2213" fmla="*/ 1648880 h 4343113"/>
              <a:gd name="connsiteX2214" fmla="*/ 2502362 w 6666359"/>
              <a:gd name="connsiteY2214" fmla="*/ 1652105 h 4343113"/>
              <a:gd name="connsiteX2215" fmla="*/ 2502362 w 6666359"/>
              <a:gd name="connsiteY2215" fmla="*/ 1661778 h 4343113"/>
              <a:gd name="connsiteX2216" fmla="*/ 2515261 w 6666359"/>
              <a:gd name="connsiteY2216" fmla="*/ 1655329 h 4343113"/>
              <a:gd name="connsiteX2217" fmla="*/ 2518486 w 6666359"/>
              <a:gd name="connsiteY2217" fmla="*/ 1655329 h 4343113"/>
              <a:gd name="connsiteX2218" fmla="*/ 2518486 w 6666359"/>
              <a:gd name="connsiteY2218" fmla="*/ 1661778 h 4343113"/>
              <a:gd name="connsiteX2219" fmla="*/ 2508812 w 6666359"/>
              <a:gd name="connsiteY2219" fmla="*/ 1668228 h 4343113"/>
              <a:gd name="connsiteX2220" fmla="*/ 2505587 w 6666359"/>
              <a:gd name="connsiteY2220" fmla="*/ 1671452 h 4343113"/>
              <a:gd name="connsiteX2221" fmla="*/ 2502362 w 6666359"/>
              <a:gd name="connsiteY2221" fmla="*/ 1671452 h 4343113"/>
              <a:gd name="connsiteX2222" fmla="*/ 2499137 w 6666359"/>
              <a:gd name="connsiteY2222" fmla="*/ 1671452 h 4343113"/>
              <a:gd name="connsiteX2223" fmla="*/ 2499137 w 6666359"/>
              <a:gd name="connsiteY2223" fmla="*/ 1681126 h 4343113"/>
              <a:gd name="connsiteX2224" fmla="*/ 2508812 w 6666359"/>
              <a:gd name="connsiteY2224" fmla="*/ 1690801 h 4343113"/>
              <a:gd name="connsiteX2225" fmla="*/ 2508812 w 6666359"/>
              <a:gd name="connsiteY2225" fmla="*/ 1687576 h 4343113"/>
              <a:gd name="connsiteX2226" fmla="*/ 2512036 w 6666359"/>
              <a:gd name="connsiteY2226" fmla="*/ 1677902 h 4343113"/>
              <a:gd name="connsiteX2227" fmla="*/ 2518486 w 6666359"/>
              <a:gd name="connsiteY2227" fmla="*/ 1674678 h 4343113"/>
              <a:gd name="connsiteX2228" fmla="*/ 2521710 w 6666359"/>
              <a:gd name="connsiteY2228" fmla="*/ 1674678 h 4343113"/>
              <a:gd name="connsiteX2229" fmla="*/ 2518486 w 6666359"/>
              <a:gd name="connsiteY2229" fmla="*/ 1681126 h 4343113"/>
              <a:gd name="connsiteX2230" fmla="*/ 2515261 w 6666359"/>
              <a:gd name="connsiteY2230" fmla="*/ 1687576 h 4343113"/>
              <a:gd name="connsiteX2231" fmla="*/ 2515261 w 6666359"/>
              <a:gd name="connsiteY2231" fmla="*/ 1694025 h 4343113"/>
              <a:gd name="connsiteX2232" fmla="*/ 2521710 w 6666359"/>
              <a:gd name="connsiteY2232" fmla="*/ 1694025 h 4343113"/>
              <a:gd name="connsiteX2233" fmla="*/ 2524935 w 6666359"/>
              <a:gd name="connsiteY2233" fmla="*/ 1687576 h 4343113"/>
              <a:gd name="connsiteX2234" fmla="*/ 2524935 w 6666359"/>
              <a:gd name="connsiteY2234" fmla="*/ 1684352 h 4343113"/>
              <a:gd name="connsiteX2235" fmla="*/ 2528160 w 6666359"/>
              <a:gd name="connsiteY2235" fmla="*/ 1697250 h 4343113"/>
              <a:gd name="connsiteX2236" fmla="*/ 2524935 w 6666359"/>
              <a:gd name="connsiteY2236" fmla="*/ 1710149 h 4343113"/>
              <a:gd name="connsiteX2237" fmla="*/ 2521710 w 6666359"/>
              <a:gd name="connsiteY2237" fmla="*/ 1716599 h 4343113"/>
              <a:gd name="connsiteX2238" fmla="*/ 2515261 w 6666359"/>
              <a:gd name="connsiteY2238" fmla="*/ 1723048 h 4343113"/>
              <a:gd name="connsiteX2239" fmla="*/ 2508812 w 6666359"/>
              <a:gd name="connsiteY2239" fmla="*/ 1723048 h 4343113"/>
              <a:gd name="connsiteX2240" fmla="*/ 2495913 w 6666359"/>
              <a:gd name="connsiteY2240" fmla="*/ 1716599 h 4343113"/>
              <a:gd name="connsiteX2241" fmla="*/ 2499137 w 6666359"/>
              <a:gd name="connsiteY2241" fmla="*/ 1703699 h 4343113"/>
              <a:gd name="connsiteX2242" fmla="*/ 2499137 w 6666359"/>
              <a:gd name="connsiteY2242" fmla="*/ 1687576 h 4343113"/>
              <a:gd name="connsiteX2243" fmla="*/ 2495913 w 6666359"/>
              <a:gd name="connsiteY2243" fmla="*/ 1681126 h 4343113"/>
              <a:gd name="connsiteX2244" fmla="*/ 2489463 w 6666359"/>
              <a:gd name="connsiteY2244" fmla="*/ 1690801 h 4343113"/>
              <a:gd name="connsiteX2245" fmla="*/ 2479789 w 6666359"/>
              <a:gd name="connsiteY2245" fmla="*/ 1700475 h 4343113"/>
              <a:gd name="connsiteX2246" fmla="*/ 2473340 w 6666359"/>
              <a:gd name="connsiteY2246" fmla="*/ 1706925 h 4343113"/>
              <a:gd name="connsiteX2247" fmla="*/ 2470115 w 6666359"/>
              <a:gd name="connsiteY2247" fmla="*/ 1713373 h 4343113"/>
              <a:gd name="connsiteX2248" fmla="*/ 2460441 w 6666359"/>
              <a:gd name="connsiteY2248" fmla="*/ 1713373 h 4343113"/>
              <a:gd name="connsiteX2249" fmla="*/ 2457216 w 6666359"/>
              <a:gd name="connsiteY2249" fmla="*/ 1706925 h 4343113"/>
              <a:gd name="connsiteX2250" fmla="*/ 2466890 w 6666359"/>
              <a:gd name="connsiteY2250" fmla="*/ 1706925 h 4343113"/>
              <a:gd name="connsiteX2251" fmla="*/ 2479789 w 6666359"/>
              <a:gd name="connsiteY2251" fmla="*/ 1690801 h 4343113"/>
              <a:gd name="connsiteX2252" fmla="*/ 2476565 w 6666359"/>
              <a:gd name="connsiteY2252" fmla="*/ 1690801 h 4343113"/>
              <a:gd name="connsiteX2253" fmla="*/ 2466890 w 6666359"/>
              <a:gd name="connsiteY2253" fmla="*/ 1687576 h 4343113"/>
              <a:gd name="connsiteX2254" fmla="*/ 2466890 w 6666359"/>
              <a:gd name="connsiteY2254" fmla="*/ 1694025 h 4343113"/>
              <a:gd name="connsiteX2255" fmla="*/ 2463666 w 6666359"/>
              <a:gd name="connsiteY2255" fmla="*/ 1694025 h 4343113"/>
              <a:gd name="connsiteX2256" fmla="*/ 2460441 w 6666359"/>
              <a:gd name="connsiteY2256" fmla="*/ 1690801 h 4343113"/>
              <a:gd name="connsiteX2257" fmla="*/ 2457216 w 6666359"/>
              <a:gd name="connsiteY2257" fmla="*/ 1684352 h 4343113"/>
              <a:gd name="connsiteX2258" fmla="*/ 2450767 w 6666359"/>
              <a:gd name="connsiteY2258" fmla="*/ 1690801 h 4343113"/>
              <a:gd name="connsiteX2259" fmla="*/ 2444318 w 6666359"/>
              <a:gd name="connsiteY2259" fmla="*/ 1690801 h 4343113"/>
              <a:gd name="connsiteX2260" fmla="*/ 2434644 w 6666359"/>
              <a:gd name="connsiteY2260" fmla="*/ 1694025 h 4343113"/>
              <a:gd name="connsiteX2261" fmla="*/ 2428194 w 6666359"/>
              <a:gd name="connsiteY2261" fmla="*/ 1690801 h 4343113"/>
              <a:gd name="connsiteX2262" fmla="*/ 2424969 w 6666359"/>
              <a:gd name="connsiteY2262" fmla="*/ 1687576 h 4343113"/>
              <a:gd name="connsiteX2263" fmla="*/ 2402397 w 6666359"/>
              <a:gd name="connsiteY2263" fmla="*/ 1690801 h 4343113"/>
              <a:gd name="connsiteX2264" fmla="*/ 2383048 w 6666359"/>
              <a:gd name="connsiteY2264" fmla="*/ 1690801 h 4343113"/>
              <a:gd name="connsiteX2265" fmla="*/ 2379824 w 6666359"/>
              <a:gd name="connsiteY2265" fmla="*/ 1681126 h 4343113"/>
              <a:gd name="connsiteX2266" fmla="*/ 2389498 w 6666359"/>
              <a:gd name="connsiteY2266" fmla="*/ 1671452 h 4343113"/>
              <a:gd name="connsiteX2267" fmla="*/ 2399172 w 6666359"/>
              <a:gd name="connsiteY2267" fmla="*/ 1665003 h 4343113"/>
              <a:gd name="connsiteX2268" fmla="*/ 2395947 w 6666359"/>
              <a:gd name="connsiteY2268" fmla="*/ 1658554 h 4343113"/>
              <a:gd name="connsiteX2269" fmla="*/ 2402397 w 6666359"/>
              <a:gd name="connsiteY2269" fmla="*/ 1639205 h 4343113"/>
              <a:gd name="connsiteX2270" fmla="*/ 2405621 w 6666359"/>
              <a:gd name="connsiteY2270" fmla="*/ 1635981 h 4343113"/>
              <a:gd name="connsiteX2271" fmla="*/ 2405621 w 6666359"/>
              <a:gd name="connsiteY2271" fmla="*/ 1629531 h 4343113"/>
              <a:gd name="connsiteX2272" fmla="*/ 2412071 w 6666359"/>
              <a:gd name="connsiteY2272" fmla="*/ 1623082 h 4343113"/>
              <a:gd name="connsiteX2273" fmla="*/ 2415295 w 6666359"/>
              <a:gd name="connsiteY2273" fmla="*/ 1613408 h 4343113"/>
              <a:gd name="connsiteX2274" fmla="*/ 2421745 w 6666359"/>
              <a:gd name="connsiteY2274" fmla="*/ 1594060 h 4343113"/>
              <a:gd name="connsiteX2275" fmla="*/ 2431419 w 6666359"/>
              <a:gd name="connsiteY2275" fmla="*/ 1577937 h 4343113"/>
              <a:gd name="connsiteX2276" fmla="*/ 2441093 w 6666359"/>
              <a:gd name="connsiteY2276" fmla="*/ 1565037 h 4343113"/>
              <a:gd name="connsiteX2277" fmla="*/ 873891 w 6666359"/>
              <a:gd name="connsiteY2277" fmla="*/ 1536016 h 4343113"/>
              <a:gd name="connsiteX2278" fmla="*/ 877116 w 6666359"/>
              <a:gd name="connsiteY2278" fmla="*/ 1536016 h 4343113"/>
              <a:gd name="connsiteX2279" fmla="*/ 873891 w 6666359"/>
              <a:gd name="connsiteY2279" fmla="*/ 1539240 h 4343113"/>
              <a:gd name="connsiteX2280" fmla="*/ 790049 w 6666359"/>
              <a:gd name="connsiteY2280" fmla="*/ 1500544 h 4343113"/>
              <a:gd name="connsiteX2281" fmla="*/ 796499 w 6666359"/>
              <a:gd name="connsiteY2281" fmla="*/ 1503769 h 4343113"/>
              <a:gd name="connsiteX2282" fmla="*/ 802948 w 6666359"/>
              <a:gd name="connsiteY2282" fmla="*/ 1532791 h 4343113"/>
              <a:gd name="connsiteX2283" fmla="*/ 806173 w 6666359"/>
              <a:gd name="connsiteY2283" fmla="*/ 1532791 h 4343113"/>
              <a:gd name="connsiteX2284" fmla="*/ 809397 w 6666359"/>
              <a:gd name="connsiteY2284" fmla="*/ 1536016 h 4343113"/>
              <a:gd name="connsiteX2285" fmla="*/ 802948 w 6666359"/>
              <a:gd name="connsiteY2285" fmla="*/ 1539240 h 4343113"/>
              <a:gd name="connsiteX2286" fmla="*/ 786825 w 6666359"/>
              <a:gd name="connsiteY2286" fmla="*/ 1516668 h 4343113"/>
              <a:gd name="connsiteX2287" fmla="*/ 780376 w 6666359"/>
              <a:gd name="connsiteY2287" fmla="*/ 1503769 h 4343113"/>
              <a:gd name="connsiteX2288" fmla="*/ 1886444 w 6666359"/>
              <a:gd name="connsiteY2288" fmla="*/ 1497319 h 4343113"/>
              <a:gd name="connsiteX2289" fmla="*/ 1905793 w 6666359"/>
              <a:gd name="connsiteY2289" fmla="*/ 1497319 h 4343113"/>
              <a:gd name="connsiteX2290" fmla="*/ 1912242 w 6666359"/>
              <a:gd name="connsiteY2290" fmla="*/ 1516668 h 4343113"/>
              <a:gd name="connsiteX2291" fmla="*/ 1902568 w 6666359"/>
              <a:gd name="connsiteY2291" fmla="*/ 1513442 h 4343113"/>
              <a:gd name="connsiteX2292" fmla="*/ 1889670 w 6666359"/>
              <a:gd name="connsiteY2292" fmla="*/ 1506993 h 4343113"/>
              <a:gd name="connsiteX2293" fmla="*/ 1883220 w 6666359"/>
              <a:gd name="connsiteY2293" fmla="*/ 1503769 h 4343113"/>
              <a:gd name="connsiteX2294" fmla="*/ 851318 w 6666359"/>
              <a:gd name="connsiteY2294" fmla="*/ 1497319 h 4343113"/>
              <a:gd name="connsiteX2295" fmla="*/ 854543 w 6666359"/>
              <a:gd name="connsiteY2295" fmla="*/ 1497319 h 4343113"/>
              <a:gd name="connsiteX2296" fmla="*/ 860992 w 6666359"/>
              <a:gd name="connsiteY2296" fmla="*/ 1513442 h 4343113"/>
              <a:gd name="connsiteX2297" fmla="*/ 860992 w 6666359"/>
              <a:gd name="connsiteY2297" fmla="*/ 1523116 h 4343113"/>
              <a:gd name="connsiteX2298" fmla="*/ 854543 w 6666359"/>
              <a:gd name="connsiteY2298" fmla="*/ 1523116 h 4343113"/>
              <a:gd name="connsiteX2299" fmla="*/ 848094 w 6666359"/>
              <a:gd name="connsiteY2299" fmla="*/ 1510218 h 4343113"/>
              <a:gd name="connsiteX2300" fmla="*/ 819071 w 6666359"/>
              <a:gd name="connsiteY2300" fmla="*/ 1484421 h 4343113"/>
              <a:gd name="connsiteX2301" fmla="*/ 822296 w 6666359"/>
              <a:gd name="connsiteY2301" fmla="*/ 1484421 h 4343113"/>
              <a:gd name="connsiteX2302" fmla="*/ 831970 w 6666359"/>
              <a:gd name="connsiteY2302" fmla="*/ 1490869 h 4343113"/>
              <a:gd name="connsiteX2303" fmla="*/ 835195 w 6666359"/>
              <a:gd name="connsiteY2303" fmla="*/ 1500544 h 4343113"/>
              <a:gd name="connsiteX2304" fmla="*/ 822296 w 6666359"/>
              <a:gd name="connsiteY2304" fmla="*/ 1490869 h 4343113"/>
              <a:gd name="connsiteX2305" fmla="*/ 851318 w 6666359"/>
              <a:gd name="connsiteY2305" fmla="*/ 1481195 h 4343113"/>
              <a:gd name="connsiteX2306" fmla="*/ 857768 w 6666359"/>
              <a:gd name="connsiteY2306" fmla="*/ 1481195 h 4343113"/>
              <a:gd name="connsiteX2307" fmla="*/ 851318 w 6666359"/>
              <a:gd name="connsiteY2307" fmla="*/ 1490869 h 4343113"/>
              <a:gd name="connsiteX2308" fmla="*/ 825521 w 6666359"/>
              <a:gd name="connsiteY2308" fmla="*/ 1474746 h 4343113"/>
              <a:gd name="connsiteX2309" fmla="*/ 828746 w 6666359"/>
              <a:gd name="connsiteY2309" fmla="*/ 1474746 h 4343113"/>
              <a:gd name="connsiteX2310" fmla="*/ 838420 w 6666359"/>
              <a:gd name="connsiteY2310" fmla="*/ 1484421 h 4343113"/>
              <a:gd name="connsiteX2311" fmla="*/ 844869 w 6666359"/>
              <a:gd name="connsiteY2311" fmla="*/ 1494095 h 4343113"/>
              <a:gd name="connsiteX2312" fmla="*/ 841644 w 6666359"/>
              <a:gd name="connsiteY2312" fmla="*/ 1500544 h 4343113"/>
              <a:gd name="connsiteX2313" fmla="*/ 835195 w 6666359"/>
              <a:gd name="connsiteY2313" fmla="*/ 1494095 h 4343113"/>
              <a:gd name="connsiteX2314" fmla="*/ 828746 w 6666359"/>
              <a:gd name="connsiteY2314" fmla="*/ 1484421 h 4343113"/>
              <a:gd name="connsiteX2315" fmla="*/ 29022 w 6666359"/>
              <a:gd name="connsiteY2315" fmla="*/ 1468298 h 4343113"/>
              <a:gd name="connsiteX2316" fmla="*/ 38696 w 6666359"/>
              <a:gd name="connsiteY2316" fmla="*/ 1471523 h 4343113"/>
              <a:gd name="connsiteX2317" fmla="*/ 35471 w 6666359"/>
              <a:gd name="connsiteY2317" fmla="*/ 1477972 h 4343113"/>
              <a:gd name="connsiteX2318" fmla="*/ 29022 w 6666359"/>
              <a:gd name="connsiteY2318" fmla="*/ 1487646 h 4343113"/>
              <a:gd name="connsiteX2319" fmla="*/ 16123 w 6666359"/>
              <a:gd name="connsiteY2319" fmla="*/ 1490870 h 4343113"/>
              <a:gd name="connsiteX2320" fmla="*/ 3224 w 6666359"/>
              <a:gd name="connsiteY2320" fmla="*/ 1494096 h 4343113"/>
              <a:gd name="connsiteX2321" fmla="*/ 9674 w 6666359"/>
              <a:gd name="connsiteY2321" fmla="*/ 1490870 h 4343113"/>
              <a:gd name="connsiteX2322" fmla="*/ 12898 w 6666359"/>
              <a:gd name="connsiteY2322" fmla="*/ 1490870 h 4343113"/>
              <a:gd name="connsiteX2323" fmla="*/ 16123 w 6666359"/>
              <a:gd name="connsiteY2323" fmla="*/ 1487646 h 4343113"/>
              <a:gd name="connsiteX2324" fmla="*/ 19348 w 6666359"/>
              <a:gd name="connsiteY2324" fmla="*/ 1484422 h 4343113"/>
              <a:gd name="connsiteX2325" fmla="*/ 19348 w 6666359"/>
              <a:gd name="connsiteY2325" fmla="*/ 1471523 h 4343113"/>
              <a:gd name="connsiteX2326" fmla="*/ 764252 w 6666359"/>
              <a:gd name="connsiteY2326" fmla="*/ 1461848 h 4343113"/>
              <a:gd name="connsiteX2327" fmla="*/ 767476 w 6666359"/>
              <a:gd name="connsiteY2327" fmla="*/ 1461848 h 4343113"/>
              <a:gd name="connsiteX2328" fmla="*/ 783600 w 6666359"/>
              <a:gd name="connsiteY2328" fmla="*/ 1465072 h 4343113"/>
              <a:gd name="connsiteX2329" fmla="*/ 790049 w 6666359"/>
              <a:gd name="connsiteY2329" fmla="*/ 1468297 h 4343113"/>
              <a:gd name="connsiteX2330" fmla="*/ 796499 w 6666359"/>
              <a:gd name="connsiteY2330" fmla="*/ 1465072 h 4343113"/>
              <a:gd name="connsiteX2331" fmla="*/ 793275 w 6666359"/>
              <a:gd name="connsiteY2331" fmla="*/ 1481195 h 4343113"/>
              <a:gd name="connsiteX2332" fmla="*/ 786825 w 6666359"/>
              <a:gd name="connsiteY2332" fmla="*/ 1497319 h 4343113"/>
              <a:gd name="connsiteX2333" fmla="*/ 770702 w 6666359"/>
              <a:gd name="connsiteY2333" fmla="*/ 1494095 h 4343113"/>
              <a:gd name="connsiteX2334" fmla="*/ 764252 w 6666359"/>
              <a:gd name="connsiteY2334" fmla="*/ 1474746 h 4343113"/>
              <a:gd name="connsiteX2335" fmla="*/ 3585860 w 6666359"/>
              <a:gd name="connsiteY2335" fmla="*/ 1452174 h 4343113"/>
              <a:gd name="connsiteX2336" fmla="*/ 3585860 w 6666359"/>
              <a:gd name="connsiteY2336" fmla="*/ 1458623 h 4343113"/>
              <a:gd name="connsiteX2337" fmla="*/ 3585860 w 6666359"/>
              <a:gd name="connsiteY2337" fmla="*/ 1461849 h 4343113"/>
              <a:gd name="connsiteX2338" fmla="*/ 3576186 w 6666359"/>
              <a:gd name="connsiteY2338" fmla="*/ 1465073 h 4343113"/>
              <a:gd name="connsiteX2339" fmla="*/ 3582636 w 6666359"/>
              <a:gd name="connsiteY2339" fmla="*/ 1458623 h 4343113"/>
              <a:gd name="connsiteX2340" fmla="*/ 3977661 w 6666359"/>
              <a:gd name="connsiteY2340" fmla="*/ 1442500 h 4343113"/>
              <a:gd name="connsiteX2341" fmla="*/ 3980885 w 6666359"/>
              <a:gd name="connsiteY2341" fmla="*/ 1452174 h 4343113"/>
              <a:gd name="connsiteX2342" fmla="*/ 3980885 w 6666359"/>
              <a:gd name="connsiteY2342" fmla="*/ 1455399 h 4343113"/>
              <a:gd name="connsiteX2343" fmla="*/ 3971211 w 6666359"/>
              <a:gd name="connsiteY2343" fmla="*/ 1455399 h 4343113"/>
              <a:gd name="connsiteX2344" fmla="*/ 3924453 w 6666359"/>
              <a:gd name="connsiteY2344" fmla="*/ 1432826 h 4343113"/>
              <a:gd name="connsiteX2345" fmla="*/ 3926067 w 6666359"/>
              <a:gd name="connsiteY2345" fmla="*/ 1432826 h 4343113"/>
              <a:gd name="connsiteX2346" fmla="*/ 3932515 w 6666359"/>
              <a:gd name="connsiteY2346" fmla="*/ 1436050 h 4343113"/>
              <a:gd name="connsiteX2347" fmla="*/ 3935741 w 6666359"/>
              <a:gd name="connsiteY2347" fmla="*/ 1436050 h 4343113"/>
              <a:gd name="connsiteX2348" fmla="*/ 3938965 w 6666359"/>
              <a:gd name="connsiteY2348" fmla="*/ 1442500 h 4343113"/>
              <a:gd name="connsiteX2349" fmla="*/ 3935741 w 6666359"/>
              <a:gd name="connsiteY2349" fmla="*/ 1445725 h 4343113"/>
              <a:gd name="connsiteX2350" fmla="*/ 3929291 w 6666359"/>
              <a:gd name="connsiteY2350" fmla="*/ 1442500 h 4343113"/>
              <a:gd name="connsiteX2351" fmla="*/ 3924453 w 6666359"/>
              <a:gd name="connsiteY2351" fmla="*/ 1439276 h 4343113"/>
              <a:gd name="connsiteX2352" fmla="*/ 96739 w 6666359"/>
              <a:gd name="connsiteY2352" fmla="*/ 1432826 h 4343113"/>
              <a:gd name="connsiteX2353" fmla="*/ 103190 w 6666359"/>
              <a:gd name="connsiteY2353" fmla="*/ 1439276 h 4343113"/>
              <a:gd name="connsiteX2354" fmla="*/ 83841 w 6666359"/>
              <a:gd name="connsiteY2354" fmla="*/ 1445725 h 4343113"/>
              <a:gd name="connsiteX2355" fmla="*/ 80617 w 6666359"/>
              <a:gd name="connsiteY2355" fmla="*/ 1448949 h 4343113"/>
              <a:gd name="connsiteX2356" fmla="*/ 77391 w 6666359"/>
              <a:gd name="connsiteY2356" fmla="*/ 1452175 h 4343113"/>
              <a:gd name="connsiteX2357" fmla="*/ 70943 w 6666359"/>
              <a:gd name="connsiteY2357" fmla="*/ 1455399 h 4343113"/>
              <a:gd name="connsiteX2358" fmla="*/ 64493 w 6666359"/>
              <a:gd name="connsiteY2358" fmla="*/ 1445725 h 4343113"/>
              <a:gd name="connsiteX2359" fmla="*/ 70943 w 6666359"/>
              <a:gd name="connsiteY2359" fmla="*/ 1439276 h 4343113"/>
              <a:gd name="connsiteX2360" fmla="*/ 74167 w 6666359"/>
              <a:gd name="connsiteY2360" fmla="*/ 1436051 h 4343113"/>
              <a:gd name="connsiteX2361" fmla="*/ 180582 w 6666359"/>
              <a:gd name="connsiteY2361" fmla="*/ 1426377 h 4343113"/>
              <a:gd name="connsiteX2362" fmla="*/ 183806 w 6666359"/>
              <a:gd name="connsiteY2362" fmla="*/ 1426377 h 4343113"/>
              <a:gd name="connsiteX2363" fmla="*/ 183806 w 6666359"/>
              <a:gd name="connsiteY2363" fmla="*/ 1429602 h 4343113"/>
              <a:gd name="connsiteX2364" fmla="*/ 764252 w 6666359"/>
              <a:gd name="connsiteY2364" fmla="*/ 1419928 h 4343113"/>
              <a:gd name="connsiteX2365" fmla="*/ 770702 w 6666359"/>
              <a:gd name="connsiteY2365" fmla="*/ 1439276 h 4343113"/>
              <a:gd name="connsiteX2366" fmla="*/ 767476 w 6666359"/>
              <a:gd name="connsiteY2366" fmla="*/ 1439276 h 4343113"/>
              <a:gd name="connsiteX2367" fmla="*/ 761027 w 6666359"/>
              <a:gd name="connsiteY2367" fmla="*/ 1426377 h 4343113"/>
              <a:gd name="connsiteX2368" fmla="*/ 764252 w 6666359"/>
              <a:gd name="connsiteY2368" fmla="*/ 1423152 h 4343113"/>
              <a:gd name="connsiteX2369" fmla="*/ 761027 w 6666359"/>
              <a:gd name="connsiteY2369" fmla="*/ 1423152 h 4343113"/>
              <a:gd name="connsiteX2370" fmla="*/ 4006682 w 6666359"/>
              <a:gd name="connsiteY2370" fmla="*/ 1419927 h 4343113"/>
              <a:gd name="connsiteX2371" fmla="*/ 4013132 w 6666359"/>
              <a:gd name="connsiteY2371" fmla="*/ 1426376 h 4343113"/>
              <a:gd name="connsiteX2372" fmla="*/ 4009908 w 6666359"/>
              <a:gd name="connsiteY2372" fmla="*/ 1429602 h 4343113"/>
              <a:gd name="connsiteX2373" fmla="*/ 4003458 w 6666359"/>
              <a:gd name="connsiteY2373" fmla="*/ 1426376 h 4343113"/>
              <a:gd name="connsiteX2374" fmla="*/ 3527816 w 6666359"/>
              <a:gd name="connsiteY2374" fmla="*/ 1419927 h 4343113"/>
              <a:gd name="connsiteX2375" fmla="*/ 3527816 w 6666359"/>
              <a:gd name="connsiteY2375" fmla="*/ 1423152 h 4343113"/>
              <a:gd name="connsiteX2376" fmla="*/ 3524592 w 6666359"/>
              <a:gd name="connsiteY2376" fmla="*/ 1429602 h 4343113"/>
              <a:gd name="connsiteX2377" fmla="*/ 3527816 w 6666359"/>
              <a:gd name="connsiteY2377" fmla="*/ 1426376 h 4343113"/>
              <a:gd name="connsiteX2378" fmla="*/ 3534266 w 6666359"/>
              <a:gd name="connsiteY2378" fmla="*/ 1423152 h 4343113"/>
              <a:gd name="connsiteX2379" fmla="*/ 3540715 w 6666359"/>
              <a:gd name="connsiteY2379" fmla="*/ 1419927 h 4343113"/>
              <a:gd name="connsiteX2380" fmla="*/ 3550389 w 6666359"/>
              <a:gd name="connsiteY2380" fmla="*/ 1423152 h 4343113"/>
              <a:gd name="connsiteX2381" fmla="*/ 3556839 w 6666359"/>
              <a:gd name="connsiteY2381" fmla="*/ 1436050 h 4343113"/>
              <a:gd name="connsiteX2382" fmla="*/ 3563288 w 6666359"/>
              <a:gd name="connsiteY2382" fmla="*/ 1448949 h 4343113"/>
              <a:gd name="connsiteX2383" fmla="*/ 3560063 w 6666359"/>
              <a:gd name="connsiteY2383" fmla="*/ 1458623 h 4343113"/>
              <a:gd name="connsiteX2384" fmla="*/ 3550389 w 6666359"/>
              <a:gd name="connsiteY2384" fmla="*/ 1465073 h 4343113"/>
              <a:gd name="connsiteX2385" fmla="*/ 3543939 w 6666359"/>
              <a:gd name="connsiteY2385" fmla="*/ 1465073 h 4343113"/>
              <a:gd name="connsiteX2386" fmla="*/ 3547165 w 6666359"/>
              <a:gd name="connsiteY2386" fmla="*/ 1468297 h 4343113"/>
              <a:gd name="connsiteX2387" fmla="*/ 3540715 w 6666359"/>
              <a:gd name="connsiteY2387" fmla="*/ 1471523 h 4343113"/>
              <a:gd name="connsiteX2388" fmla="*/ 3547165 w 6666359"/>
              <a:gd name="connsiteY2388" fmla="*/ 1477972 h 4343113"/>
              <a:gd name="connsiteX2389" fmla="*/ 3547165 w 6666359"/>
              <a:gd name="connsiteY2389" fmla="*/ 1481196 h 4343113"/>
              <a:gd name="connsiteX2390" fmla="*/ 3547165 w 6666359"/>
              <a:gd name="connsiteY2390" fmla="*/ 1484421 h 4343113"/>
              <a:gd name="connsiteX2391" fmla="*/ 3547165 w 6666359"/>
              <a:gd name="connsiteY2391" fmla="*/ 1487646 h 4343113"/>
              <a:gd name="connsiteX2392" fmla="*/ 3550389 w 6666359"/>
              <a:gd name="connsiteY2392" fmla="*/ 1500544 h 4343113"/>
              <a:gd name="connsiteX2393" fmla="*/ 3547165 w 6666359"/>
              <a:gd name="connsiteY2393" fmla="*/ 1513444 h 4343113"/>
              <a:gd name="connsiteX2394" fmla="*/ 3543939 w 6666359"/>
              <a:gd name="connsiteY2394" fmla="*/ 1526342 h 4343113"/>
              <a:gd name="connsiteX2395" fmla="*/ 3540715 w 6666359"/>
              <a:gd name="connsiteY2395" fmla="*/ 1532791 h 4343113"/>
              <a:gd name="connsiteX2396" fmla="*/ 3537491 w 6666359"/>
              <a:gd name="connsiteY2396" fmla="*/ 1532791 h 4343113"/>
              <a:gd name="connsiteX2397" fmla="*/ 3527816 w 6666359"/>
              <a:gd name="connsiteY2397" fmla="*/ 1532791 h 4343113"/>
              <a:gd name="connsiteX2398" fmla="*/ 3524592 w 6666359"/>
              <a:gd name="connsiteY2398" fmla="*/ 1536017 h 4343113"/>
              <a:gd name="connsiteX2399" fmla="*/ 3514918 w 6666359"/>
              <a:gd name="connsiteY2399" fmla="*/ 1539241 h 4343113"/>
              <a:gd name="connsiteX2400" fmla="*/ 3508468 w 6666359"/>
              <a:gd name="connsiteY2400" fmla="*/ 1545691 h 4343113"/>
              <a:gd name="connsiteX2401" fmla="*/ 3498794 w 6666359"/>
              <a:gd name="connsiteY2401" fmla="*/ 1552139 h 4343113"/>
              <a:gd name="connsiteX2402" fmla="*/ 3479446 w 6666359"/>
              <a:gd name="connsiteY2402" fmla="*/ 1558589 h 4343113"/>
              <a:gd name="connsiteX2403" fmla="*/ 3466547 w 6666359"/>
              <a:gd name="connsiteY2403" fmla="*/ 1558589 h 4343113"/>
              <a:gd name="connsiteX2404" fmla="*/ 3463323 w 6666359"/>
              <a:gd name="connsiteY2404" fmla="*/ 1555364 h 4343113"/>
              <a:gd name="connsiteX2405" fmla="*/ 3453649 w 6666359"/>
              <a:gd name="connsiteY2405" fmla="*/ 1545691 h 4343113"/>
              <a:gd name="connsiteX2406" fmla="*/ 3453649 w 6666359"/>
              <a:gd name="connsiteY2406" fmla="*/ 1532791 h 4343113"/>
              <a:gd name="connsiteX2407" fmla="*/ 3460098 w 6666359"/>
              <a:gd name="connsiteY2407" fmla="*/ 1532791 h 4343113"/>
              <a:gd name="connsiteX2408" fmla="*/ 3469771 w 6666359"/>
              <a:gd name="connsiteY2408" fmla="*/ 1532791 h 4343113"/>
              <a:gd name="connsiteX2409" fmla="*/ 3466547 w 6666359"/>
              <a:gd name="connsiteY2409" fmla="*/ 1526342 h 4343113"/>
              <a:gd name="connsiteX2410" fmla="*/ 3469771 w 6666359"/>
              <a:gd name="connsiteY2410" fmla="*/ 1516668 h 4343113"/>
              <a:gd name="connsiteX2411" fmla="*/ 3476221 w 6666359"/>
              <a:gd name="connsiteY2411" fmla="*/ 1510218 h 4343113"/>
              <a:gd name="connsiteX2412" fmla="*/ 3479446 w 6666359"/>
              <a:gd name="connsiteY2412" fmla="*/ 1500544 h 4343113"/>
              <a:gd name="connsiteX2413" fmla="*/ 3469771 w 6666359"/>
              <a:gd name="connsiteY2413" fmla="*/ 1497320 h 4343113"/>
              <a:gd name="connsiteX2414" fmla="*/ 3460098 w 6666359"/>
              <a:gd name="connsiteY2414" fmla="*/ 1490870 h 4343113"/>
              <a:gd name="connsiteX2415" fmla="*/ 3463323 w 6666359"/>
              <a:gd name="connsiteY2415" fmla="*/ 1477972 h 4343113"/>
              <a:gd name="connsiteX2416" fmla="*/ 3460098 w 6666359"/>
              <a:gd name="connsiteY2416" fmla="*/ 1465073 h 4343113"/>
              <a:gd name="connsiteX2417" fmla="*/ 3460098 w 6666359"/>
              <a:gd name="connsiteY2417" fmla="*/ 1458623 h 4343113"/>
              <a:gd name="connsiteX2418" fmla="*/ 3466547 w 6666359"/>
              <a:gd name="connsiteY2418" fmla="*/ 1455399 h 4343113"/>
              <a:gd name="connsiteX2419" fmla="*/ 3476221 w 6666359"/>
              <a:gd name="connsiteY2419" fmla="*/ 1455399 h 4343113"/>
              <a:gd name="connsiteX2420" fmla="*/ 3492345 w 6666359"/>
              <a:gd name="connsiteY2420" fmla="*/ 1455399 h 4343113"/>
              <a:gd name="connsiteX2421" fmla="*/ 3498794 w 6666359"/>
              <a:gd name="connsiteY2421" fmla="*/ 1452174 h 4343113"/>
              <a:gd name="connsiteX2422" fmla="*/ 3505244 w 6666359"/>
              <a:gd name="connsiteY2422" fmla="*/ 1445725 h 4343113"/>
              <a:gd name="connsiteX2423" fmla="*/ 3498794 w 6666359"/>
              <a:gd name="connsiteY2423" fmla="*/ 1445725 h 4343113"/>
              <a:gd name="connsiteX2424" fmla="*/ 3492345 w 6666359"/>
              <a:gd name="connsiteY2424" fmla="*/ 1439276 h 4343113"/>
              <a:gd name="connsiteX2425" fmla="*/ 3495570 w 6666359"/>
              <a:gd name="connsiteY2425" fmla="*/ 1439276 h 4343113"/>
              <a:gd name="connsiteX2426" fmla="*/ 3498794 w 6666359"/>
              <a:gd name="connsiteY2426" fmla="*/ 1429602 h 4343113"/>
              <a:gd name="connsiteX2427" fmla="*/ 3502018 w 6666359"/>
              <a:gd name="connsiteY2427" fmla="*/ 1426376 h 4343113"/>
              <a:gd name="connsiteX2428" fmla="*/ 3505244 w 6666359"/>
              <a:gd name="connsiteY2428" fmla="*/ 1426376 h 4343113"/>
              <a:gd name="connsiteX2429" fmla="*/ 3505244 w 6666359"/>
              <a:gd name="connsiteY2429" fmla="*/ 1423152 h 4343113"/>
              <a:gd name="connsiteX2430" fmla="*/ 3511693 w 6666359"/>
              <a:gd name="connsiteY2430" fmla="*/ 1423152 h 4343113"/>
              <a:gd name="connsiteX2431" fmla="*/ 3898656 w 6666359"/>
              <a:gd name="connsiteY2431" fmla="*/ 1410253 h 4343113"/>
              <a:gd name="connsiteX2432" fmla="*/ 3911555 w 6666359"/>
              <a:gd name="connsiteY2432" fmla="*/ 1410253 h 4343113"/>
              <a:gd name="connsiteX2433" fmla="*/ 3911555 w 6666359"/>
              <a:gd name="connsiteY2433" fmla="*/ 1413478 h 4343113"/>
              <a:gd name="connsiteX2434" fmla="*/ 3914779 w 6666359"/>
              <a:gd name="connsiteY2434" fmla="*/ 1410253 h 4343113"/>
              <a:gd name="connsiteX2435" fmla="*/ 3918005 w 6666359"/>
              <a:gd name="connsiteY2435" fmla="*/ 1419927 h 4343113"/>
              <a:gd name="connsiteX2436" fmla="*/ 3918005 w 6666359"/>
              <a:gd name="connsiteY2436" fmla="*/ 1426376 h 4343113"/>
              <a:gd name="connsiteX2437" fmla="*/ 3905105 w 6666359"/>
              <a:gd name="connsiteY2437" fmla="*/ 1426376 h 4343113"/>
              <a:gd name="connsiteX2438" fmla="*/ 3898656 w 6666359"/>
              <a:gd name="connsiteY2438" fmla="*/ 1419927 h 4343113"/>
              <a:gd name="connsiteX2439" fmla="*/ 799723 w 6666359"/>
              <a:gd name="connsiteY2439" fmla="*/ 1397355 h 4343113"/>
              <a:gd name="connsiteX2440" fmla="*/ 806173 w 6666359"/>
              <a:gd name="connsiteY2440" fmla="*/ 1397355 h 4343113"/>
              <a:gd name="connsiteX2441" fmla="*/ 809397 w 6666359"/>
              <a:gd name="connsiteY2441" fmla="*/ 1407029 h 4343113"/>
              <a:gd name="connsiteX2442" fmla="*/ 809397 w 6666359"/>
              <a:gd name="connsiteY2442" fmla="*/ 1419928 h 4343113"/>
              <a:gd name="connsiteX2443" fmla="*/ 796499 w 6666359"/>
              <a:gd name="connsiteY2443" fmla="*/ 1419928 h 4343113"/>
              <a:gd name="connsiteX2444" fmla="*/ 790049 w 6666359"/>
              <a:gd name="connsiteY2444" fmla="*/ 1413478 h 4343113"/>
              <a:gd name="connsiteX2445" fmla="*/ 796499 w 6666359"/>
              <a:gd name="connsiteY2445" fmla="*/ 1403804 h 4343113"/>
              <a:gd name="connsiteX2446" fmla="*/ 3547165 w 6666359"/>
              <a:gd name="connsiteY2446" fmla="*/ 1394129 h 4343113"/>
              <a:gd name="connsiteX2447" fmla="*/ 3547165 w 6666359"/>
              <a:gd name="connsiteY2447" fmla="*/ 1407029 h 4343113"/>
              <a:gd name="connsiteX2448" fmla="*/ 3540715 w 6666359"/>
              <a:gd name="connsiteY2448" fmla="*/ 1403804 h 4343113"/>
              <a:gd name="connsiteX2449" fmla="*/ 3540715 w 6666359"/>
              <a:gd name="connsiteY2449" fmla="*/ 1397355 h 4343113"/>
              <a:gd name="connsiteX2450" fmla="*/ 3955089 w 6666359"/>
              <a:gd name="connsiteY2450" fmla="*/ 1390905 h 4343113"/>
              <a:gd name="connsiteX2451" fmla="*/ 3955089 w 6666359"/>
              <a:gd name="connsiteY2451" fmla="*/ 1410253 h 4343113"/>
              <a:gd name="connsiteX2452" fmla="*/ 3951864 w 6666359"/>
              <a:gd name="connsiteY2452" fmla="*/ 1419927 h 4343113"/>
              <a:gd name="connsiteX2453" fmla="*/ 3948639 w 6666359"/>
              <a:gd name="connsiteY2453" fmla="*/ 1429602 h 4343113"/>
              <a:gd name="connsiteX2454" fmla="*/ 3938965 w 6666359"/>
              <a:gd name="connsiteY2454" fmla="*/ 1429602 h 4343113"/>
              <a:gd name="connsiteX2455" fmla="*/ 3938965 w 6666359"/>
              <a:gd name="connsiteY2455" fmla="*/ 1426376 h 4343113"/>
              <a:gd name="connsiteX2456" fmla="*/ 3935741 w 6666359"/>
              <a:gd name="connsiteY2456" fmla="*/ 1423152 h 4343113"/>
              <a:gd name="connsiteX2457" fmla="*/ 3929291 w 6666359"/>
              <a:gd name="connsiteY2457" fmla="*/ 1419927 h 4343113"/>
              <a:gd name="connsiteX2458" fmla="*/ 3924453 w 6666359"/>
              <a:gd name="connsiteY2458" fmla="*/ 1407029 h 4343113"/>
              <a:gd name="connsiteX2459" fmla="*/ 3932515 w 6666359"/>
              <a:gd name="connsiteY2459" fmla="*/ 1397355 h 4343113"/>
              <a:gd name="connsiteX2460" fmla="*/ 754577 w 6666359"/>
              <a:gd name="connsiteY2460" fmla="*/ 1387681 h 4343113"/>
              <a:gd name="connsiteX2461" fmla="*/ 761027 w 6666359"/>
              <a:gd name="connsiteY2461" fmla="*/ 1387681 h 4343113"/>
              <a:gd name="connsiteX2462" fmla="*/ 754577 w 6666359"/>
              <a:gd name="connsiteY2462" fmla="*/ 1397355 h 4343113"/>
              <a:gd name="connsiteX2463" fmla="*/ 748128 w 6666359"/>
              <a:gd name="connsiteY2463" fmla="*/ 1397355 h 4343113"/>
              <a:gd name="connsiteX2464" fmla="*/ 780376 w 6666359"/>
              <a:gd name="connsiteY2464" fmla="*/ 1378007 h 4343113"/>
              <a:gd name="connsiteX2465" fmla="*/ 783600 w 6666359"/>
              <a:gd name="connsiteY2465" fmla="*/ 1387681 h 4343113"/>
              <a:gd name="connsiteX2466" fmla="*/ 786825 w 6666359"/>
              <a:gd name="connsiteY2466" fmla="*/ 1394130 h 4343113"/>
              <a:gd name="connsiteX2467" fmla="*/ 777150 w 6666359"/>
              <a:gd name="connsiteY2467" fmla="*/ 1394130 h 4343113"/>
              <a:gd name="connsiteX2468" fmla="*/ 773926 w 6666359"/>
              <a:gd name="connsiteY2468" fmla="*/ 1381231 h 4343113"/>
              <a:gd name="connsiteX2469" fmla="*/ 754577 w 6666359"/>
              <a:gd name="connsiteY2469" fmla="*/ 1378007 h 4343113"/>
              <a:gd name="connsiteX2470" fmla="*/ 764252 w 6666359"/>
              <a:gd name="connsiteY2470" fmla="*/ 1381231 h 4343113"/>
              <a:gd name="connsiteX2471" fmla="*/ 770702 w 6666359"/>
              <a:gd name="connsiteY2471" fmla="*/ 1390905 h 4343113"/>
              <a:gd name="connsiteX2472" fmla="*/ 783600 w 6666359"/>
              <a:gd name="connsiteY2472" fmla="*/ 1410254 h 4343113"/>
              <a:gd name="connsiteX2473" fmla="*/ 786825 w 6666359"/>
              <a:gd name="connsiteY2473" fmla="*/ 1419928 h 4343113"/>
              <a:gd name="connsiteX2474" fmla="*/ 790049 w 6666359"/>
              <a:gd name="connsiteY2474" fmla="*/ 1436051 h 4343113"/>
              <a:gd name="connsiteX2475" fmla="*/ 783600 w 6666359"/>
              <a:gd name="connsiteY2475" fmla="*/ 1442501 h 4343113"/>
              <a:gd name="connsiteX2476" fmla="*/ 777150 w 6666359"/>
              <a:gd name="connsiteY2476" fmla="*/ 1432826 h 4343113"/>
              <a:gd name="connsiteX2477" fmla="*/ 777150 w 6666359"/>
              <a:gd name="connsiteY2477" fmla="*/ 1426377 h 4343113"/>
              <a:gd name="connsiteX2478" fmla="*/ 767476 w 6666359"/>
              <a:gd name="connsiteY2478" fmla="*/ 1419928 h 4343113"/>
              <a:gd name="connsiteX2479" fmla="*/ 764252 w 6666359"/>
              <a:gd name="connsiteY2479" fmla="*/ 1419928 h 4343113"/>
              <a:gd name="connsiteX2480" fmla="*/ 764252 w 6666359"/>
              <a:gd name="connsiteY2480" fmla="*/ 1413478 h 4343113"/>
              <a:gd name="connsiteX2481" fmla="*/ 764252 w 6666359"/>
              <a:gd name="connsiteY2481" fmla="*/ 1397355 h 4343113"/>
              <a:gd name="connsiteX2482" fmla="*/ 761027 w 6666359"/>
              <a:gd name="connsiteY2482" fmla="*/ 1384455 h 4343113"/>
              <a:gd name="connsiteX2483" fmla="*/ 754577 w 6666359"/>
              <a:gd name="connsiteY2483" fmla="*/ 1384455 h 4343113"/>
              <a:gd name="connsiteX2484" fmla="*/ 1947714 w 6666359"/>
              <a:gd name="connsiteY2484" fmla="*/ 1371556 h 4343113"/>
              <a:gd name="connsiteX2485" fmla="*/ 1947714 w 6666359"/>
              <a:gd name="connsiteY2485" fmla="*/ 1378006 h 4343113"/>
              <a:gd name="connsiteX2486" fmla="*/ 1941265 w 6666359"/>
              <a:gd name="connsiteY2486" fmla="*/ 1384455 h 4343113"/>
              <a:gd name="connsiteX2487" fmla="*/ 1931591 w 6666359"/>
              <a:gd name="connsiteY2487" fmla="*/ 1397354 h 4343113"/>
              <a:gd name="connsiteX2488" fmla="*/ 1931591 w 6666359"/>
              <a:gd name="connsiteY2488" fmla="*/ 1390904 h 4343113"/>
              <a:gd name="connsiteX2489" fmla="*/ 1934815 w 6666359"/>
              <a:gd name="connsiteY2489" fmla="*/ 1384455 h 4343113"/>
              <a:gd name="connsiteX2490" fmla="*/ 1938040 w 6666359"/>
              <a:gd name="connsiteY2490" fmla="*/ 1371556 h 4343113"/>
              <a:gd name="connsiteX2491" fmla="*/ 1934815 w 6666359"/>
              <a:gd name="connsiteY2491" fmla="*/ 1381230 h 4343113"/>
              <a:gd name="connsiteX2492" fmla="*/ 1925141 w 6666359"/>
              <a:gd name="connsiteY2492" fmla="*/ 1384455 h 4343113"/>
              <a:gd name="connsiteX2493" fmla="*/ 1931591 w 6666359"/>
              <a:gd name="connsiteY2493" fmla="*/ 1378006 h 4343113"/>
              <a:gd name="connsiteX2494" fmla="*/ 3547165 w 6666359"/>
              <a:gd name="connsiteY2494" fmla="*/ 1368332 h 4343113"/>
              <a:gd name="connsiteX2495" fmla="*/ 3556839 w 6666359"/>
              <a:gd name="connsiteY2495" fmla="*/ 1378006 h 4343113"/>
              <a:gd name="connsiteX2496" fmla="*/ 3550389 w 6666359"/>
              <a:gd name="connsiteY2496" fmla="*/ 1381231 h 4343113"/>
              <a:gd name="connsiteX2497" fmla="*/ 3543939 w 6666359"/>
              <a:gd name="connsiteY2497" fmla="*/ 1374782 h 4343113"/>
              <a:gd name="connsiteX2498" fmla="*/ 770702 w 6666359"/>
              <a:gd name="connsiteY2498" fmla="*/ 1361883 h 4343113"/>
              <a:gd name="connsiteX2499" fmla="*/ 777150 w 6666359"/>
              <a:gd name="connsiteY2499" fmla="*/ 1371557 h 4343113"/>
              <a:gd name="connsiteX2500" fmla="*/ 770702 w 6666359"/>
              <a:gd name="connsiteY2500" fmla="*/ 1374782 h 4343113"/>
              <a:gd name="connsiteX2501" fmla="*/ 767476 w 6666359"/>
              <a:gd name="connsiteY2501" fmla="*/ 1368333 h 4343113"/>
              <a:gd name="connsiteX2502" fmla="*/ 738455 w 6666359"/>
              <a:gd name="connsiteY2502" fmla="*/ 1361883 h 4343113"/>
              <a:gd name="connsiteX2503" fmla="*/ 748128 w 6666359"/>
              <a:gd name="connsiteY2503" fmla="*/ 1371557 h 4343113"/>
              <a:gd name="connsiteX2504" fmla="*/ 741679 w 6666359"/>
              <a:gd name="connsiteY2504" fmla="*/ 1374782 h 4343113"/>
              <a:gd name="connsiteX2505" fmla="*/ 744903 w 6666359"/>
              <a:gd name="connsiteY2505" fmla="*/ 1384455 h 4343113"/>
              <a:gd name="connsiteX2506" fmla="*/ 741679 w 6666359"/>
              <a:gd name="connsiteY2506" fmla="*/ 1394130 h 4343113"/>
              <a:gd name="connsiteX2507" fmla="*/ 738455 w 6666359"/>
              <a:gd name="connsiteY2507" fmla="*/ 1400579 h 4343113"/>
              <a:gd name="connsiteX2508" fmla="*/ 735229 w 6666359"/>
              <a:gd name="connsiteY2508" fmla="*/ 1390905 h 4343113"/>
              <a:gd name="connsiteX2509" fmla="*/ 732005 w 6666359"/>
              <a:gd name="connsiteY2509" fmla="*/ 1368333 h 4343113"/>
              <a:gd name="connsiteX2510" fmla="*/ 744903 w 6666359"/>
              <a:gd name="connsiteY2510" fmla="*/ 1348984 h 4343113"/>
              <a:gd name="connsiteX2511" fmla="*/ 764252 w 6666359"/>
              <a:gd name="connsiteY2511" fmla="*/ 1355434 h 4343113"/>
              <a:gd name="connsiteX2512" fmla="*/ 761027 w 6666359"/>
              <a:gd name="connsiteY2512" fmla="*/ 1374782 h 4343113"/>
              <a:gd name="connsiteX2513" fmla="*/ 754577 w 6666359"/>
              <a:gd name="connsiteY2513" fmla="*/ 1374782 h 4343113"/>
              <a:gd name="connsiteX2514" fmla="*/ 751353 w 6666359"/>
              <a:gd name="connsiteY2514" fmla="*/ 1371557 h 4343113"/>
              <a:gd name="connsiteX2515" fmla="*/ 741679 w 6666359"/>
              <a:gd name="connsiteY2515" fmla="*/ 1355434 h 4343113"/>
              <a:gd name="connsiteX2516" fmla="*/ 706208 w 6666359"/>
              <a:gd name="connsiteY2516" fmla="*/ 1345760 h 4343113"/>
              <a:gd name="connsiteX2517" fmla="*/ 706208 w 6666359"/>
              <a:gd name="connsiteY2517" fmla="*/ 1358658 h 4343113"/>
              <a:gd name="connsiteX2518" fmla="*/ 702982 w 6666359"/>
              <a:gd name="connsiteY2518" fmla="*/ 1348984 h 4343113"/>
              <a:gd name="connsiteX2519" fmla="*/ 4055053 w 6666359"/>
              <a:gd name="connsiteY2519" fmla="*/ 1339310 h 4343113"/>
              <a:gd name="connsiteX2520" fmla="*/ 4048603 w 6666359"/>
              <a:gd name="connsiteY2520" fmla="*/ 1365108 h 4343113"/>
              <a:gd name="connsiteX2521" fmla="*/ 4042155 w 6666359"/>
              <a:gd name="connsiteY2521" fmla="*/ 1384455 h 4343113"/>
              <a:gd name="connsiteX2522" fmla="*/ 4038929 w 6666359"/>
              <a:gd name="connsiteY2522" fmla="*/ 1371557 h 4343113"/>
              <a:gd name="connsiteX2523" fmla="*/ 4045379 w 6666359"/>
              <a:gd name="connsiteY2523" fmla="*/ 1361882 h 4343113"/>
              <a:gd name="connsiteX2524" fmla="*/ 712657 w 6666359"/>
              <a:gd name="connsiteY2524" fmla="*/ 1332861 h 4343113"/>
              <a:gd name="connsiteX2525" fmla="*/ 719106 w 6666359"/>
              <a:gd name="connsiteY2525" fmla="*/ 1336086 h 4343113"/>
              <a:gd name="connsiteX2526" fmla="*/ 722331 w 6666359"/>
              <a:gd name="connsiteY2526" fmla="*/ 1339310 h 4343113"/>
              <a:gd name="connsiteX2527" fmla="*/ 725555 w 6666359"/>
              <a:gd name="connsiteY2527" fmla="*/ 1345760 h 4343113"/>
              <a:gd name="connsiteX2528" fmla="*/ 728780 w 6666359"/>
              <a:gd name="connsiteY2528" fmla="*/ 1384455 h 4343113"/>
              <a:gd name="connsiteX2529" fmla="*/ 728780 w 6666359"/>
              <a:gd name="connsiteY2529" fmla="*/ 1387681 h 4343113"/>
              <a:gd name="connsiteX2530" fmla="*/ 725555 w 6666359"/>
              <a:gd name="connsiteY2530" fmla="*/ 1381231 h 4343113"/>
              <a:gd name="connsiteX2531" fmla="*/ 715881 w 6666359"/>
              <a:gd name="connsiteY2531" fmla="*/ 1365108 h 4343113"/>
              <a:gd name="connsiteX2532" fmla="*/ 709432 w 6666359"/>
              <a:gd name="connsiteY2532" fmla="*/ 1345760 h 4343113"/>
              <a:gd name="connsiteX2533" fmla="*/ 709432 w 6666359"/>
              <a:gd name="connsiteY2533" fmla="*/ 1339310 h 4343113"/>
              <a:gd name="connsiteX2534" fmla="*/ 3540715 w 6666359"/>
              <a:gd name="connsiteY2534" fmla="*/ 1326411 h 4343113"/>
              <a:gd name="connsiteX2535" fmla="*/ 3547165 w 6666359"/>
              <a:gd name="connsiteY2535" fmla="*/ 1329636 h 4343113"/>
              <a:gd name="connsiteX2536" fmla="*/ 3550389 w 6666359"/>
              <a:gd name="connsiteY2536" fmla="*/ 1342534 h 4343113"/>
              <a:gd name="connsiteX2537" fmla="*/ 3550389 w 6666359"/>
              <a:gd name="connsiteY2537" fmla="*/ 1345759 h 4343113"/>
              <a:gd name="connsiteX2538" fmla="*/ 3543939 w 6666359"/>
              <a:gd name="connsiteY2538" fmla="*/ 1345759 h 4343113"/>
              <a:gd name="connsiteX2539" fmla="*/ 3540715 w 6666359"/>
              <a:gd name="connsiteY2539" fmla="*/ 1339310 h 4343113"/>
              <a:gd name="connsiteX2540" fmla="*/ 3534266 w 6666359"/>
              <a:gd name="connsiteY2540" fmla="*/ 1336085 h 4343113"/>
              <a:gd name="connsiteX2541" fmla="*/ 3524592 w 6666359"/>
              <a:gd name="connsiteY2541" fmla="*/ 1326411 h 4343113"/>
              <a:gd name="connsiteX2542" fmla="*/ 3524592 w 6666359"/>
              <a:gd name="connsiteY2542" fmla="*/ 1329636 h 4343113"/>
              <a:gd name="connsiteX2543" fmla="*/ 3521367 w 6666359"/>
              <a:gd name="connsiteY2543" fmla="*/ 1329636 h 4343113"/>
              <a:gd name="connsiteX2544" fmla="*/ 3521367 w 6666359"/>
              <a:gd name="connsiteY2544" fmla="*/ 1332861 h 4343113"/>
              <a:gd name="connsiteX2545" fmla="*/ 3514918 w 6666359"/>
              <a:gd name="connsiteY2545" fmla="*/ 1329636 h 4343113"/>
              <a:gd name="connsiteX2546" fmla="*/ 4090525 w 6666359"/>
              <a:gd name="connsiteY2546" fmla="*/ 1316737 h 4343113"/>
              <a:gd name="connsiteX2547" fmla="*/ 4096974 w 6666359"/>
              <a:gd name="connsiteY2547" fmla="*/ 1316737 h 4343113"/>
              <a:gd name="connsiteX2548" fmla="*/ 4096974 w 6666359"/>
              <a:gd name="connsiteY2548" fmla="*/ 1319961 h 4343113"/>
              <a:gd name="connsiteX2549" fmla="*/ 4096974 w 6666359"/>
              <a:gd name="connsiteY2549" fmla="*/ 1323187 h 4343113"/>
              <a:gd name="connsiteX2550" fmla="*/ 4093750 w 6666359"/>
              <a:gd name="connsiteY2550" fmla="*/ 1323187 h 4343113"/>
              <a:gd name="connsiteX2551" fmla="*/ 4093750 w 6666359"/>
              <a:gd name="connsiteY2551" fmla="*/ 1329636 h 4343113"/>
              <a:gd name="connsiteX2552" fmla="*/ 4093750 w 6666359"/>
              <a:gd name="connsiteY2552" fmla="*/ 1332861 h 4343113"/>
              <a:gd name="connsiteX2553" fmla="*/ 4087300 w 6666359"/>
              <a:gd name="connsiteY2553" fmla="*/ 1345759 h 4343113"/>
              <a:gd name="connsiteX2554" fmla="*/ 4080850 w 6666359"/>
              <a:gd name="connsiteY2554" fmla="*/ 1352208 h 4343113"/>
              <a:gd name="connsiteX2555" fmla="*/ 4077626 w 6666359"/>
              <a:gd name="connsiteY2555" fmla="*/ 1332861 h 4343113"/>
              <a:gd name="connsiteX2556" fmla="*/ 4084076 w 6666359"/>
              <a:gd name="connsiteY2556" fmla="*/ 1323187 h 4343113"/>
              <a:gd name="connsiteX2557" fmla="*/ 335368 w 6666359"/>
              <a:gd name="connsiteY2557" fmla="*/ 1316737 h 4343113"/>
              <a:gd name="connsiteX2558" fmla="*/ 338593 w 6666359"/>
              <a:gd name="connsiteY2558" fmla="*/ 1316737 h 4343113"/>
              <a:gd name="connsiteX2559" fmla="*/ 345042 w 6666359"/>
              <a:gd name="connsiteY2559" fmla="*/ 1326411 h 4343113"/>
              <a:gd name="connsiteX2560" fmla="*/ 345042 w 6666359"/>
              <a:gd name="connsiteY2560" fmla="*/ 1329636 h 4343113"/>
              <a:gd name="connsiteX2561" fmla="*/ 341817 w 6666359"/>
              <a:gd name="connsiteY2561" fmla="*/ 1336086 h 4343113"/>
              <a:gd name="connsiteX2562" fmla="*/ 335368 w 6666359"/>
              <a:gd name="connsiteY2562" fmla="*/ 1342534 h 4343113"/>
              <a:gd name="connsiteX2563" fmla="*/ 332144 w 6666359"/>
              <a:gd name="connsiteY2563" fmla="*/ 1342534 h 4343113"/>
              <a:gd name="connsiteX2564" fmla="*/ 328918 w 6666359"/>
              <a:gd name="connsiteY2564" fmla="*/ 1339310 h 4343113"/>
              <a:gd name="connsiteX2565" fmla="*/ 322469 w 6666359"/>
              <a:gd name="connsiteY2565" fmla="*/ 1342534 h 4343113"/>
              <a:gd name="connsiteX2566" fmla="*/ 316020 w 6666359"/>
              <a:gd name="connsiteY2566" fmla="*/ 1345760 h 4343113"/>
              <a:gd name="connsiteX2567" fmla="*/ 312795 w 6666359"/>
              <a:gd name="connsiteY2567" fmla="*/ 1358658 h 4343113"/>
              <a:gd name="connsiteX2568" fmla="*/ 303121 w 6666359"/>
              <a:gd name="connsiteY2568" fmla="*/ 1361883 h 4343113"/>
              <a:gd name="connsiteX2569" fmla="*/ 290222 w 6666359"/>
              <a:gd name="connsiteY2569" fmla="*/ 1342534 h 4343113"/>
              <a:gd name="connsiteX2570" fmla="*/ 290222 w 6666359"/>
              <a:gd name="connsiteY2570" fmla="*/ 1339310 h 4343113"/>
              <a:gd name="connsiteX2571" fmla="*/ 293447 w 6666359"/>
              <a:gd name="connsiteY2571" fmla="*/ 1332861 h 4343113"/>
              <a:gd name="connsiteX2572" fmla="*/ 299895 w 6666359"/>
              <a:gd name="connsiteY2572" fmla="*/ 1326411 h 4343113"/>
              <a:gd name="connsiteX2573" fmla="*/ 309570 w 6666359"/>
              <a:gd name="connsiteY2573" fmla="*/ 1326411 h 4343113"/>
              <a:gd name="connsiteX2574" fmla="*/ 316020 w 6666359"/>
              <a:gd name="connsiteY2574" fmla="*/ 1326411 h 4343113"/>
              <a:gd name="connsiteX2575" fmla="*/ 325694 w 6666359"/>
              <a:gd name="connsiteY2575" fmla="*/ 1319962 h 4343113"/>
              <a:gd name="connsiteX2576" fmla="*/ 702982 w 6666359"/>
              <a:gd name="connsiteY2576" fmla="*/ 1300613 h 4343113"/>
              <a:gd name="connsiteX2577" fmla="*/ 706208 w 6666359"/>
              <a:gd name="connsiteY2577" fmla="*/ 1300613 h 4343113"/>
              <a:gd name="connsiteX2578" fmla="*/ 719106 w 6666359"/>
              <a:gd name="connsiteY2578" fmla="*/ 1307063 h 4343113"/>
              <a:gd name="connsiteX2579" fmla="*/ 725555 w 6666359"/>
              <a:gd name="connsiteY2579" fmla="*/ 1313513 h 4343113"/>
              <a:gd name="connsiteX2580" fmla="*/ 725555 w 6666359"/>
              <a:gd name="connsiteY2580" fmla="*/ 1323187 h 4343113"/>
              <a:gd name="connsiteX2581" fmla="*/ 722331 w 6666359"/>
              <a:gd name="connsiteY2581" fmla="*/ 1332861 h 4343113"/>
              <a:gd name="connsiteX2582" fmla="*/ 715881 w 6666359"/>
              <a:gd name="connsiteY2582" fmla="*/ 1329636 h 4343113"/>
              <a:gd name="connsiteX2583" fmla="*/ 709432 w 6666359"/>
              <a:gd name="connsiteY2583" fmla="*/ 1329636 h 4343113"/>
              <a:gd name="connsiteX2584" fmla="*/ 709432 w 6666359"/>
              <a:gd name="connsiteY2584" fmla="*/ 1336086 h 4343113"/>
              <a:gd name="connsiteX2585" fmla="*/ 702982 w 6666359"/>
              <a:gd name="connsiteY2585" fmla="*/ 1336086 h 4343113"/>
              <a:gd name="connsiteX2586" fmla="*/ 693308 w 6666359"/>
              <a:gd name="connsiteY2586" fmla="*/ 1319962 h 4343113"/>
              <a:gd name="connsiteX2587" fmla="*/ 693308 w 6666359"/>
              <a:gd name="connsiteY2587" fmla="*/ 1303839 h 4343113"/>
              <a:gd name="connsiteX2588" fmla="*/ 725555 w 6666359"/>
              <a:gd name="connsiteY2588" fmla="*/ 1297389 h 4343113"/>
              <a:gd name="connsiteX2589" fmla="*/ 728780 w 6666359"/>
              <a:gd name="connsiteY2589" fmla="*/ 1303839 h 4343113"/>
              <a:gd name="connsiteX2590" fmla="*/ 735229 w 6666359"/>
              <a:gd name="connsiteY2590" fmla="*/ 1303839 h 4343113"/>
              <a:gd name="connsiteX2591" fmla="*/ 744903 w 6666359"/>
              <a:gd name="connsiteY2591" fmla="*/ 1316737 h 4343113"/>
              <a:gd name="connsiteX2592" fmla="*/ 748128 w 6666359"/>
              <a:gd name="connsiteY2592" fmla="*/ 1336086 h 4343113"/>
              <a:gd name="connsiteX2593" fmla="*/ 738455 w 6666359"/>
              <a:gd name="connsiteY2593" fmla="*/ 1345760 h 4343113"/>
              <a:gd name="connsiteX2594" fmla="*/ 735229 w 6666359"/>
              <a:gd name="connsiteY2594" fmla="*/ 1352209 h 4343113"/>
              <a:gd name="connsiteX2595" fmla="*/ 732005 w 6666359"/>
              <a:gd name="connsiteY2595" fmla="*/ 1345760 h 4343113"/>
              <a:gd name="connsiteX2596" fmla="*/ 732005 w 6666359"/>
              <a:gd name="connsiteY2596" fmla="*/ 1336086 h 4343113"/>
              <a:gd name="connsiteX2597" fmla="*/ 732005 w 6666359"/>
              <a:gd name="connsiteY2597" fmla="*/ 1326411 h 4343113"/>
              <a:gd name="connsiteX2598" fmla="*/ 725555 w 6666359"/>
              <a:gd name="connsiteY2598" fmla="*/ 1303839 h 4343113"/>
              <a:gd name="connsiteX2599" fmla="*/ 338593 w 6666359"/>
              <a:gd name="connsiteY2599" fmla="*/ 1294165 h 4343113"/>
              <a:gd name="connsiteX2600" fmla="*/ 348266 w 6666359"/>
              <a:gd name="connsiteY2600" fmla="*/ 1297389 h 4343113"/>
              <a:gd name="connsiteX2601" fmla="*/ 345042 w 6666359"/>
              <a:gd name="connsiteY2601" fmla="*/ 1307063 h 4343113"/>
              <a:gd name="connsiteX2602" fmla="*/ 328918 w 6666359"/>
              <a:gd name="connsiteY2602" fmla="*/ 1310287 h 4343113"/>
              <a:gd name="connsiteX2603" fmla="*/ 322469 w 6666359"/>
              <a:gd name="connsiteY2603" fmla="*/ 1303839 h 4343113"/>
              <a:gd name="connsiteX2604" fmla="*/ 328918 w 6666359"/>
              <a:gd name="connsiteY2604" fmla="*/ 1297389 h 4343113"/>
              <a:gd name="connsiteX2605" fmla="*/ 3543938 w 6666359"/>
              <a:gd name="connsiteY2605" fmla="*/ 1290940 h 4343113"/>
              <a:gd name="connsiteX2606" fmla="*/ 3547164 w 6666359"/>
              <a:gd name="connsiteY2606" fmla="*/ 1294164 h 4343113"/>
              <a:gd name="connsiteX2607" fmla="*/ 3540714 w 6666359"/>
              <a:gd name="connsiteY2607" fmla="*/ 1310287 h 4343113"/>
              <a:gd name="connsiteX2608" fmla="*/ 3534264 w 6666359"/>
              <a:gd name="connsiteY2608" fmla="*/ 1310287 h 4343113"/>
              <a:gd name="connsiteX2609" fmla="*/ 3531040 w 6666359"/>
              <a:gd name="connsiteY2609" fmla="*/ 1319961 h 4343113"/>
              <a:gd name="connsiteX2610" fmla="*/ 3527816 w 6666359"/>
              <a:gd name="connsiteY2610" fmla="*/ 1319961 h 4343113"/>
              <a:gd name="connsiteX2611" fmla="*/ 3527816 w 6666359"/>
              <a:gd name="connsiteY2611" fmla="*/ 1316737 h 4343113"/>
              <a:gd name="connsiteX2612" fmla="*/ 3531040 w 6666359"/>
              <a:gd name="connsiteY2612" fmla="*/ 1316737 h 4343113"/>
              <a:gd name="connsiteX2613" fmla="*/ 3527816 w 6666359"/>
              <a:gd name="connsiteY2613" fmla="*/ 1313513 h 4343113"/>
              <a:gd name="connsiteX2614" fmla="*/ 3527816 w 6666359"/>
              <a:gd name="connsiteY2614" fmla="*/ 1303838 h 4343113"/>
              <a:gd name="connsiteX2615" fmla="*/ 3540714 w 6666359"/>
              <a:gd name="connsiteY2615" fmla="*/ 1294164 h 4343113"/>
              <a:gd name="connsiteX2616" fmla="*/ 4167919 w 6666359"/>
              <a:gd name="connsiteY2616" fmla="*/ 1287714 h 4343113"/>
              <a:gd name="connsiteX2617" fmla="*/ 4184042 w 6666359"/>
              <a:gd name="connsiteY2617" fmla="*/ 1287714 h 4343113"/>
              <a:gd name="connsiteX2618" fmla="*/ 4187266 w 6666359"/>
              <a:gd name="connsiteY2618" fmla="*/ 1290940 h 4343113"/>
              <a:gd name="connsiteX2619" fmla="*/ 4184042 w 6666359"/>
              <a:gd name="connsiteY2619" fmla="*/ 1297389 h 4343113"/>
              <a:gd name="connsiteX2620" fmla="*/ 4177593 w 6666359"/>
              <a:gd name="connsiteY2620" fmla="*/ 1303838 h 4343113"/>
              <a:gd name="connsiteX2621" fmla="*/ 4164693 w 6666359"/>
              <a:gd name="connsiteY2621" fmla="*/ 1313513 h 4343113"/>
              <a:gd name="connsiteX2622" fmla="*/ 4161469 w 6666359"/>
              <a:gd name="connsiteY2622" fmla="*/ 1313513 h 4343113"/>
              <a:gd name="connsiteX2623" fmla="*/ 4161469 w 6666359"/>
              <a:gd name="connsiteY2623" fmla="*/ 1297389 h 4343113"/>
              <a:gd name="connsiteX2624" fmla="*/ 3576185 w 6666359"/>
              <a:gd name="connsiteY2624" fmla="*/ 1284490 h 4343113"/>
              <a:gd name="connsiteX2625" fmla="*/ 3579411 w 6666359"/>
              <a:gd name="connsiteY2625" fmla="*/ 1287714 h 4343113"/>
              <a:gd name="connsiteX2626" fmla="*/ 3605208 w 6666359"/>
              <a:gd name="connsiteY2626" fmla="*/ 1287714 h 4343113"/>
              <a:gd name="connsiteX2627" fmla="*/ 3614882 w 6666359"/>
              <a:gd name="connsiteY2627" fmla="*/ 1284490 h 4343113"/>
              <a:gd name="connsiteX2628" fmla="*/ 3611658 w 6666359"/>
              <a:gd name="connsiteY2628" fmla="*/ 1300613 h 4343113"/>
              <a:gd name="connsiteX2629" fmla="*/ 3589085 w 6666359"/>
              <a:gd name="connsiteY2629" fmla="*/ 1316737 h 4343113"/>
              <a:gd name="connsiteX2630" fmla="*/ 3592309 w 6666359"/>
              <a:gd name="connsiteY2630" fmla="*/ 1323187 h 4343113"/>
              <a:gd name="connsiteX2631" fmla="*/ 3585860 w 6666359"/>
              <a:gd name="connsiteY2631" fmla="*/ 1326411 h 4343113"/>
              <a:gd name="connsiteX2632" fmla="*/ 3589085 w 6666359"/>
              <a:gd name="connsiteY2632" fmla="*/ 1329636 h 4343113"/>
              <a:gd name="connsiteX2633" fmla="*/ 3605208 w 6666359"/>
              <a:gd name="connsiteY2633" fmla="*/ 1326411 h 4343113"/>
              <a:gd name="connsiteX2634" fmla="*/ 3631006 w 6666359"/>
              <a:gd name="connsiteY2634" fmla="*/ 1326411 h 4343113"/>
              <a:gd name="connsiteX2635" fmla="*/ 3637455 w 6666359"/>
              <a:gd name="connsiteY2635" fmla="*/ 1326411 h 4343113"/>
              <a:gd name="connsiteX2636" fmla="*/ 3643905 w 6666359"/>
              <a:gd name="connsiteY2636" fmla="*/ 1332861 h 4343113"/>
              <a:gd name="connsiteX2637" fmla="*/ 3627781 w 6666359"/>
              <a:gd name="connsiteY2637" fmla="*/ 1374782 h 4343113"/>
              <a:gd name="connsiteX2638" fmla="*/ 3618106 w 6666359"/>
              <a:gd name="connsiteY2638" fmla="*/ 1384455 h 4343113"/>
              <a:gd name="connsiteX2639" fmla="*/ 3611658 w 6666359"/>
              <a:gd name="connsiteY2639" fmla="*/ 1390905 h 4343113"/>
              <a:gd name="connsiteX2640" fmla="*/ 3618106 w 6666359"/>
              <a:gd name="connsiteY2640" fmla="*/ 1394129 h 4343113"/>
              <a:gd name="connsiteX2641" fmla="*/ 3621332 w 6666359"/>
              <a:gd name="connsiteY2641" fmla="*/ 1390905 h 4343113"/>
              <a:gd name="connsiteX2642" fmla="*/ 3631006 w 6666359"/>
              <a:gd name="connsiteY2642" fmla="*/ 1394129 h 4343113"/>
              <a:gd name="connsiteX2643" fmla="*/ 3640679 w 6666359"/>
              <a:gd name="connsiteY2643" fmla="*/ 1403804 h 4343113"/>
              <a:gd name="connsiteX2644" fmla="*/ 3647129 w 6666359"/>
              <a:gd name="connsiteY2644" fmla="*/ 1413478 h 4343113"/>
              <a:gd name="connsiteX2645" fmla="*/ 3647129 w 6666359"/>
              <a:gd name="connsiteY2645" fmla="*/ 1416702 h 4343113"/>
              <a:gd name="connsiteX2646" fmla="*/ 3647129 w 6666359"/>
              <a:gd name="connsiteY2646" fmla="*/ 1423152 h 4343113"/>
              <a:gd name="connsiteX2647" fmla="*/ 3663253 w 6666359"/>
              <a:gd name="connsiteY2647" fmla="*/ 1445725 h 4343113"/>
              <a:gd name="connsiteX2648" fmla="*/ 3676151 w 6666359"/>
              <a:gd name="connsiteY2648" fmla="*/ 1461849 h 4343113"/>
              <a:gd name="connsiteX2649" fmla="*/ 3689050 w 6666359"/>
              <a:gd name="connsiteY2649" fmla="*/ 1494095 h 4343113"/>
              <a:gd name="connsiteX2650" fmla="*/ 3689050 w 6666359"/>
              <a:gd name="connsiteY2650" fmla="*/ 1503770 h 4343113"/>
              <a:gd name="connsiteX2651" fmla="*/ 3692274 w 6666359"/>
              <a:gd name="connsiteY2651" fmla="*/ 1510218 h 4343113"/>
              <a:gd name="connsiteX2652" fmla="*/ 3705174 w 6666359"/>
              <a:gd name="connsiteY2652" fmla="*/ 1506994 h 4343113"/>
              <a:gd name="connsiteX2653" fmla="*/ 3718073 w 6666359"/>
              <a:gd name="connsiteY2653" fmla="*/ 1513444 h 4343113"/>
              <a:gd name="connsiteX2654" fmla="*/ 3721297 w 6666359"/>
              <a:gd name="connsiteY2654" fmla="*/ 1526342 h 4343113"/>
              <a:gd name="connsiteX2655" fmla="*/ 3718073 w 6666359"/>
              <a:gd name="connsiteY2655" fmla="*/ 1539241 h 4343113"/>
              <a:gd name="connsiteX2656" fmla="*/ 3711623 w 6666359"/>
              <a:gd name="connsiteY2656" fmla="*/ 1542465 h 4343113"/>
              <a:gd name="connsiteX2657" fmla="*/ 3708398 w 6666359"/>
              <a:gd name="connsiteY2657" fmla="*/ 1548915 h 4343113"/>
              <a:gd name="connsiteX2658" fmla="*/ 3701949 w 6666359"/>
              <a:gd name="connsiteY2658" fmla="*/ 1555364 h 4343113"/>
              <a:gd name="connsiteX2659" fmla="*/ 3701949 w 6666359"/>
              <a:gd name="connsiteY2659" fmla="*/ 1561814 h 4343113"/>
              <a:gd name="connsiteX2660" fmla="*/ 3708398 w 6666359"/>
              <a:gd name="connsiteY2660" fmla="*/ 1561814 h 4343113"/>
              <a:gd name="connsiteX2661" fmla="*/ 3714847 w 6666359"/>
              <a:gd name="connsiteY2661" fmla="*/ 1561814 h 4343113"/>
              <a:gd name="connsiteX2662" fmla="*/ 3711623 w 6666359"/>
              <a:gd name="connsiteY2662" fmla="*/ 1571488 h 4343113"/>
              <a:gd name="connsiteX2663" fmla="*/ 3705174 w 6666359"/>
              <a:gd name="connsiteY2663" fmla="*/ 1574712 h 4343113"/>
              <a:gd name="connsiteX2664" fmla="*/ 3689050 w 6666359"/>
              <a:gd name="connsiteY2664" fmla="*/ 1584386 h 4343113"/>
              <a:gd name="connsiteX2665" fmla="*/ 3682600 w 6666359"/>
              <a:gd name="connsiteY2665" fmla="*/ 1584386 h 4343113"/>
              <a:gd name="connsiteX2666" fmla="*/ 3669702 w 6666359"/>
              <a:gd name="connsiteY2666" fmla="*/ 1584386 h 4343113"/>
              <a:gd name="connsiteX2667" fmla="*/ 3637455 w 6666359"/>
              <a:gd name="connsiteY2667" fmla="*/ 1587611 h 4343113"/>
              <a:gd name="connsiteX2668" fmla="*/ 3637455 w 6666359"/>
              <a:gd name="connsiteY2668" fmla="*/ 1590836 h 4343113"/>
              <a:gd name="connsiteX2669" fmla="*/ 3627781 w 6666359"/>
              <a:gd name="connsiteY2669" fmla="*/ 1587611 h 4343113"/>
              <a:gd name="connsiteX2670" fmla="*/ 3611658 w 6666359"/>
              <a:gd name="connsiteY2670" fmla="*/ 1587611 h 4343113"/>
              <a:gd name="connsiteX2671" fmla="*/ 3601983 w 6666359"/>
              <a:gd name="connsiteY2671" fmla="*/ 1597285 h 4343113"/>
              <a:gd name="connsiteX2672" fmla="*/ 3595534 w 6666359"/>
              <a:gd name="connsiteY2672" fmla="*/ 1600510 h 4343113"/>
              <a:gd name="connsiteX2673" fmla="*/ 3592309 w 6666359"/>
              <a:gd name="connsiteY2673" fmla="*/ 1600510 h 4343113"/>
              <a:gd name="connsiteX2674" fmla="*/ 3572961 w 6666359"/>
              <a:gd name="connsiteY2674" fmla="*/ 1603735 h 4343113"/>
              <a:gd name="connsiteX2675" fmla="*/ 3560062 w 6666359"/>
              <a:gd name="connsiteY2675" fmla="*/ 1610185 h 4343113"/>
              <a:gd name="connsiteX2676" fmla="*/ 3560062 w 6666359"/>
              <a:gd name="connsiteY2676" fmla="*/ 1603735 h 4343113"/>
              <a:gd name="connsiteX2677" fmla="*/ 3563287 w 6666359"/>
              <a:gd name="connsiteY2677" fmla="*/ 1603735 h 4343113"/>
              <a:gd name="connsiteX2678" fmla="*/ 3569737 w 6666359"/>
              <a:gd name="connsiteY2678" fmla="*/ 1600510 h 4343113"/>
              <a:gd name="connsiteX2679" fmla="*/ 3582635 w 6666359"/>
              <a:gd name="connsiteY2679" fmla="*/ 1584386 h 4343113"/>
              <a:gd name="connsiteX2680" fmla="*/ 3589085 w 6666359"/>
              <a:gd name="connsiteY2680" fmla="*/ 1571488 h 4343113"/>
              <a:gd name="connsiteX2681" fmla="*/ 3598759 w 6666359"/>
              <a:gd name="connsiteY2681" fmla="*/ 1568263 h 4343113"/>
              <a:gd name="connsiteX2682" fmla="*/ 3608432 w 6666359"/>
              <a:gd name="connsiteY2682" fmla="*/ 1571488 h 4343113"/>
              <a:gd name="connsiteX2683" fmla="*/ 3614882 w 6666359"/>
              <a:gd name="connsiteY2683" fmla="*/ 1568263 h 4343113"/>
              <a:gd name="connsiteX2684" fmla="*/ 3618106 w 6666359"/>
              <a:gd name="connsiteY2684" fmla="*/ 1565038 h 4343113"/>
              <a:gd name="connsiteX2685" fmla="*/ 3627781 w 6666359"/>
              <a:gd name="connsiteY2685" fmla="*/ 1552139 h 4343113"/>
              <a:gd name="connsiteX2686" fmla="*/ 3621332 w 6666359"/>
              <a:gd name="connsiteY2686" fmla="*/ 1558589 h 4343113"/>
              <a:gd name="connsiteX2687" fmla="*/ 3618106 w 6666359"/>
              <a:gd name="connsiteY2687" fmla="*/ 1558589 h 4343113"/>
              <a:gd name="connsiteX2688" fmla="*/ 3611658 w 6666359"/>
              <a:gd name="connsiteY2688" fmla="*/ 1561814 h 4343113"/>
              <a:gd name="connsiteX2689" fmla="*/ 3605208 w 6666359"/>
              <a:gd name="connsiteY2689" fmla="*/ 1561814 h 4343113"/>
              <a:gd name="connsiteX2690" fmla="*/ 3598759 w 6666359"/>
              <a:gd name="connsiteY2690" fmla="*/ 1558589 h 4343113"/>
              <a:gd name="connsiteX2691" fmla="*/ 3592309 w 6666359"/>
              <a:gd name="connsiteY2691" fmla="*/ 1555364 h 4343113"/>
              <a:gd name="connsiteX2692" fmla="*/ 3592309 w 6666359"/>
              <a:gd name="connsiteY2692" fmla="*/ 1552139 h 4343113"/>
              <a:gd name="connsiteX2693" fmla="*/ 3582635 w 6666359"/>
              <a:gd name="connsiteY2693" fmla="*/ 1552139 h 4343113"/>
              <a:gd name="connsiteX2694" fmla="*/ 3579411 w 6666359"/>
              <a:gd name="connsiteY2694" fmla="*/ 1552139 h 4343113"/>
              <a:gd name="connsiteX2695" fmla="*/ 3572961 w 6666359"/>
              <a:gd name="connsiteY2695" fmla="*/ 1552139 h 4343113"/>
              <a:gd name="connsiteX2696" fmla="*/ 3569737 w 6666359"/>
              <a:gd name="connsiteY2696" fmla="*/ 1552139 h 4343113"/>
              <a:gd name="connsiteX2697" fmla="*/ 3566512 w 6666359"/>
              <a:gd name="connsiteY2697" fmla="*/ 1545691 h 4343113"/>
              <a:gd name="connsiteX2698" fmla="*/ 3569737 w 6666359"/>
              <a:gd name="connsiteY2698" fmla="*/ 1539241 h 4343113"/>
              <a:gd name="connsiteX2699" fmla="*/ 3576185 w 6666359"/>
              <a:gd name="connsiteY2699" fmla="*/ 1539241 h 4343113"/>
              <a:gd name="connsiteX2700" fmla="*/ 3582635 w 6666359"/>
              <a:gd name="connsiteY2700" fmla="*/ 1536017 h 4343113"/>
              <a:gd name="connsiteX2701" fmla="*/ 3589085 w 6666359"/>
              <a:gd name="connsiteY2701" fmla="*/ 1529567 h 4343113"/>
              <a:gd name="connsiteX2702" fmla="*/ 3592309 w 6666359"/>
              <a:gd name="connsiteY2702" fmla="*/ 1516668 h 4343113"/>
              <a:gd name="connsiteX2703" fmla="*/ 3585860 w 6666359"/>
              <a:gd name="connsiteY2703" fmla="*/ 1510218 h 4343113"/>
              <a:gd name="connsiteX2704" fmla="*/ 3582635 w 6666359"/>
              <a:gd name="connsiteY2704" fmla="*/ 1510218 h 4343113"/>
              <a:gd name="connsiteX2705" fmla="*/ 3579411 w 6666359"/>
              <a:gd name="connsiteY2705" fmla="*/ 1513444 h 4343113"/>
              <a:gd name="connsiteX2706" fmla="*/ 3582635 w 6666359"/>
              <a:gd name="connsiteY2706" fmla="*/ 1503770 h 4343113"/>
              <a:gd name="connsiteX2707" fmla="*/ 3588440 w 6666359"/>
              <a:gd name="connsiteY2707" fmla="*/ 1499900 h 4343113"/>
              <a:gd name="connsiteX2708" fmla="*/ 3582636 w 6666359"/>
              <a:gd name="connsiteY2708" fmla="*/ 1494095 h 4343113"/>
              <a:gd name="connsiteX2709" fmla="*/ 3585860 w 6666359"/>
              <a:gd name="connsiteY2709" fmla="*/ 1490870 h 4343113"/>
              <a:gd name="connsiteX2710" fmla="*/ 3592310 w 6666359"/>
              <a:gd name="connsiteY2710" fmla="*/ 1494095 h 4343113"/>
              <a:gd name="connsiteX2711" fmla="*/ 3589893 w 6666359"/>
              <a:gd name="connsiteY2711" fmla="*/ 1498932 h 4343113"/>
              <a:gd name="connsiteX2712" fmla="*/ 3592309 w 6666359"/>
              <a:gd name="connsiteY2712" fmla="*/ 1497320 h 4343113"/>
              <a:gd name="connsiteX2713" fmla="*/ 3598759 w 6666359"/>
              <a:gd name="connsiteY2713" fmla="*/ 1494095 h 4343113"/>
              <a:gd name="connsiteX2714" fmla="*/ 3608432 w 6666359"/>
              <a:gd name="connsiteY2714" fmla="*/ 1494095 h 4343113"/>
              <a:gd name="connsiteX2715" fmla="*/ 3618106 w 6666359"/>
              <a:gd name="connsiteY2715" fmla="*/ 1490870 h 4343113"/>
              <a:gd name="connsiteX2716" fmla="*/ 3614882 w 6666359"/>
              <a:gd name="connsiteY2716" fmla="*/ 1474747 h 4343113"/>
              <a:gd name="connsiteX2717" fmla="*/ 3611658 w 6666359"/>
              <a:gd name="connsiteY2717" fmla="*/ 1465073 h 4343113"/>
              <a:gd name="connsiteX2718" fmla="*/ 3608432 w 6666359"/>
              <a:gd name="connsiteY2718" fmla="*/ 1461849 h 4343113"/>
              <a:gd name="connsiteX2719" fmla="*/ 3608432 w 6666359"/>
              <a:gd name="connsiteY2719" fmla="*/ 1458623 h 4343113"/>
              <a:gd name="connsiteX2720" fmla="*/ 3605208 w 6666359"/>
              <a:gd name="connsiteY2720" fmla="*/ 1445725 h 4343113"/>
              <a:gd name="connsiteX2721" fmla="*/ 3608432 w 6666359"/>
              <a:gd name="connsiteY2721" fmla="*/ 1436050 h 4343113"/>
              <a:gd name="connsiteX2722" fmla="*/ 3585860 w 6666359"/>
              <a:gd name="connsiteY2722" fmla="*/ 1439276 h 4343113"/>
              <a:gd name="connsiteX2723" fmla="*/ 3569737 w 6666359"/>
              <a:gd name="connsiteY2723" fmla="*/ 1436050 h 4343113"/>
              <a:gd name="connsiteX2724" fmla="*/ 3579411 w 6666359"/>
              <a:gd name="connsiteY2724" fmla="*/ 1416702 h 4343113"/>
              <a:gd name="connsiteX2725" fmla="*/ 3579411 w 6666359"/>
              <a:gd name="connsiteY2725" fmla="*/ 1407029 h 4343113"/>
              <a:gd name="connsiteX2726" fmla="*/ 3576185 w 6666359"/>
              <a:gd name="connsiteY2726" fmla="*/ 1403804 h 4343113"/>
              <a:gd name="connsiteX2727" fmla="*/ 3576185 w 6666359"/>
              <a:gd name="connsiteY2727" fmla="*/ 1397355 h 4343113"/>
              <a:gd name="connsiteX2728" fmla="*/ 3576185 w 6666359"/>
              <a:gd name="connsiteY2728" fmla="*/ 1387681 h 4343113"/>
              <a:gd name="connsiteX2729" fmla="*/ 3572961 w 6666359"/>
              <a:gd name="connsiteY2729" fmla="*/ 1397355 h 4343113"/>
              <a:gd name="connsiteX2730" fmla="*/ 3566512 w 6666359"/>
              <a:gd name="connsiteY2730" fmla="*/ 1397355 h 4343113"/>
              <a:gd name="connsiteX2731" fmla="*/ 3566512 w 6666359"/>
              <a:gd name="connsiteY2731" fmla="*/ 1394129 h 4343113"/>
              <a:gd name="connsiteX2732" fmla="*/ 3563287 w 6666359"/>
              <a:gd name="connsiteY2732" fmla="*/ 1400579 h 4343113"/>
              <a:gd name="connsiteX2733" fmla="*/ 3563287 w 6666359"/>
              <a:gd name="connsiteY2733" fmla="*/ 1410253 h 4343113"/>
              <a:gd name="connsiteX2734" fmla="*/ 3556838 w 6666359"/>
              <a:gd name="connsiteY2734" fmla="*/ 1419927 h 4343113"/>
              <a:gd name="connsiteX2735" fmla="*/ 3556838 w 6666359"/>
              <a:gd name="connsiteY2735" fmla="*/ 1410253 h 4343113"/>
              <a:gd name="connsiteX2736" fmla="*/ 3560062 w 6666359"/>
              <a:gd name="connsiteY2736" fmla="*/ 1387681 h 4343113"/>
              <a:gd name="connsiteX2737" fmla="*/ 3560062 w 6666359"/>
              <a:gd name="connsiteY2737" fmla="*/ 1371557 h 4343113"/>
              <a:gd name="connsiteX2738" fmla="*/ 3553613 w 6666359"/>
              <a:gd name="connsiteY2738" fmla="*/ 1371557 h 4343113"/>
              <a:gd name="connsiteX2739" fmla="*/ 3547164 w 6666359"/>
              <a:gd name="connsiteY2739" fmla="*/ 1365108 h 4343113"/>
              <a:gd name="connsiteX2740" fmla="*/ 3547164 w 6666359"/>
              <a:gd name="connsiteY2740" fmla="*/ 1361882 h 4343113"/>
              <a:gd name="connsiteX2741" fmla="*/ 3553613 w 6666359"/>
              <a:gd name="connsiteY2741" fmla="*/ 1358658 h 4343113"/>
              <a:gd name="connsiteX2742" fmla="*/ 3553613 w 6666359"/>
              <a:gd name="connsiteY2742" fmla="*/ 1352208 h 4343113"/>
              <a:gd name="connsiteX2743" fmla="*/ 3560062 w 6666359"/>
              <a:gd name="connsiteY2743" fmla="*/ 1352208 h 4343113"/>
              <a:gd name="connsiteX2744" fmla="*/ 3556838 w 6666359"/>
              <a:gd name="connsiteY2744" fmla="*/ 1348984 h 4343113"/>
              <a:gd name="connsiteX2745" fmla="*/ 3556838 w 6666359"/>
              <a:gd name="connsiteY2745" fmla="*/ 1339310 h 4343113"/>
              <a:gd name="connsiteX2746" fmla="*/ 3553613 w 6666359"/>
              <a:gd name="connsiteY2746" fmla="*/ 1329636 h 4343113"/>
              <a:gd name="connsiteX2747" fmla="*/ 3556838 w 6666359"/>
              <a:gd name="connsiteY2747" fmla="*/ 1323187 h 4343113"/>
              <a:gd name="connsiteX2748" fmla="*/ 3563287 w 6666359"/>
              <a:gd name="connsiteY2748" fmla="*/ 1310287 h 4343113"/>
              <a:gd name="connsiteX2749" fmla="*/ 3566512 w 6666359"/>
              <a:gd name="connsiteY2749" fmla="*/ 1307063 h 4343113"/>
              <a:gd name="connsiteX2750" fmla="*/ 3563287 w 6666359"/>
              <a:gd name="connsiteY2750" fmla="*/ 1300613 h 4343113"/>
              <a:gd name="connsiteX2751" fmla="*/ 3569737 w 6666359"/>
              <a:gd name="connsiteY2751" fmla="*/ 1290940 h 4343113"/>
              <a:gd name="connsiteX2752" fmla="*/ 669930 w 6666359"/>
              <a:gd name="connsiteY2752" fmla="*/ 1269172 h 4343113"/>
              <a:gd name="connsiteX2753" fmla="*/ 670735 w 6666359"/>
              <a:gd name="connsiteY2753" fmla="*/ 1271592 h 4343113"/>
              <a:gd name="connsiteX2754" fmla="*/ 672985 w 6666359"/>
              <a:gd name="connsiteY2754" fmla="*/ 1270093 h 4343113"/>
              <a:gd name="connsiteX2755" fmla="*/ 672983 w 6666359"/>
              <a:gd name="connsiteY2755" fmla="*/ 1270093 h 4343113"/>
              <a:gd name="connsiteX2756" fmla="*/ 670735 w 6666359"/>
              <a:gd name="connsiteY2756" fmla="*/ 1271591 h 4343113"/>
              <a:gd name="connsiteX2757" fmla="*/ 3608432 w 6666359"/>
              <a:gd name="connsiteY2757" fmla="*/ 1268367 h 4343113"/>
              <a:gd name="connsiteX2758" fmla="*/ 3624556 w 6666359"/>
              <a:gd name="connsiteY2758" fmla="*/ 1271592 h 4343113"/>
              <a:gd name="connsiteX2759" fmla="*/ 3614882 w 6666359"/>
              <a:gd name="connsiteY2759" fmla="*/ 1274816 h 4343113"/>
              <a:gd name="connsiteX2760" fmla="*/ 4177593 w 6666359"/>
              <a:gd name="connsiteY2760" fmla="*/ 1265142 h 4343113"/>
              <a:gd name="connsiteX2761" fmla="*/ 4184042 w 6666359"/>
              <a:gd name="connsiteY2761" fmla="*/ 1271592 h 4343113"/>
              <a:gd name="connsiteX2762" fmla="*/ 4184042 w 6666359"/>
              <a:gd name="connsiteY2762" fmla="*/ 1278040 h 4343113"/>
              <a:gd name="connsiteX2763" fmla="*/ 4180817 w 6666359"/>
              <a:gd name="connsiteY2763" fmla="*/ 1278040 h 4343113"/>
              <a:gd name="connsiteX2764" fmla="*/ 4171143 w 6666359"/>
              <a:gd name="connsiteY2764" fmla="*/ 1278040 h 4343113"/>
              <a:gd name="connsiteX2765" fmla="*/ 590119 w 6666359"/>
              <a:gd name="connsiteY2765" fmla="*/ 1213546 h 4343113"/>
              <a:gd name="connsiteX2766" fmla="*/ 590119 w 6666359"/>
              <a:gd name="connsiteY2766" fmla="*/ 1213547 h 4343113"/>
              <a:gd name="connsiteX2767" fmla="*/ 598491 w 6666359"/>
              <a:gd name="connsiteY2767" fmla="*/ 1215222 h 4343113"/>
              <a:gd name="connsiteX2768" fmla="*/ 598489 w 6666359"/>
              <a:gd name="connsiteY2768" fmla="*/ 1215221 h 4343113"/>
              <a:gd name="connsiteX2769" fmla="*/ 4116324 w 6666359"/>
              <a:gd name="connsiteY2769" fmla="*/ 1210322 h 4343113"/>
              <a:gd name="connsiteX2770" fmla="*/ 4125998 w 6666359"/>
              <a:gd name="connsiteY2770" fmla="*/ 1213546 h 4343113"/>
              <a:gd name="connsiteX2771" fmla="*/ 4119548 w 6666359"/>
              <a:gd name="connsiteY2771" fmla="*/ 1223221 h 4343113"/>
              <a:gd name="connsiteX2772" fmla="*/ 4113098 w 6666359"/>
              <a:gd name="connsiteY2772" fmla="*/ 1223221 h 4343113"/>
              <a:gd name="connsiteX2773" fmla="*/ 4113098 w 6666359"/>
              <a:gd name="connsiteY2773" fmla="*/ 1213546 h 4343113"/>
              <a:gd name="connsiteX2774" fmla="*/ 457906 w 6666359"/>
              <a:gd name="connsiteY2774" fmla="*/ 1210322 h 4343113"/>
              <a:gd name="connsiteX2775" fmla="*/ 461131 w 6666359"/>
              <a:gd name="connsiteY2775" fmla="*/ 1213547 h 4343113"/>
              <a:gd name="connsiteX2776" fmla="*/ 448232 w 6666359"/>
              <a:gd name="connsiteY2776" fmla="*/ 1229671 h 4343113"/>
              <a:gd name="connsiteX2777" fmla="*/ 448232 w 6666359"/>
              <a:gd name="connsiteY2777" fmla="*/ 1232895 h 4343113"/>
              <a:gd name="connsiteX2778" fmla="*/ 441783 w 6666359"/>
              <a:gd name="connsiteY2778" fmla="*/ 1236119 h 4343113"/>
              <a:gd name="connsiteX2779" fmla="*/ 438558 w 6666359"/>
              <a:gd name="connsiteY2779" fmla="*/ 1236119 h 4343113"/>
              <a:gd name="connsiteX2780" fmla="*/ 451457 w 6666359"/>
              <a:gd name="connsiteY2780" fmla="*/ 1213547 h 4343113"/>
              <a:gd name="connsiteX2781" fmla="*/ 470805 w 6666359"/>
              <a:gd name="connsiteY2781" fmla="*/ 1207098 h 4343113"/>
              <a:gd name="connsiteX2782" fmla="*/ 480478 w 6666359"/>
              <a:gd name="connsiteY2782" fmla="*/ 1210322 h 4343113"/>
              <a:gd name="connsiteX2783" fmla="*/ 470805 w 6666359"/>
              <a:gd name="connsiteY2783" fmla="*/ 1213547 h 4343113"/>
              <a:gd name="connsiteX2784" fmla="*/ 467580 w 6666359"/>
              <a:gd name="connsiteY2784" fmla="*/ 1213547 h 4343113"/>
              <a:gd name="connsiteX2785" fmla="*/ 464356 w 6666359"/>
              <a:gd name="connsiteY2785" fmla="*/ 1210322 h 4343113"/>
              <a:gd name="connsiteX2786" fmla="*/ 41920 w 6666359"/>
              <a:gd name="connsiteY2786" fmla="*/ 1207098 h 4343113"/>
              <a:gd name="connsiteX2787" fmla="*/ 48370 w 6666359"/>
              <a:gd name="connsiteY2787" fmla="*/ 1213547 h 4343113"/>
              <a:gd name="connsiteX2788" fmla="*/ 51594 w 6666359"/>
              <a:gd name="connsiteY2788" fmla="*/ 1226446 h 4343113"/>
              <a:gd name="connsiteX2789" fmla="*/ 48370 w 6666359"/>
              <a:gd name="connsiteY2789" fmla="*/ 1229671 h 4343113"/>
              <a:gd name="connsiteX2790" fmla="*/ 35471 w 6666359"/>
              <a:gd name="connsiteY2790" fmla="*/ 1236119 h 4343113"/>
              <a:gd name="connsiteX2791" fmla="*/ 25798 w 6666359"/>
              <a:gd name="connsiteY2791" fmla="*/ 1229671 h 4343113"/>
              <a:gd name="connsiteX2792" fmla="*/ 12898 w 6666359"/>
              <a:gd name="connsiteY2792" fmla="*/ 1223221 h 4343113"/>
              <a:gd name="connsiteX2793" fmla="*/ 16123 w 6666359"/>
              <a:gd name="connsiteY2793" fmla="*/ 1216772 h 4343113"/>
              <a:gd name="connsiteX2794" fmla="*/ 2192790 w 6666359"/>
              <a:gd name="connsiteY2794" fmla="*/ 1203872 h 4343113"/>
              <a:gd name="connsiteX2795" fmla="*/ 2192790 w 6666359"/>
              <a:gd name="connsiteY2795" fmla="*/ 1210321 h 4343113"/>
              <a:gd name="connsiteX2796" fmla="*/ 2183116 w 6666359"/>
              <a:gd name="connsiteY2796" fmla="*/ 1216771 h 4343113"/>
              <a:gd name="connsiteX2797" fmla="*/ 2183116 w 6666359"/>
              <a:gd name="connsiteY2797" fmla="*/ 1207097 h 4343113"/>
              <a:gd name="connsiteX2798" fmla="*/ 3653579 w 6666359"/>
              <a:gd name="connsiteY2798" fmla="*/ 1197424 h 4343113"/>
              <a:gd name="connsiteX2799" fmla="*/ 3653579 w 6666359"/>
              <a:gd name="connsiteY2799" fmla="*/ 1203872 h 4343113"/>
              <a:gd name="connsiteX2800" fmla="*/ 3653579 w 6666359"/>
              <a:gd name="connsiteY2800" fmla="*/ 1210322 h 4343113"/>
              <a:gd name="connsiteX2801" fmla="*/ 3656803 w 6666359"/>
              <a:gd name="connsiteY2801" fmla="*/ 1207098 h 4343113"/>
              <a:gd name="connsiteX2802" fmla="*/ 3660027 w 6666359"/>
              <a:gd name="connsiteY2802" fmla="*/ 1210322 h 4343113"/>
              <a:gd name="connsiteX2803" fmla="*/ 3656803 w 6666359"/>
              <a:gd name="connsiteY2803" fmla="*/ 1219996 h 4343113"/>
              <a:gd name="connsiteX2804" fmla="*/ 3653579 w 6666359"/>
              <a:gd name="connsiteY2804" fmla="*/ 1232895 h 4343113"/>
              <a:gd name="connsiteX2805" fmla="*/ 3653579 w 6666359"/>
              <a:gd name="connsiteY2805" fmla="*/ 1229670 h 4343113"/>
              <a:gd name="connsiteX2806" fmla="*/ 3650353 w 6666359"/>
              <a:gd name="connsiteY2806" fmla="*/ 1216772 h 4343113"/>
              <a:gd name="connsiteX2807" fmla="*/ 3650353 w 6666359"/>
              <a:gd name="connsiteY2807" fmla="*/ 1219996 h 4343113"/>
              <a:gd name="connsiteX2808" fmla="*/ 3647129 w 6666359"/>
              <a:gd name="connsiteY2808" fmla="*/ 1216772 h 4343113"/>
              <a:gd name="connsiteX2809" fmla="*/ 3650353 w 6666359"/>
              <a:gd name="connsiteY2809" fmla="*/ 1213546 h 4343113"/>
              <a:gd name="connsiteX2810" fmla="*/ 3650353 w 6666359"/>
              <a:gd name="connsiteY2810" fmla="*/ 1207098 h 4343113"/>
              <a:gd name="connsiteX2811" fmla="*/ 3647129 w 6666359"/>
              <a:gd name="connsiteY2811" fmla="*/ 1207098 h 4343113"/>
              <a:gd name="connsiteX2812" fmla="*/ 3663253 w 6666359"/>
              <a:gd name="connsiteY2812" fmla="*/ 1190974 h 4343113"/>
              <a:gd name="connsiteX2813" fmla="*/ 3663253 w 6666359"/>
              <a:gd name="connsiteY2813" fmla="*/ 1197424 h 4343113"/>
              <a:gd name="connsiteX2814" fmla="*/ 3660027 w 6666359"/>
              <a:gd name="connsiteY2814" fmla="*/ 1197424 h 4343113"/>
              <a:gd name="connsiteX2815" fmla="*/ 2247611 w 6666359"/>
              <a:gd name="connsiteY2815" fmla="*/ 1152277 h 4343113"/>
              <a:gd name="connsiteX2816" fmla="*/ 2250836 w 6666359"/>
              <a:gd name="connsiteY2816" fmla="*/ 1152277 h 4343113"/>
              <a:gd name="connsiteX2817" fmla="*/ 2263735 w 6666359"/>
              <a:gd name="connsiteY2817" fmla="*/ 1152277 h 4343113"/>
              <a:gd name="connsiteX2818" fmla="*/ 2263735 w 6666359"/>
              <a:gd name="connsiteY2818" fmla="*/ 1161952 h 4343113"/>
              <a:gd name="connsiteX2819" fmla="*/ 2260510 w 6666359"/>
              <a:gd name="connsiteY2819" fmla="*/ 1168400 h 4343113"/>
              <a:gd name="connsiteX2820" fmla="*/ 2247611 w 6666359"/>
              <a:gd name="connsiteY2820" fmla="*/ 1155502 h 4343113"/>
              <a:gd name="connsiteX2821" fmla="*/ 3524592 w 6666359"/>
              <a:gd name="connsiteY2821" fmla="*/ 1123255 h 4343113"/>
              <a:gd name="connsiteX2822" fmla="*/ 3534266 w 6666359"/>
              <a:gd name="connsiteY2822" fmla="*/ 1139378 h 4343113"/>
              <a:gd name="connsiteX2823" fmla="*/ 3524592 w 6666359"/>
              <a:gd name="connsiteY2823" fmla="*/ 1129703 h 4343113"/>
              <a:gd name="connsiteX2824" fmla="*/ 1938041 w 6666359"/>
              <a:gd name="connsiteY2824" fmla="*/ 1116805 h 4343113"/>
              <a:gd name="connsiteX2825" fmla="*/ 1944490 w 6666359"/>
              <a:gd name="connsiteY2825" fmla="*/ 1126479 h 4343113"/>
              <a:gd name="connsiteX2826" fmla="*/ 1938041 w 6666359"/>
              <a:gd name="connsiteY2826" fmla="*/ 1145828 h 4343113"/>
              <a:gd name="connsiteX2827" fmla="*/ 1931592 w 6666359"/>
              <a:gd name="connsiteY2827" fmla="*/ 1149052 h 4343113"/>
              <a:gd name="connsiteX2828" fmla="*/ 1925142 w 6666359"/>
              <a:gd name="connsiteY2828" fmla="*/ 1142603 h 4343113"/>
              <a:gd name="connsiteX2829" fmla="*/ 1925142 w 6666359"/>
              <a:gd name="connsiteY2829" fmla="*/ 1129704 h 4343113"/>
              <a:gd name="connsiteX2830" fmla="*/ 1931592 w 6666359"/>
              <a:gd name="connsiteY2830" fmla="*/ 1120030 h 4343113"/>
              <a:gd name="connsiteX2831" fmla="*/ 2263735 w 6666359"/>
              <a:gd name="connsiteY2831" fmla="*/ 1110356 h 4343113"/>
              <a:gd name="connsiteX2832" fmla="*/ 2270185 w 6666359"/>
              <a:gd name="connsiteY2832" fmla="*/ 1110356 h 4343113"/>
              <a:gd name="connsiteX2833" fmla="*/ 2260510 w 6666359"/>
              <a:gd name="connsiteY2833" fmla="*/ 1116805 h 4343113"/>
              <a:gd name="connsiteX2834" fmla="*/ 2257285 w 6666359"/>
              <a:gd name="connsiteY2834" fmla="*/ 1116805 h 4343113"/>
              <a:gd name="connsiteX2835" fmla="*/ 2260510 w 6666359"/>
              <a:gd name="connsiteY2835" fmla="*/ 1113581 h 4343113"/>
              <a:gd name="connsiteX2836" fmla="*/ 2121849 w 6666359"/>
              <a:gd name="connsiteY2836" fmla="*/ 1094232 h 4343113"/>
              <a:gd name="connsiteX2837" fmla="*/ 2134747 w 6666359"/>
              <a:gd name="connsiteY2837" fmla="*/ 1100682 h 4343113"/>
              <a:gd name="connsiteX2838" fmla="*/ 2141196 w 6666359"/>
              <a:gd name="connsiteY2838" fmla="*/ 1110356 h 4343113"/>
              <a:gd name="connsiteX2839" fmla="*/ 2131523 w 6666359"/>
              <a:gd name="connsiteY2839" fmla="*/ 1110356 h 4343113"/>
              <a:gd name="connsiteX2840" fmla="*/ 2121849 w 6666359"/>
              <a:gd name="connsiteY2840" fmla="*/ 1100682 h 4343113"/>
              <a:gd name="connsiteX2841" fmla="*/ 1883221 w 6666359"/>
              <a:gd name="connsiteY2841" fmla="*/ 1091008 h 4343113"/>
              <a:gd name="connsiteX2842" fmla="*/ 1886446 w 6666359"/>
              <a:gd name="connsiteY2842" fmla="*/ 1094232 h 4343113"/>
              <a:gd name="connsiteX2843" fmla="*/ 1886446 w 6666359"/>
              <a:gd name="connsiteY2843" fmla="*/ 1103906 h 4343113"/>
              <a:gd name="connsiteX2844" fmla="*/ 1876772 w 6666359"/>
              <a:gd name="connsiteY2844" fmla="*/ 1110356 h 4343113"/>
              <a:gd name="connsiteX2845" fmla="*/ 1867098 w 6666359"/>
              <a:gd name="connsiteY2845" fmla="*/ 1123255 h 4343113"/>
              <a:gd name="connsiteX2846" fmla="*/ 1850974 w 6666359"/>
              <a:gd name="connsiteY2846" fmla="*/ 1129704 h 4343113"/>
              <a:gd name="connsiteX2847" fmla="*/ 1847750 w 6666359"/>
              <a:gd name="connsiteY2847" fmla="*/ 1126479 h 4343113"/>
              <a:gd name="connsiteX2848" fmla="*/ 1841300 w 6666359"/>
              <a:gd name="connsiteY2848" fmla="*/ 1116805 h 4343113"/>
              <a:gd name="connsiteX2849" fmla="*/ 1847750 w 6666359"/>
              <a:gd name="connsiteY2849" fmla="*/ 1107131 h 4343113"/>
              <a:gd name="connsiteX2850" fmla="*/ 1850974 w 6666359"/>
              <a:gd name="connsiteY2850" fmla="*/ 1097457 h 4343113"/>
              <a:gd name="connsiteX2851" fmla="*/ 1860648 w 6666359"/>
              <a:gd name="connsiteY2851" fmla="*/ 1097457 h 4343113"/>
              <a:gd name="connsiteX2852" fmla="*/ 1870322 w 6666359"/>
              <a:gd name="connsiteY2852" fmla="*/ 1094232 h 4343113"/>
              <a:gd name="connsiteX2853" fmla="*/ 1960614 w 6666359"/>
              <a:gd name="connsiteY2853" fmla="*/ 1068435 h 4343113"/>
              <a:gd name="connsiteX2854" fmla="*/ 1983187 w 6666359"/>
              <a:gd name="connsiteY2854" fmla="*/ 1078108 h 4343113"/>
              <a:gd name="connsiteX2855" fmla="*/ 1970287 w 6666359"/>
              <a:gd name="connsiteY2855" fmla="*/ 1084558 h 4343113"/>
              <a:gd name="connsiteX2856" fmla="*/ 1963839 w 6666359"/>
              <a:gd name="connsiteY2856" fmla="*/ 1074884 h 4343113"/>
              <a:gd name="connsiteX2857" fmla="*/ 3872858 w 6666359"/>
              <a:gd name="connsiteY2857" fmla="*/ 1058762 h 4343113"/>
              <a:gd name="connsiteX2858" fmla="*/ 3879308 w 6666359"/>
              <a:gd name="connsiteY2858" fmla="*/ 1058762 h 4343113"/>
              <a:gd name="connsiteX2859" fmla="*/ 3882532 w 6666359"/>
              <a:gd name="connsiteY2859" fmla="*/ 1061986 h 4343113"/>
              <a:gd name="connsiteX2860" fmla="*/ 3863184 w 6666359"/>
              <a:gd name="connsiteY2860" fmla="*/ 1065210 h 4343113"/>
              <a:gd name="connsiteX2861" fmla="*/ 2270185 w 6666359"/>
              <a:gd name="connsiteY2861" fmla="*/ 1058761 h 4343113"/>
              <a:gd name="connsiteX2862" fmla="*/ 2273409 w 6666359"/>
              <a:gd name="connsiteY2862" fmla="*/ 1058761 h 4343113"/>
              <a:gd name="connsiteX2863" fmla="*/ 2279859 w 6666359"/>
              <a:gd name="connsiteY2863" fmla="*/ 1074884 h 4343113"/>
              <a:gd name="connsiteX2864" fmla="*/ 2270185 w 6666359"/>
              <a:gd name="connsiteY2864" fmla="*/ 1065210 h 4343113"/>
              <a:gd name="connsiteX2865" fmla="*/ 1983187 w 6666359"/>
              <a:gd name="connsiteY2865" fmla="*/ 1058761 h 4343113"/>
              <a:gd name="connsiteX2866" fmla="*/ 2002534 w 6666359"/>
              <a:gd name="connsiteY2866" fmla="*/ 1065210 h 4343113"/>
              <a:gd name="connsiteX2867" fmla="*/ 2002534 w 6666359"/>
              <a:gd name="connsiteY2867" fmla="*/ 1068435 h 4343113"/>
              <a:gd name="connsiteX2868" fmla="*/ 1992861 w 6666359"/>
              <a:gd name="connsiteY2868" fmla="*/ 1068435 h 4343113"/>
              <a:gd name="connsiteX2869" fmla="*/ 2789361 w 6666359"/>
              <a:gd name="connsiteY2869" fmla="*/ 994267 h 4343113"/>
              <a:gd name="connsiteX2870" fmla="*/ 2792587 w 6666359"/>
              <a:gd name="connsiteY2870" fmla="*/ 994267 h 4343113"/>
              <a:gd name="connsiteX2871" fmla="*/ 2802261 w 6666359"/>
              <a:gd name="connsiteY2871" fmla="*/ 1013614 h 4343113"/>
              <a:gd name="connsiteX2872" fmla="*/ 2795811 w 6666359"/>
              <a:gd name="connsiteY2872" fmla="*/ 1016840 h 4343113"/>
              <a:gd name="connsiteX2873" fmla="*/ 3945415 w 6666359"/>
              <a:gd name="connsiteY2873" fmla="*/ 958796 h 4343113"/>
              <a:gd name="connsiteX2874" fmla="*/ 3951864 w 6666359"/>
              <a:gd name="connsiteY2874" fmla="*/ 968470 h 4343113"/>
              <a:gd name="connsiteX2875" fmla="*/ 3942190 w 6666359"/>
              <a:gd name="connsiteY2875" fmla="*/ 978144 h 4343113"/>
              <a:gd name="connsiteX2876" fmla="*/ 2857080 w 6666359"/>
              <a:gd name="connsiteY2876" fmla="*/ 945896 h 4343113"/>
              <a:gd name="connsiteX2877" fmla="*/ 2866755 w 6666359"/>
              <a:gd name="connsiteY2877" fmla="*/ 955570 h 4343113"/>
              <a:gd name="connsiteX2878" fmla="*/ 2857080 w 6666359"/>
              <a:gd name="connsiteY2878" fmla="*/ 965244 h 4343113"/>
              <a:gd name="connsiteX2879" fmla="*/ 2850631 w 6666359"/>
              <a:gd name="connsiteY2879" fmla="*/ 955570 h 4343113"/>
              <a:gd name="connsiteX2880" fmla="*/ 1805829 w 6666359"/>
              <a:gd name="connsiteY2880" fmla="*/ 939448 h 4343113"/>
              <a:gd name="connsiteX2881" fmla="*/ 1812278 w 6666359"/>
              <a:gd name="connsiteY2881" fmla="*/ 945896 h 4343113"/>
              <a:gd name="connsiteX2882" fmla="*/ 1818727 w 6666359"/>
              <a:gd name="connsiteY2882" fmla="*/ 955571 h 4343113"/>
              <a:gd name="connsiteX2883" fmla="*/ 1821953 w 6666359"/>
              <a:gd name="connsiteY2883" fmla="*/ 962020 h 4343113"/>
              <a:gd name="connsiteX2884" fmla="*/ 1831626 w 6666359"/>
              <a:gd name="connsiteY2884" fmla="*/ 971693 h 4343113"/>
              <a:gd name="connsiteX2885" fmla="*/ 1857424 w 6666359"/>
              <a:gd name="connsiteY2885" fmla="*/ 991042 h 4343113"/>
              <a:gd name="connsiteX2886" fmla="*/ 1867098 w 6666359"/>
              <a:gd name="connsiteY2886" fmla="*/ 1000716 h 4343113"/>
              <a:gd name="connsiteX2887" fmla="*/ 1879997 w 6666359"/>
              <a:gd name="connsiteY2887" fmla="*/ 1003940 h 4343113"/>
              <a:gd name="connsiteX2888" fmla="*/ 1889671 w 6666359"/>
              <a:gd name="connsiteY2888" fmla="*/ 1016840 h 4343113"/>
              <a:gd name="connsiteX2889" fmla="*/ 1892895 w 6666359"/>
              <a:gd name="connsiteY2889" fmla="*/ 1029739 h 4343113"/>
              <a:gd name="connsiteX2890" fmla="*/ 1889671 w 6666359"/>
              <a:gd name="connsiteY2890" fmla="*/ 1036188 h 4343113"/>
              <a:gd name="connsiteX2891" fmla="*/ 1886446 w 6666359"/>
              <a:gd name="connsiteY2891" fmla="*/ 1036188 h 4343113"/>
              <a:gd name="connsiteX2892" fmla="*/ 1886446 w 6666359"/>
              <a:gd name="connsiteY2892" fmla="*/ 1039413 h 4343113"/>
              <a:gd name="connsiteX2893" fmla="*/ 1905794 w 6666359"/>
              <a:gd name="connsiteY2893" fmla="*/ 1036188 h 4343113"/>
              <a:gd name="connsiteX2894" fmla="*/ 1905794 w 6666359"/>
              <a:gd name="connsiteY2894" fmla="*/ 1032963 h 4343113"/>
              <a:gd name="connsiteX2895" fmla="*/ 1912243 w 6666359"/>
              <a:gd name="connsiteY2895" fmla="*/ 1036188 h 4343113"/>
              <a:gd name="connsiteX2896" fmla="*/ 1925142 w 6666359"/>
              <a:gd name="connsiteY2896" fmla="*/ 1049087 h 4343113"/>
              <a:gd name="connsiteX2897" fmla="*/ 1905794 w 6666359"/>
              <a:gd name="connsiteY2897" fmla="*/ 1065210 h 4343113"/>
              <a:gd name="connsiteX2898" fmla="*/ 1892895 w 6666359"/>
              <a:gd name="connsiteY2898" fmla="*/ 1061985 h 4343113"/>
              <a:gd name="connsiteX2899" fmla="*/ 1879997 w 6666359"/>
              <a:gd name="connsiteY2899" fmla="*/ 1055536 h 4343113"/>
              <a:gd name="connsiteX2900" fmla="*/ 1873547 w 6666359"/>
              <a:gd name="connsiteY2900" fmla="*/ 1055536 h 4343113"/>
              <a:gd name="connsiteX2901" fmla="*/ 1873547 w 6666359"/>
              <a:gd name="connsiteY2901" fmla="*/ 1049087 h 4343113"/>
              <a:gd name="connsiteX2902" fmla="*/ 1870322 w 6666359"/>
              <a:gd name="connsiteY2902" fmla="*/ 1039413 h 4343113"/>
              <a:gd name="connsiteX2903" fmla="*/ 1863873 w 6666359"/>
              <a:gd name="connsiteY2903" fmla="*/ 1032963 h 4343113"/>
              <a:gd name="connsiteX2904" fmla="*/ 1850974 w 6666359"/>
              <a:gd name="connsiteY2904" fmla="*/ 1032963 h 4343113"/>
              <a:gd name="connsiteX2905" fmla="*/ 1847750 w 6666359"/>
              <a:gd name="connsiteY2905" fmla="*/ 1036188 h 4343113"/>
              <a:gd name="connsiteX2906" fmla="*/ 1847750 w 6666359"/>
              <a:gd name="connsiteY2906" fmla="*/ 1042637 h 4343113"/>
              <a:gd name="connsiteX2907" fmla="*/ 1847750 w 6666359"/>
              <a:gd name="connsiteY2907" fmla="*/ 1052311 h 4343113"/>
              <a:gd name="connsiteX2908" fmla="*/ 1838075 w 6666359"/>
              <a:gd name="connsiteY2908" fmla="*/ 1061985 h 4343113"/>
              <a:gd name="connsiteX2909" fmla="*/ 1815503 w 6666359"/>
              <a:gd name="connsiteY2909" fmla="*/ 1081334 h 4343113"/>
              <a:gd name="connsiteX2910" fmla="*/ 1805829 w 6666359"/>
              <a:gd name="connsiteY2910" fmla="*/ 1081334 h 4343113"/>
              <a:gd name="connsiteX2911" fmla="*/ 1802604 w 6666359"/>
              <a:gd name="connsiteY2911" fmla="*/ 1052311 h 4343113"/>
              <a:gd name="connsiteX2912" fmla="*/ 1789705 w 6666359"/>
              <a:gd name="connsiteY2912" fmla="*/ 1058761 h 4343113"/>
              <a:gd name="connsiteX2913" fmla="*/ 1770357 w 6666359"/>
              <a:gd name="connsiteY2913" fmla="*/ 1061985 h 4343113"/>
              <a:gd name="connsiteX2914" fmla="*/ 1776806 w 6666359"/>
              <a:gd name="connsiteY2914" fmla="*/ 1045862 h 4343113"/>
              <a:gd name="connsiteX2915" fmla="*/ 1780032 w 6666359"/>
              <a:gd name="connsiteY2915" fmla="*/ 1039413 h 4343113"/>
              <a:gd name="connsiteX2916" fmla="*/ 1789705 w 6666359"/>
              <a:gd name="connsiteY2916" fmla="*/ 1029739 h 4343113"/>
              <a:gd name="connsiteX2917" fmla="*/ 1789705 w 6666359"/>
              <a:gd name="connsiteY2917" fmla="*/ 1016840 h 4343113"/>
              <a:gd name="connsiteX2918" fmla="*/ 1789705 w 6666359"/>
              <a:gd name="connsiteY2918" fmla="*/ 1000716 h 4343113"/>
              <a:gd name="connsiteX2919" fmla="*/ 1792930 w 6666359"/>
              <a:gd name="connsiteY2919" fmla="*/ 987817 h 4343113"/>
              <a:gd name="connsiteX2920" fmla="*/ 1792930 w 6666359"/>
              <a:gd name="connsiteY2920" fmla="*/ 974919 h 4343113"/>
              <a:gd name="connsiteX2921" fmla="*/ 1821953 w 6666359"/>
              <a:gd name="connsiteY2921" fmla="*/ 936222 h 4343113"/>
              <a:gd name="connsiteX2922" fmla="*/ 1828401 w 6666359"/>
              <a:gd name="connsiteY2922" fmla="*/ 952346 h 4343113"/>
              <a:gd name="connsiteX2923" fmla="*/ 1821953 w 6666359"/>
              <a:gd name="connsiteY2923" fmla="*/ 958795 h 4343113"/>
              <a:gd name="connsiteX2924" fmla="*/ 1815503 w 6666359"/>
              <a:gd name="connsiteY2924" fmla="*/ 942672 h 4343113"/>
              <a:gd name="connsiteX2925" fmla="*/ 1831626 w 6666359"/>
              <a:gd name="connsiteY2925" fmla="*/ 929773 h 4343113"/>
              <a:gd name="connsiteX2926" fmla="*/ 1841300 w 6666359"/>
              <a:gd name="connsiteY2926" fmla="*/ 936222 h 4343113"/>
              <a:gd name="connsiteX2927" fmla="*/ 1854199 w 6666359"/>
              <a:gd name="connsiteY2927" fmla="*/ 949121 h 4343113"/>
              <a:gd name="connsiteX2928" fmla="*/ 1850974 w 6666359"/>
              <a:gd name="connsiteY2928" fmla="*/ 955571 h 4343113"/>
              <a:gd name="connsiteX2929" fmla="*/ 1844525 w 6666359"/>
              <a:gd name="connsiteY2929" fmla="*/ 955571 h 4343113"/>
              <a:gd name="connsiteX2930" fmla="*/ 1847750 w 6666359"/>
              <a:gd name="connsiteY2930" fmla="*/ 949121 h 4343113"/>
              <a:gd name="connsiteX2931" fmla="*/ 1841300 w 6666359"/>
              <a:gd name="connsiteY2931" fmla="*/ 945896 h 4343113"/>
              <a:gd name="connsiteX2932" fmla="*/ 1838075 w 6666359"/>
              <a:gd name="connsiteY2932" fmla="*/ 942672 h 4343113"/>
              <a:gd name="connsiteX2933" fmla="*/ 1831626 w 6666359"/>
              <a:gd name="connsiteY2933" fmla="*/ 936222 h 4343113"/>
              <a:gd name="connsiteX2934" fmla="*/ 3327885 w 6666359"/>
              <a:gd name="connsiteY2934" fmla="*/ 907199 h 4343113"/>
              <a:gd name="connsiteX2935" fmla="*/ 3337559 w 6666359"/>
              <a:gd name="connsiteY2935" fmla="*/ 916874 h 4343113"/>
              <a:gd name="connsiteX2936" fmla="*/ 3347234 w 6666359"/>
              <a:gd name="connsiteY2936" fmla="*/ 926548 h 4343113"/>
              <a:gd name="connsiteX2937" fmla="*/ 3353683 w 6666359"/>
              <a:gd name="connsiteY2937" fmla="*/ 932997 h 4343113"/>
              <a:gd name="connsiteX2938" fmla="*/ 3366582 w 6666359"/>
              <a:gd name="connsiteY2938" fmla="*/ 949120 h 4343113"/>
              <a:gd name="connsiteX2939" fmla="*/ 3369806 w 6666359"/>
              <a:gd name="connsiteY2939" fmla="*/ 955570 h 4343113"/>
              <a:gd name="connsiteX2940" fmla="*/ 3379481 w 6666359"/>
              <a:gd name="connsiteY2940" fmla="*/ 955570 h 4343113"/>
              <a:gd name="connsiteX2941" fmla="*/ 3382705 w 6666359"/>
              <a:gd name="connsiteY2941" fmla="*/ 962020 h 4343113"/>
              <a:gd name="connsiteX2942" fmla="*/ 3382705 w 6666359"/>
              <a:gd name="connsiteY2942" fmla="*/ 978143 h 4343113"/>
              <a:gd name="connsiteX2943" fmla="*/ 3379481 w 6666359"/>
              <a:gd name="connsiteY2943" fmla="*/ 997491 h 4343113"/>
              <a:gd name="connsiteX2944" fmla="*/ 3373031 w 6666359"/>
              <a:gd name="connsiteY2944" fmla="*/ 1003940 h 4343113"/>
              <a:gd name="connsiteX2945" fmla="*/ 3360132 w 6666359"/>
              <a:gd name="connsiteY2945" fmla="*/ 1020064 h 4343113"/>
              <a:gd name="connsiteX2946" fmla="*/ 3356908 w 6666359"/>
              <a:gd name="connsiteY2946" fmla="*/ 1023288 h 4343113"/>
              <a:gd name="connsiteX2947" fmla="*/ 3356908 w 6666359"/>
              <a:gd name="connsiteY2947" fmla="*/ 1026514 h 4343113"/>
              <a:gd name="connsiteX2948" fmla="*/ 3350458 w 6666359"/>
              <a:gd name="connsiteY2948" fmla="*/ 1026514 h 4343113"/>
              <a:gd name="connsiteX2949" fmla="*/ 3324661 w 6666359"/>
              <a:gd name="connsiteY2949" fmla="*/ 1039412 h 4343113"/>
              <a:gd name="connsiteX2950" fmla="*/ 3311762 w 6666359"/>
              <a:gd name="connsiteY2950" fmla="*/ 1049087 h 4343113"/>
              <a:gd name="connsiteX2951" fmla="*/ 3282740 w 6666359"/>
              <a:gd name="connsiteY2951" fmla="*/ 1065210 h 4343113"/>
              <a:gd name="connsiteX2952" fmla="*/ 3256942 w 6666359"/>
              <a:gd name="connsiteY2952" fmla="*/ 1065210 h 4343113"/>
              <a:gd name="connsiteX2953" fmla="*/ 3227920 w 6666359"/>
              <a:gd name="connsiteY2953" fmla="*/ 1052311 h 4343113"/>
              <a:gd name="connsiteX2954" fmla="*/ 3215022 w 6666359"/>
              <a:gd name="connsiteY2954" fmla="*/ 1049087 h 4343113"/>
              <a:gd name="connsiteX2955" fmla="*/ 3198898 w 6666359"/>
              <a:gd name="connsiteY2955" fmla="*/ 1049087 h 4343113"/>
              <a:gd name="connsiteX2956" fmla="*/ 3189224 w 6666359"/>
              <a:gd name="connsiteY2956" fmla="*/ 1049087 h 4343113"/>
              <a:gd name="connsiteX2957" fmla="*/ 3182775 w 6666359"/>
              <a:gd name="connsiteY2957" fmla="*/ 1042637 h 4343113"/>
              <a:gd name="connsiteX2958" fmla="*/ 3192448 w 6666359"/>
              <a:gd name="connsiteY2958" fmla="*/ 1039412 h 4343113"/>
              <a:gd name="connsiteX2959" fmla="*/ 3202122 w 6666359"/>
              <a:gd name="connsiteY2959" fmla="*/ 1036188 h 4343113"/>
              <a:gd name="connsiteX2960" fmla="*/ 3198898 w 6666359"/>
              <a:gd name="connsiteY2960" fmla="*/ 1020064 h 4343113"/>
              <a:gd name="connsiteX2961" fmla="*/ 3195673 w 6666359"/>
              <a:gd name="connsiteY2961" fmla="*/ 1003940 h 4343113"/>
              <a:gd name="connsiteX2962" fmla="*/ 3182775 w 6666359"/>
              <a:gd name="connsiteY2962" fmla="*/ 997491 h 4343113"/>
              <a:gd name="connsiteX2963" fmla="*/ 3169875 w 6666359"/>
              <a:gd name="connsiteY2963" fmla="*/ 997491 h 4343113"/>
              <a:gd name="connsiteX2964" fmla="*/ 3160201 w 6666359"/>
              <a:gd name="connsiteY2964" fmla="*/ 1003940 h 4343113"/>
              <a:gd name="connsiteX2965" fmla="*/ 3153752 w 6666359"/>
              <a:gd name="connsiteY2965" fmla="*/ 994267 h 4343113"/>
              <a:gd name="connsiteX2966" fmla="*/ 3160201 w 6666359"/>
              <a:gd name="connsiteY2966" fmla="*/ 994267 h 4343113"/>
              <a:gd name="connsiteX2967" fmla="*/ 3169875 w 6666359"/>
              <a:gd name="connsiteY2967" fmla="*/ 991042 h 4343113"/>
              <a:gd name="connsiteX2968" fmla="*/ 3179549 w 6666359"/>
              <a:gd name="connsiteY2968" fmla="*/ 984593 h 4343113"/>
              <a:gd name="connsiteX2969" fmla="*/ 3205347 w 6666359"/>
              <a:gd name="connsiteY2969" fmla="*/ 965244 h 4343113"/>
              <a:gd name="connsiteX2970" fmla="*/ 3185999 w 6666359"/>
              <a:gd name="connsiteY2970" fmla="*/ 962020 h 4343113"/>
              <a:gd name="connsiteX2971" fmla="*/ 3169875 w 6666359"/>
              <a:gd name="connsiteY2971" fmla="*/ 962020 h 4343113"/>
              <a:gd name="connsiteX2972" fmla="*/ 3156977 w 6666359"/>
              <a:gd name="connsiteY2972" fmla="*/ 968469 h 4343113"/>
              <a:gd name="connsiteX2973" fmla="*/ 3144078 w 6666359"/>
              <a:gd name="connsiteY2973" fmla="*/ 962020 h 4343113"/>
              <a:gd name="connsiteX2974" fmla="*/ 3160201 w 6666359"/>
              <a:gd name="connsiteY2974" fmla="*/ 932997 h 4343113"/>
              <a:gd name="connsiteX2975" fmla="*/ 3173101 w 6666359"/>
              <a:gd name="connsiteY2975" fmla="*/ 916874 h 4343113"/>
              <a:gd name="connsiteX2976" fmla="*/ 3185999 w 6666359"/>
              <a:gd name="connsiteY2976" fmla="*/ 913649 h 4343113"/>
              <a:gd name="connsiteX2977" fmla="*/ 3192448 w 6666359"/>
              <a:gd name="connsiteY2977" fmla="*/ 920099 h 4343113"/>
              <a:gd name="connsiteX2978" fmla="*/ 3198898 w 6666359"/>
              <a:gd name="connsiteY2978" fmla="*/ 923323 h 4343113"/>
              <a:gd name="connsiteX2979" fmla="*/ 3205347 w 6666359"/>
              <a:gd name="connsiteY2979" fmla="*/ 926548 h 4343113"/>
              <a:gd name="connsiteX2980" fmla="*/ 3215022 w 6666359"/>
              <a:gd name="connsiteY2980" fmla="*/ 936222 h 4343113"/>
              <a:gd name="connsiteX2981" fmla="*/ 3215022 w 6666359"/>
              <a:gd name="connsiteY2981" fmla="*/ 945896 h 4343113"/>
              <a:gd name="connsiteX2982" fmla="*/ 3221470 w 6666359"/>
              <a:gd name="connsiteY2982" fmla="*/ 965244 h 4343113"/>
              <a:gd name="connsiteX2983" fmla="*/ 3227920 w 6666359"/>
              <a:gd name="connsiteY2983" fmla="*/ 955570 h 4343113"/>
              <a:gd name="connsiteX2984" fmla="*/ 3231145 w 6666359"/>
              <a:gd name="connsiteY2984" fmla="*/ 962020 h 4343113"/>
              <a:gd name="connsiteX2985" fmla="*/ 3237594 w 6666359"/>
              <a:gd name="connsiteY2985" fmla="*/ 955570 h 4343113"/>
              <a:gd name="connsiteX2986" fmla="*/ 3237594 w 6666359"/>
              <a:gd name="connsiteY2986" fmla="*/ 942672 h 4343113"/>
              <a:gd name="connsiteX2987" fmla="*/ 3234369 w 6666359"/>
              <a:gd name="connsiteY2987" fmla="*/ 929773 h 4343113"/>
              <a:gd name="connsiteX2988" fmla="*/ 3240819 w 6666359"/>
              <a:gd name="connsiteY2988" fmla="*/ 929773 h 4343113"/>
              <a:gd name="connsiteX2989" fmla="*/ 3250493 w 6666359"/>
              <a:gd name="connsiteY2989" fmla="*/ 949120 h 4343113"/>
              <a:gd name="connsiteX2990" fmla="*/ 3253717 w 6666359"/>
              <a:gd name="connsiteY2990" fmla="*/ 939447 h 4343113"/>
              <a:gd name="connsiteX2991" fmla="*/ 3256942 w 6666359"/>
              <a:gd name="connsiteY2991" fmla="*/ 932997 h 4343113"/>
              <a:gd name="connsiteX2992" fmla="*/ 3260167 w 6666359"/>
              <a:gd name="connsiteY2992" fmla="*/ 929773 h 4343113"/>
              <a:gd name="connsiteX2993" fmla="*/ 3266616 w 6666359"/>
              <a:gd name="connsiteY2993" fmla="*/ 926548 h 4343113"/>
              <a:gd name="connsiteX2994" fmla="*/ 3273066 w 6666359"/>
              <a:gd name="connsiteY2994" fmla="*/ 929773 h 4343113"/>
              <a:gd name="connsiteX2995" fmla="*/ 3289190 w 6666359"/>
              <a:gd name="connsiteY2995" fmla="*/ 926548 h 4343113"/>
              <a:gd name="connsiteX2996" fmla="*/ 3292414 w 6666359"/>
              <a:gd name="connsiteY2996" fmla="*/ 932997 h 4343113"/>
              <a:gd name="connsiteX2997" fmla="*/ 3298863 w 6666359"/>
              <a:gd name="connsiteY2997" fmla="*/ 929773 h 4343113"/>
              <a:gd name="connsiteX2998" fmla="*/ 3308537 w 6666359"/>
              <a:gd name="connsiteY2998" fmla="*/ 926548 h 4343113"/>
              <a:gd name="connsiteX2999" fmla="*/ 3311762 w 6666359"/>
              <a:gd name="connsiteY2999" fmla="*/ 929773 h 4343113"/>
              <a:gd name="connsiteX3000" fmla="*/ 3314987 w 6666359"/>
              <a:gd name="connsiteY3000" fmla="*/ 929773 h 4343113"/>
              <a:gd name="connsiteX3001" fmla="*/ 3321437 w 6666359"/>
              <a:gd name="connsiteY3001" fmla="*/ 926548 h 4343113"/>
              <a:gd name="connsiteX3002" fmla="*/ 3321437 w 6666359"/>
              <a:gd name="connsiteY3002" fmla="*/ 923323 h 4343113"/>
              <a:gd name="connsiteX3003" fmla="*/ 3321437 w 6666359"/>
              <a:gd name="connsiteY3003" fmla="*/ 916874 h 4343113"/>
              <a:gd name="connsiteX3004" fmla="*/ 2054130 w 6666359"/>
              <a:gd name="connsiteY3004" fmla="*/ 816909 h 4343113"/>
              <a:gd name="connsiteX3005" fmla="*/ 2067029 w 6666359"/>
              <a:gd name="connsiteY3005" fmla="*/ 823358 h 4343113"/>
              <a:gd name="connsiteX3006" fmla="*/ 2073478 w 6666359"/>
              <a:gd name="connsiteY3006" fmla="*/ 826583 h 4343113"/>
              <a:gd name="connsiteX3007" fmla="*/ 2073478 w 6666359"/>
              <a:gd name="connsiteY3007" fmla="*/ 839481 h 4343113"/>
              <a:gd name="connsiteX3008" fmla="*/ 2060579 w 6666359"/>
              <a:gd name="connsiteY3008" fmla="*/ 836257 h 4343113"/>
              <a:gd name="connsiteX3009" fmla="*/ 2044455 w 6666359"/>
              <a:gd name="connsiteY3009" fmla="*/ 829807 h 4343113"/>
              <a:gd name="connsiteX3010" fmla="*/ 3977662 w 6666359"/>
              <a:gd name="connsiteY3010" fmla="*/ 807235 h 4343113"/>
              <a:gd name="connsiteX3011" fmla="*/ 3990560 w 6666359"/>
              <a:gd name="connsiteY3011" fmla="*/ 810459 h 4343113"/>
              <a:gd name="connsiteX3012" fmla="*/ 3984111 w 6666359"/>
              <a:gd name="connsiteY3012" fmla="*/ 816909 h 4343113"/>
              <a:gd name="connsiteX3013" fmla="*/ 3977662 w 6666359"/>
              <a:gd name="connsiteY3013" fmla="*/ 820134 h 4343113"/>
              <a:gd name="connsiteX3014" fmla="*/ 1780031 w 6666359"/>
              <a:gd name="connsiteY3014" fmla="*/ 807235 h 4343113"/>
              <a:gd name="connsiteX3015" fmla="*/ 1786480 w 6666359"/>
              <a:gd name="connsiteY3015" fmla="*/ 813684 h 4343113"/>
              <a:gd name="connsiteX3016" fmla="*/ 1786480 w 6666359"/>
              <a:gd name="connsiteY3016" fmla="*/ 836257 h 4343113"/>
              <a:gd name="connsiteX3017" fmla="*/ 1776805 w 6666359"/>
              <a:gd name="connsiteY3017" fmla="*/ 829807 h 4343113"/>
              <a:gd name="connsiteX3018" fmla="*/ 2018658 w 6666359"/>
              <a:gd name="connsiteY3018" fmla="*/ 804010 h 4343113"/>
              <a:gd name="connsiteX3019" fmla="*/ 2031557 w 6666359"/>
              <a:gd name="connsiteY3019" fmla="*/ 807235 h 4343113"/>
              <a:gd name="connsiteX3020" fmla="*/ 2038007 w 6666359"/>
              <a:gd name="connsiteY3020" fmla="*/ 816909 h 4343113"/>
              <a:gd name="connsiteX3021" fmla="*/ 2034781 w 6666359"/>
              <a:gd name="connsiteY3021" fmla="*/ 833033 h 4343113"/>
              <a:gd name="connsiteX3022" fmla="*/ 2038007 w 6666359"/>
              <a:gd name="connsiteY3022" fmla="*/ 852380 h 4343113"/>
              <a:gd name="connsiteX3023" fmla="*/ 2025108 w 6666359"/>
              <a:gd name="connsiteY3023" fmla="*/ 862054 h 4343113"/>
              <a:gd name="connsiteX3024" fmla="*/ 2008984 w 6666359"/>
              <a:gd name="connsiteY3024" fmla="*/ 868504 h 4343113"/>
              <a:gd name="connsiteX3025" fmla="*/ 1996086 w 6666359"/>
              <a:gd name="connsiteY3025" fmla="*/ 868504 h 4343113"/>
              <a:gd name="connsiteX3026" fmla="*/ 1992861 w 6666359"/>
              <a:gd name="connsiteY3026" fmla="*/ 865279 h 4343113"/>
              <a:gd name="connsiteX3027" fmla="*/ 1989636 w 6666359"/>
              <a:gd name="connsiteY3027" fmla="*/ 855605 h 4343113"/>
              <a:gd name="connsiteX3028" fmla="*/ 1986411 w 6666359"/>
              <a:gd name="connsiteY3028" fmla="*/ 842706 h 4343113"/>
              <a:gd name="connsiteX3029" fmla="*/ 1989636 w 6666359"/>
              <a:gd name="connsiteY3029" fmla="*/ 833033 h 4343113"/>
              <a:gd name="connsiteX3030" fmla="*/ 1999310 w 6666359"/>
              <a:gd name="connsiteY3030" fmla="*/ 810459 h 4343113"/>
              <a:gd name="connsiteX3031" fmla="*/ 4009909 w 6666359"/>
              <a:gd name="connsiteY3031" fmla="*/ 797561 h 4343113"/>
              <a:gd name="connsiteX3032" fmla="*/ 4000235 w 6666359"/>
              <a:gd name="connsiteY3032" fmla="*/ 810459 h 4343113"/>
              <a:gd name="connsiteX3033" fmla="*/ 3993785 w 6666359"/>
              <a:gd name="connsiteY3033" fmla="*/ 816909 h 4343113"/>
              <a:gd name="connsiteX3034" fmla="*/ 3990560 w 6666359"/>
              <a:gd name="connsiteY3034" fmla="*/ 816909 h 4343113"/>
              <a:gd name="connsiteX3035" fmla="*/ 4000235 w 6666359"/>
              <a:gd name="connsiteY3035" fmla="*/ 800785 h 4343113"/>
              <a:gd name="connsiteX3036" fmla="*/ 1380168 w 6666359"/>
              <a:gd name="connsiteY3036" fmla="*/ 791112 h 4343113"/>
              <a:gd name="connsiteX3037" fmla="*/ 1386618 w 6666359"/>
              <a:gd name="connsiteY3037" fmla="*/ 791112 h 4343113"/>
              <a:gd name="connsiteX3038" fmla="*/ 1389842 w 6666359"/>
              <a:gd name="connsiteY3038" fmla="*/ 800785 h 4343113"/>
              <a:gd name="connsiteX3039" fmla="*/ 1954164 w 6666359"/>
              <a:gd name="connsiteY3039" fmla="*/ 784662 h 4343113"/>
              <a:gd name="connsiteX3040" fmla="*/ 1960614 w 6666359"/>
              <a:gd name="connsiteY3040" fmla="*/ 787886 h 4343113"/>
              <a:gd name="connsiteX3041" fmla="*/ 1957389 w 6666359"/>
              <a:gd name="connsiteY3041" fmla="*/ 794336 h 4343113"/>
              <a:gd name="connsiteX3042" fmla="*/ 1954164 w 6666359"/>
              <a:gd name="connsiteY3042" fmla="*/ 797560 h 4343113"/>
              <a:gd name="connsiteX3043" fmla="*/ 1950940 w 6666359"/>
              <a:gd name="connsiteY3043" fmla="*/ 794336 h 4343113"/>
              <a:gd name="connsiteX3044" fmla="*/ 2031557 w 6666359"/>
              <a:gd name="connsiteY3044" fmla="*/ 781437 h 4343113"/>
              <a:gd name="connsiteX3045" fmla="*/ 2041231 w 6666359"/>
              <a:gd name="connsiteY3045" fmla="*/ 794336 h 4343113"/>
              <a:gd name="connsiteX3046" fmla="*/ 2041231 w 6666359"/>
              <a:gd name="connsiteY3046" fmla="*/ 804010 h 4343113"/>
              <a:gd name="connsiteX3047" fmla="*/ 2038007 w 6666359"/>
              <a:gd name="connsiteY3047" fmla="*/ 804010 h 4343113"/>
              <a:gd name="connsiteX3048" fmla="*/ 2028332 w 6666359"/>
              <a:gd name="connsiteY3048" fmla="*/ 794336 h 4343113"/>
              <a:gd name="connsiteX3049" fmla="*/ 1444663 w 6666359"/>
              <a:gd name="connsiteY3049" fmla="*/ 774988 h 4343113"/>
              <a:gd name="connsiteX3050" fmla="*/ 1451113 w 6666359"/>
              <a:gd name="connsiteY3050" fmla="*/ 778212 h 4343113"/>
              <a:gd name="connsiteX3051" fmla="*/ 1438213 w 6666359"/>
              <a:gd name="connsiteY3051" fmla="*/ 784662 h 4343113"/>
              <a:gd name="connsiteX3052" fmla="*/ 4035706 w 6666359"/>
              <a:gd name="connsiteY3052" fmla="*/ 768538 h 4343113"/>
              <a:gd name="connsiteX3053" fmla="*/ 4042156 w 6666359"/>
              <a:gd name="connsiteY3053" fmla="*/ 791112 h 4343113"/>
              <a:gd name="connsiteX3054" fmla="*/ 4032481 w 6666359"/>
              <a:gd name="connsiteY3054" fmla="*/ 800785 h 4343113"/>
              <a:gd name="connsiteX3055" fmla="*/ 4026032 w 6666359"/>
              <a:gd name="connsiteY3055" fmla="*/ 804010 h 4343113"/>
              <a:gd name="connsiteX3056" fmla="*/ 4009909 w 6666359"/>
              <a:gd name="connsiteY3056" fmla="*/ 807235 h 4343113"/>
              <a:gd name="connsiteX3057" fmla="*/ 4019583 w 6666359"/>
              <a:gd name="connsiteY3057" fmla="*/ 774988 h 4343113"/>
              <a:gd name="connsiteX3058" fmla="*/ 4009909 w 6666359"/>
              <a:gd name="connsiteY3058" fmla="*/ 762089 h 4343113"/>
              <a:gd name="connsiteX3059" fmla="*/ 4016358 w 6666359"/>
              <a:gd name="connsiteY3059" fmla="*/ 781438 h 4343113"/>
              <a:gd name="connsiteX3060" fmla="*/ 4003459 w 6666359"/>
              <a:gd name="connsiteY3060" fmla="*/ 784662 h 4343113"/>
              <a:gd name="connsiteX3061" fmla="*/ 3997010 w 6666359"/>
              <a:gd name="connsiteY3061" fmla="*/ 784662 h 4343113"/>
              <a:gd name="connsiteX3062" fmla="*/ 3997010 w 6666359"/>
              <a:gd name="connsiteY3062" fmla="*/ 774988 h 4343113"/>
              <a:gd name="connsiteX3063" fmla="*/ 4003459 w 6666359"/>
              <a:gd name="connsiteY3063" fmla="*/ 768538 h 4343113"/>
              <a:gd name="connsiteX3064" fmla="*/ 1476910 w 6666359"/>
              <a:gd name="connsiteY3064" fmla="*/ 762089 h 4343113"/>
              <a:gd name="connsiteX3065" fmla="*/ 1483360 w 6666359"/>
              <a:gd name="connsiteY3065" fmla="*/ 765313 h 4343113"/>
              <a:gd name="connsiteX3066" fmla="*/ 1486584 w 6666359"/>
              <a:gd name="connsiteY3066" fmla="*/ 778212 h 4343113"/>
              <a:gd name="connsiteX3067" fmla="*/ 1476910 w 6666359"/>
              <a:gd name="connsiteY3067" fmla="*/ 778212 h 4343113"/>
              <a:gd name="connsiteX3068" fmla="*/ 4026032 w 6666359"/>
              <a:gd name="connsiteY3068" fmla="*/ 749191 h 4343113"/>
              <a:gd name="connsiteX3069" fmla="*/ 4035706 w 6666359"/>
              <a:gd name="connsiteY3069" fmla="*/ 749191 h 4343113"/>
              <a:gd name="connsiteX3070" fmla="*/ 4026032 w 6666359"/>
              <a:gd name="connsiteY3070" fmla="*/ 765314 h 4343113"/>
              <a:gd name="connsiteX3071" fmla="*/ 4019583 w 6666359"/>
              <a:gd name="connsiteY3071" fmla="*/ 768538 h 4343113"/>
              <a:gd name="connsiteX3072" fmla="*/ 1960614 w 6666359"/>
              <a:gd name="connsiteY3072" fmla="*/ 739516 h 4343113"/>
              <a:gd name="connsiteX3073" fmla="*/ 1967063 w 6666359"/>
              <a:gd name="connsiteY3073" fmla="*/ 745965 h 4343113"/>
              <a:gd name="connsiteX3074" fmla="*/ 1960614 w 6666359"/>
              <a:gd name="connsiteY3074" fmla="*/ 762089 h 4343113"/>
              <a:gd name="connsiteX3075" fmla="*/ 1944490 w 6666359"/>
              <a:gd name="connsiteY3075" fmla="*/ 774988 h 4343113"/>
              <a:gd name="connsiteX3076" fmla="*/ 1941266 w 6666359"/>
              <a:gd name="connsiteY3076" fmla="*/ 768538 h 4343113"/>
              <a:gd name="connsiteX3077" fmla="*/ 1947715 w 6666359"/>
              <a:gd name="connsiteY3077" fmla="*/ 758864 h 4343113"/>
              <a:gd name="connsiteX3078" fmla="*/ 4764487 w 6666359"/>
              <a:gd name="connsiteY3078" fmla="*/ 736291 h 4343113"/>
              <a:gd name="connsiteX3079" fmla="*/ 4780610 w 6666359"/>
              <a:gd name="connsiteY3079" fmla="*/ 749191 h 4343113"/>
              <a:gd name="connsiteX3080" fmla="*/ 4783836 w 6666359"/>
              <a:gd name="connsiteY3080" fmla="*/ 755640 h 4343113"/>
              <a:gd name="connsiteX3081" fmla="*/ 4780610 w 6666359"/>
              <a:gd name="connsiteY3081" fmla="*/ 765314 h 4343113"/>
              <a:gd name="connsiteX3082" fmla="*/ 4764487 w 6666359"/>
              <a:gd name="connsiteY3082" fmla="*/ 774988 h 4343113"/>
              <a:gd name="connsiteX3083" fmla="*/ 4754813 w 6666359"/>
              <a:gd name="connsiteY3083" fmla="*/ 781438 h 4343113"/>
              <a:gd name="connsiteX3084" fmla="*/ 4745139 w 6666359"/>
              <a:gd name="connsiteY3084" fmla="*/ 781438 h 4343113"/>
              <a:gd name="connsiteX3085" fmla="*/ 4738689 w 6666359"/>
              <a:gd name="connsiteY3085" fmla="*/ 771764 h 4343113"/>
              <a:gd name="connsiteX3086" fmla="*/ 4738689 w 6666359"/>
              <a:gd name="connsiteY3086" fmla="*/ 758864 h 4343113"/>
              <a:gd name="connsiteX3087" fmla="*/ 4741915 w 6666359"/>
              <a:gd name="connsiteY3087" fmla="*/ 739517 h 4343113"/>
              <a:gd name="connsiteX3088" fmla="*/ 1992861 w 6666359"/>
              <a:gd name="connsiteY3088" fmla="*/ 736291 h 4343113"/>
              <a:gd name="connsiteX3089" fmla="*/ 1999310 w 6666359"/>
              <a:gd name="connsiteY3089" fmla="*/ 739516 h 4343113"/>
              <a:gd name="connsiteX3090" fmla="*/ 1999310 w 6666359"/>
              <a:gd name="connsiteY3090" fmla="*/ 749190 h 4343113"/>
              <a:gd name="connsiteX3091" fmla="*/ 1989636 w 6666359"/>
              <a:gd name="connsiteY3091" fmla="*/ 755639 h 4343113"/>
              <a:gd name="connsiteX3092" fmla="*/ 1986411 w 6666359"/>
              <a:gd name="connsiteY3092" fmla="*/ 745965 h 4343113"/>
              <a:gd name="connsiteX3093" fmla="*/ 1580100 w 6666359"/>
              <a:gd name="connsiteY3093" fmla="*/ 733067 h 4343113"/>
              <a:gd name="connsiteX3094" fmla="*/ 1583324 w 6666359"/>
              <a:gd name="connsiteY3094" fmla="*/ 736291 h 4343113"/>
              <a:gd name="connsiteX3095" fmla="*/ 1580100 w 6666359"/>
              <a:gd name="connsiteY3095" fmla="*/ 739516 h 4343113"/>
              <a:gd name="connsiteX3096" fmla="*/ 4055054 w 6666359"/>
              <a:gd name="connsiteY3096" fmla="*/ 729842 h 4343113"/>
              <a:gd name="connsiteX3097" fmla="*/ 4071178 w 6666359"/>
              <a:gd name="connsiteY3097" fmla="*/ 729842 h 4343113"/>
              <a:gd name="connsiteX3098" fmla="*/ 4071178 w 6666359"/>
              <a:gd name="connsiteY3098" fmla="*/ 739517 h 4343113"/>
              <a:gd name="connsiteX3099" fmla="*/ 4067953 w 6666359"/>
              <a:gd name="connsiteY3099" fmla="*/ 752415 h 4343113"/>
              <a:gd name="connsiteX3100" fmla="*/ 4048604 w 6666359"/>
              <a:gd name="connsiteY3100" fmla="*/ 758864 h 4343113"/>
              <a:gd name="connsiteX3101" fmla="*/ 4051830 w 6666359"/>
              <a:gd name="connsiteY3101" fmla="*/ 752415 h 4343113"/>
              <a:gd name="connsiteX3102" fmla="*/ 4045380 w 6666359"/>
              <a:gd name="connsiteY3102" fmla="*/ 745965 h 4343113"/>
              <a:gd name="connsiteX3103" fmla="*/ 4045380 w 6666359"/>
              <a:gd name="connsiteY3103" fmla="*/ 739517 h 4343113"/>
              <a:gd name="connsiteX3104" fmla="*/ 1560751 w 6666359"/>
              <a:gd name="connsiteY3104" fmla="*/ 729842 h 4343113"/>
              <a:gd name="connsiteX3105" fmla="*/ 1570425 w 6666359"/>
              <a:gd name="connsiteY3105" fmla="*/ 729842 h 4343113"/>
              <a:gd name="connsiteX3106" fmla="*/ 1573650 w 6666359"/>
              <a:gd name="connsiteY3106" fmla="*/ 729842 h 4343113"/>
              <a:gd name="connsiteX3107" fmla="*/ 1573650 w 6666359"/>
              <a:gd name="connsiteY3107" fmla="*/ 742741 h 4343113"/>
              <a:gd name="connsiteX3108" fmla="*/ 1570425 w 6666359"/>
              <a:gd name="connsiteY3108" fmla="*/ 742741 h 4343113"/>
              <a:gd name="connsiteX3109" fmla="*/ 744903 w 6666359"/>
              <a:gd name="connsiteY3109" fmla="*/ 729842 h 4343113"/>
              <a:gd name="connsiteX3110" fmla="*/ 748128 w 6666359"/>
              <a:gd name="connsiteY3110" fmla="*/ 729842 h 4343113"/>
              <a:gd name="connsiteX3111" fmla="*/ 748128 w 6666359"/>
              <a:gd name="connsiteY3111" fmla="*/ 736291 h 4343113"/>
              <a:gd name="connsiteX3112" fmla="*/ 738455 w 6666359"/>
              <a:gd name="connsiteY3112" fmla="*/ 749190 h 4343113"/>
              <a:gd name="connsiteX3113" fmla="*/ 728780 w 6666359"/>
              <a:gd name="connsiteY3113" fmla="*/ 758864 h 4343113"/>
              <a:gd name="connsiteX3114" fmla="*/ 712657 w 6666359"/>
              <a:gd name="connsiteY3114" fmla="*/ 765313 h 4343113"/>
              <a:gd name="connsiteX3115" fmla="*/ 702982 w 6666359"/>
              <a:gd name="connsiteY3115" fmla="*/ 758864 h 4343113"/>
              <a:gd name="connsiteX3116" fmla="*/ 702982 w 6666359"/>
              <a:gd name="connsiteY3116" fmla="*/ 749190 h 4343113"/>
              <a:gd name="connsiteX3117" fmla="*/ 706208 w 6666359"/>
              <a:gd name="connsiteY3117" fmla="*/ 742741 h 4343113"/>
              <a:gd name="connsiteX3118" fmla="*/ 722331 w 6666359"/>
              <a:gd name="connsiteY3118" fmla="*/ 736291 h 4343113"/>
              <a:gd name="connsiteX3119" fmla="*/ 732005 w 6666359"/>
              <a:gd name="connsiteY3119" fmla="*/ 733067 h 4343113"/>
              <a:gd name="connsiteX3120" fmla="*/ 1580100 w 6666359"/>
              <a:gd name="connsiteY3120" fmla="*/ 726618 h 4343113"/>
              <a:gd name="connsiteX3121" fmla="*/ 1589774 w 6666359"/>
              <a:gd name="connsiteY3121" fmla="*/ 729842 h 4343113"/>
              <a:gd name="connsiteX3122" fmla="*/ 1589774 w 6666359"/>
              <a:gd name="connsiteY3122" fmla="*/ 736291 h 4343113"/>
              <a:gd name="connsiteX3123" fmla="*/ 1586548 w 6666359"/>
              <a:gd name="connsiteY3123" fmla="*/ 745965 h 4343113"/>
              <a:gd name="connsiteX3124" fmla="*/ 1583324 w 6666359"/>
              <a:gd name="connsiteY3124" fmla="*/ 745965 h 4343113"/>
              <a:gd name="connsiteX3125" fmla="*/ 1586548 w 6666359"/>
              <a:gd name="connsiteY3125" fmla="*/ 739516 h 4343113"/>
              <a:gd name="connsiteX3126" fmla="*/ 1583324 w 6666359"/>
              <a:gd name="connsiteY3126" fmla="*/ 729842 h 4343113"/>
              <a:gd name="connsiteX3127" fmla="*/ 1580100 w 6666359"/>
              <a:gd name="connsiteY3127" fmla="*/ 733067 h 4343113"/>
              <a:gd name="connsiteX3128" fmla="*/ 1973513 w 6666359"/>
              <a:gd name="connsiteY3128" fmla="*/ 720168 h 4343113"/>
              <a:gd name="connsiteX3129" fmla="*/ 1967063 w 6666359"/>
              <a:gd name="connsiteY3129" fmla="*/ 729842 h 4343113"/>
              <a:gd name="connsiteX3130" fmla="*/ 1960614 w 6666359"/>
              <a:gd name="connsiteY3130" fmla="*/ 736291 h 4343113"/>
              <a:gd name="connsiteX3131" fmla="*/ 1954164 w 6666359"/>
              <a:gd name="connsiteY3131" fmla="*/ 736291 h 4343113"/>
              <a:gd name="connsiteX3132" fmla="*/ 1960614 w 6666359"/>
              <a:gd name="connsiteY3132" fmla="*/ 723392 h 4343113"/>
              <a:gd name="connsiteX3133" fmla="*/ 1528504 w 6666359"/>
              <a:gd name="connsiteY3133" fmla="*/ 716944 h 4343113"/>
              <a:gd name="connsiteX3134" fmla="*/ 1544627 w 6666359"/>
              <a:gd name="connsiteY3134" fmla="*/ 716944 h 4343113"/>
              <a:gd name="connsiteX3135" fmla="*/ 1563975 w 6666359"/>
              <a:gd name="connsiteY3135" fmla="*/ 736291 h 4343113"/>
              <a:gd name="connsiteX3136" fmla="*/ 1580100 w 6666359"/>
              <a:gd name="connsiteY3136" fmla="*/ 758864 h 4343113"/>
              <a:gd name="connsiteX3137" fmla="*/ 1586548 w 6666359"/>
              <a:gd name="connsiteY3137" fmla="*/ 774988 h 4343113"/>
              <a:gd name="connsiteX3138" fmla="*/ 1596222 w 6666359"/>
              <a:gd name="connsiteY3138" fmla="*/ 774988 h 4343113"/>
              <a:gd name="connsiteX3139" fmla="*/ 1589774 w 6666359"/>
              <a:gd name="connsiteY3139" fmla="*/ 781437 h 4343113"/>
              <a:gd name="connsiteX3140" fmla="*/ 1586548 w 6666359"/>
              <a:gd name="connsiteY3140" fmla="*/ 778212 h 4343113"/>
              <a:gd name="connsiteX3141" fmla="*/ 1583324 w 6666359"/>
              <a:gd name="connsiteY3141" fmla="*/ 781437 h 4343113"/>
              <a:gd name="connsiteX3142" fmla="*/ 1570425 w 6666359"/>
              <a:gd name="connsiteY3142" fmla="*/ 794336 h 4343113"/>
              <a:gd name="connsiteX3143" fmla="*/ 1560751 w 6666359"/>
              <a:gd name="connsiteY3143" fmla="*/ 797560 h 4343113"/>
              <a:gd name="connsiteX3144" fmla="*/ 1544627 w 6666359"/>
              <a:gd name="connsiteY3144" fmla="*/ 791112 h 4343113"/>
              <a:gd name="connsiteX3145" fmla="*/ 1534953 w 6666359"/>
              <a:gd name="connsiteY3145" fmla="*/ 781437 h 4343113"/>
              <a:gd name="connsiteX3146" fmla="*/ 1518830 w 6666359"/>
              <a:gd name="connsiteY3146" fmla="*/ 774988 h 4343113"/>
              <a:gd name="connsiteX3147" fmla="*/ 1502706 w 6666359"/>
              <a:gd name="connsiteY3147" fmla="*/ 771763 h 4343113"/>
              <a:gd name="connsiteX3148" fmla="*/ 1499482 w 6666359"/>
              <a:gd name="connsiteY3148" fmla="*/ 765313 h 4343113"/>
              <a:gd name="connsiteX3149" fmla="*/ 1499482 w 6666359"/>
              <a:gd name="connsiteY3149" fmla="*/ 758864 h 4343113"/>
              <a:gd name="connsiteX3150" fmla="*/ 1512380 w 6666359"/>
              <a:gd name="connsiteY3150" fmla="*/ 755639 h 4343113"/>
              <a:gd name="connsiteX3151" fmla="*/ 1525280 w 6666359"/>
              <a:gd name="connsiteY3151" fmla="*/ 745965 h 4343113"/>
              <a:gd name="connsiteX3152" fmla="*/ 1522054 w 6666359"/>
              <a:gd name="connsiteY3152" fmla="*/ 729842 h 4343113"/>
              <a:gd name="connsiteX3153" fmla="*/ 1934816 w 6666359"/>
              <a:gd name="connsiteY3153" fmla="*/ 713718 h 4343113"/>
              <a:gd name="connsiteX3154" fmla="*/ 1941266 w 6666359"/>
              <a:gd name="connsiteY3154" fmla="*/ 720168 h 4343113"/>
              <a:gd name="connsiteX3155" fmla="*/ 1938041 w 6666359"/>
              <a:gd name="connsiteY3155" fmla="*/ 726618 h 4343113"/>
              <a:gd name="connsiteX3156" fmla="*/ 1928366 w 6666359"/>
              <a:gd name="connsiteY3156" fmla="*/ 729842 h 4343113"/>
              <a:gd name="connsiteX3157" fmla="*/ 1912243 w 6666359"/>
              <a:gd name="connsiteY3157" fmla="*/ 720168 h 4343113"/>
              <a:gd name="connsiteX3158" fmla="*/ 1918693 w 6666359"/>
              <a:gd name="connsiteY3158" fmla="*/ 716944 h 4343113"/>
              <a:gd name="connsiteX3159" fmla="*/ 1931592 w 6666359"/>
              <a:gd name="connsiteY3159" fmla="*/ 716944 h 4343113"/>
              <a:gd name="connsiteX3160" fmla="*/ 1934816 w 6666359"/>
              <a:gd name="connsiteY3160" fmla="*/ 716944 h 4343113"/>
              <a:gd name="connsiteX3161" fmla="*/ 4084077 w 6666359"/>
              <a:gd name="connsiteY3161" fmla="*/ 707270 h 4343113"/>
              <a:gd name="connsiteX3162" fmla="*/ 4090525 w 6666359"/>
              <a:gd name="connsiteY3162" fmla="*/ 707270 h 4343113"/>
              <a:gd name="connsiteX3163" fmla="*/ 4093751 w 6666359"/>
              <a:gd name="connsiteY3163" fmla="*/ 710494 h 4343113"/>
              <a:gd name="connsiteX3164" fmla="*/ 4087301 w 6666359"/>
              <a:gd name="connsiteY3164" fmla="*/ 726618 h 4343113"/>
              <a:gd name="connsiteX3165" fmla="*/ 4077627 w 6666359"/>
              <a:gd name="connsiteY3165" fmla="*/ 729842 h 4343113"/>
              <a:gd name="connsiteX3166" fmla="*/ 4071178 w 6666359"/>
              <a:gd name="connsiteY3166" fmla="*/ 723393 h 4343113"/>
              <a:gd name="connsiteX3167" fmla="*/ 2560408 w 6666359"/>
              <a:gd name="connsiteY3167" fmla="*/ 707269 h 4343113"/>
              <a:gd name="connsiteX3168" fmla="*/ 2570083 w 6666359"/>
              <a:gd name="connsiteY3168" fmla="*/ 713718 h 4343113"/>
              <a:gd name="connsiteX3169" fmla="*/ 2563633 w 6666359"/>
              <a:gd name="connsiteY3169" fmla="*/ 726616 h 4343113"/>
              <a:gd name="connsiteX3170" fmla="*/ 2560408 w 6666359"/>
              <a:gd name="connsiteY3170" fmla="*/ 733066 h 4343113"/>
              <a:gd name="connsiteX3171" fmla="*/ 2553959 w 6666359"/>
              <a:gd name="connsiteY3171" fmla="*/ 723392 h 4343113"/>
              <a:gd name="connsiteX3172" fmla="*/ 4106649 w 6666359"/>
              <a:gd name="connsiteY3172" fmla="*/ 694370 h 4343113"/>
              <a:gd name="connsiteX3173" fmla="*/ 4113098 w 6666359"/>
              <a:gd name="connsiteY3173" fmla="*/ 697596 h 4343113"/>
              <a:gd name="connsiteX3174" fmla="*/ 4109874 w 6666359"/>
              <a:gd name="connsiteY3174" fmla="*/ 704044 h 4343113"/>
              <a:gd name="connsiteX3175" fmla="*/ 4100200 w 6666359"/>
              <a:gd name="connsiteY3175" fmla="*/ 710494 h 4343113"/>
              <a:gd name="connsiteX3176" fmla="*/ 4093751 w 6666359"/>
              <a:gd name="connsiteY3176" fmla="*/ 704044 h 4343113"/>
              <a:gd name="connsiteX3177" fmla="*/ 4093751 w 6666359"/>
              <a:gd name="connsiteY3177" fmla="*/ 697596 h 4343113"/>
              <a:gd name="connsiteX3178" fmla="*/ 1767132 w 6666359"/>
              <a:gd name="connsiteY3178" fmla="*/ 694370 h 4343113"/>
              <a:gd name="connsiteX3179" fmla="*/ 1770357 w 6666359"/>
              <a:gd name="connsiteY3179" fmla="*/ 694370 h 4343113"/>
              <a:gd name="connsiteX3180" fmla="*/ 1786481 w 6666359"/>
              <a:gd name="connsiteY3180" fmla="*/ 700820 h 4343113"/>
              <a:gd name="connsiteX3181" fmla="*/ 1776806 w 6666359"/>
              <a:gd name="connsiteY3181" fmla="*/ 704044 h 4343113"/>
              <a:gd name="connsiteX3182" fmla="*/ 4109874 w 6666359"/>
              <a:gd name="connsiteY3182" fmla="*/ 684697 h 4343113"/>
              <a:gd name="connsiteX3183" fmla="*/ 4122772 w 6666359"/>
              <a:gd name="connsiteY3183" fmla="*/ 694370 h 4343113"/>
              <a:gd name="connsiteX3184" fmla="*/ 4116324 w 6666359"/>
              <a:gd name="connsiteY3184" fmla="*/ 697596 h 4343113"/>
              <a:gd name="connsiteX3185" fmla="*/ 2492690 w 6666359"/>
              <a:gd name="connsiteY3185" fmla="*/ 681471 h 4343113"/>
              <a:gd name="connsiteX3186" fmla="*/ 2515263 w 6666359"/>
              <a:gd name="connsiteY3186" fmla="*/ 687920 h 4343113"/>
              <a:gd name="connsiteX3187" fmla="*/ 2528162 w 6666359"/>
              <a:gd name="connsiteY3187" fmla="*/ 710493 h 4343113"/>
              <a:gd name="connsiteX3188" fmla="*/ 2541060 w 6666359"/>
              <a:gd name="connsiteY3188" fmla="*/ 713718 h 4343113"/>
              <a:gd name="connsiteX3189" fmla="*/ 2544285 w 6666359"/>
              <a:gd name="connsiteY3189" fmla="*/ 726616 h 4343113"/>
              <a:gd name="connsiteX3190" fmla="*/ 2541060 w 6666359"/>
              <a:gd name="connsiteY3190" fmla="*/ 733066 h 4343113"/>
              <a:gd name="connsiteX3191" fmla="*/ 2515263 w 6666359"/>
              <a:gd name="connsiteY3191" fmla="*/ 745964 h 4343113"/>
              <a:gd name="connsiteX3192" fmla="*/ 2492690 w 6666359"/>
              <a:gd name="connsiteY3192" fmla="*/ 739516 h 4343113"/>
              <a:gd name="connsiteX3193" fmla="*/ 2476566 w 6666359"/>
              <a:gd name="connsiteY3193" fmla="*/ 723392 h 4343113"/>
              <a:gd name="connsiteX3194" fmla="*/ 2479791 w 6666359"/>
              <a:gd name="connsiteY3194" fmla="*/ 716943 h 4343113"/>
              <a:gd name="connsiteX3195" fmla="*/ 2486240 w 6666359"/>
              <a:gd name="connsiteY3195" fmla="*/ 704043 h 4343113"/>
              <a:gd name="connsiteX3196" fmla="*/ 2479791 w 6666359"/>
              <a:gd name="connsiteY3196" fmla="*/ 687920 h 4343113"/>
              <a:gd name="connsiteX3197" fmla="*/ 4977317 w 6666359"/>
              <a:gd name="connsiteY3197" fmla="*/ 668572 h 4343113"/>
              <a:gd name="connsiteX3198" fmla="*/ 5006340 w 6666359"/>
              <a:gd name="connsiteY3198" fmla="*/ 700819 h 4343113"/>
              <a:gd name="connsiteX3199" fmla="*/ 5009564 w 6666359"/>
              <a:gd name="connsiteY3199" fmla="*/ 710493 h 4343113"/>
              <a:gd name="connsiteX3200" fmla="*/ 5003114 w 6666359"/>
              <a:gd name="connsiteY3200" fmla="*/ 716943 h 4343113"/>
              <a:gd name="connsiteX3201" fmla="*/ 4990216 w 6666359"/>
              <a:gd name="connsiteY3201" fmla="*/ 716943 h 4343113"/>
              <a:gd name="connsiteX3202" fmla="*/ 4986991 w 6666359"/>
              <a:gd name="connsiteY3202" fmla="*/ 713718 h 4343113"/>
              <a:gd name="connsiteX3203" fmla="*/ 4986991 w 6666359"/>
              <a:gd name="connsiteY3203" fmla="*/ 710493 h 4343113"/>
              <a:gd name="connsiteX3204" fmla="*/ 4974093 w 6666359"/>
              <a:gd name="connsiteY3204" fmla="*/ 704043 h 4343113"/>
              <a:gd name="connsiteX3205" fmla="*/ 4964418 w 6666359"/>
              <a:gd name="connsiteY3205" fmla="*/ 694369 h 4343113"/>
              <a:gd name="connsiteX3206" fmla="*/ 4961193 w 6666359"/>
              <a:gd name="connsiteY3206" fmla="*/ 681471 h 4343113"/>
              <a:gd name="connsiteX3207" fmla="*/ 4967643 w 6666359"/>
              <a:gd name="connsiteY3207" fmla="*/ 675022 h 4343113"/>
              <a:gd name="connsiteX3208" fmla="*/ 4196940 w 6666359"/>
              <a:gd name="connsiteY3208" fmla="*/ 662123 h 4343113"/>
              <a:gd name="connsiteX3209" fmla="*/ 4196940 w 6666359"/>
              <a:gd name="connsiteY3209" fmla="*/ 678247 h 4343113"/>
              <a:gd name="connsiteX3210" fmla="*/ 4187266 w 6666359"/>
              <a:gd name="connsiteY3210" fmla="*/ 684697 h 4343113"/>
              <a:gd name="connsiteX3211" fmla="*/ 4180817 w 6666359"/>
              <a:gd name="connsiteY3211" fmla="*/ 675023 h 4343113"/>
              <a:gd name="connsiteX3212" fmla="*/ 4190492 w 6666359"/>
              <a:gd name="connsiteY3212" fmla="*/ 665349 h 4343113"/>
              <a:gd name="connsiteX3213" fmla="*/ 4171143 w 6666359"/>
              <a:gd name="connsiteY3213" fmla="*/ 655674 h 4343113"/>
              <a:gd name="connsiteX3214" fmla="*/ 4177593 w 6666359"/>
              <a:gd name="connsiteY3214" fmla="*/ 658899 h 4343113"/>
              <a:gd name="connsiteX3215" fmla="*/ 4164693 w 6666359"/>
              <a:gd name="connsiteY3215" fmla="*/ 671797 h 4343113"/>
              <a:gd name="connsiteX3216" fmla="*/ 4171143 w 6666359"/>
              <a:gd name="connsiteY3216" fmla="*/ 662123 h 4343113"/>
              <a:gd name="connsiteX3217" fmla="*/ 4200166 w 6666359"/>
              <a:gd name="connsiteY3217" fmla="*/ 649225 h 4343113"/>
              <a:gd name="connsiteX3218" fmla="*/ 4206615 w 6666359"/>
              <a:gd name="connsiteY3218" fmla="*/ 652449 h 4343113"/>
              <a:gd name="connsiteX3219" fmla="*/ 4200166 w 6666359"/>
              <a:gd name="connsiteY3219" fmla="*/ 665349 h 4343113"/>
              <a:gd name="connsiteX3220" fmla="*/ 3118280 w 6666359"/>
              <a:gd name="connsiteY3220" fmla="*/ 633101 h 4343113"/>
              <a:gd name="connsiteX3221" fmla="*/ 3124730 w 6666359"/>
              <a:gd name="connsiteY3221" fmla="*/ 645999 h 4343113"/>
              <a:gd name="connsiteX3222" fmla="*/ 3127954 w 6666359"/>
              <a:gd name="connsiteY3222" fmla="*/ 658898 h 4343113"/>
              <a:gd name="connsiteX3223" fmla="*/ 3115056 w 6666359"/>
              <a:gd name="connsiteY3223" fmla="*/ 665348 h 4343113"/>
              <a:gd name="connsiteX3224" fmla="*/ 3108607 w 6666359"/>
              <a:gd name="connsiteY3224" fmla="*/ 665348 h 4343113"/>
              <a:gd name="connsiteX3225" fmla="*/ 3102157 w 6666359"/>
              <a:gd name="connsiteY3225" fmla="*/ 668572 h 4343113"/>
              <a:gd name="connsiteX3226" fmla="*/ 3089258 w 6666359"/>
              <a:gd name="connsiteY3226" fmla="*/ 668572 h 4343113"/>
              <a:gd name="connsiteX3227" fmla="*/ 3073134 w 6666359"/>
              <a:gd name="connsiteY3227" fmla="*/ 675022 h 4343113"/>
              <a:gd name="connsiteX3228" fmla="*/ 3066686 w 6666359"/>
              <a:gd name="connsiteY3228" fmla="*/ 665348 h 4343113"/>
              <a:gd name="connsiteX3229" fmla="*/ 3079584 w 6666359"/>
              <a:gd name="connsiteY3229" fmla="*/ 652449 h 4343113"/>
              <a:gd name="connsiteX3230" fmla="*/ 3092483 w 6666359"/>
              <a:gd name="connsiteY3230" fmla="*/ 642775 h 4343113"/>
              <a:gd name="connsiteX3231" fmla="*/ 4238861 w 6666359"/>
              <a:gd name="connsiteY3231" fmla="*/ 626652 h 4343113"/>
              <a:gd name="connsiteX3232" fmla="*/ 4248536 w 6666359"/>
              <a:gd name="connsiteY3232" fmla="*/ 626652 h 4343113"/>
              <a:gd name="connsiteX3233" fmla="*/ 4251761 w 6666359"/>
              <a:gd name="connsiteY3233" fmla="*/ 633102 h 4343113"/>
              <a:gd name="connsiteX3234" fmla="*/ 4242087 w 6666359"/>
              <a:gd name="connsiteY3234" fmla="*/ 636326 h 4343113"/>
              <a:gd name="connsiteX3235" fmla="*/ 4828981 w 6666359"/>
              <a:gd name="connsiteY3235" fmla="*/ 623427 h 4343113"/>
              <a:gd name="connsiteX3236" fmla="*/ 4845104 w 6666359"/>
              <a:gd name="connsiteY3236" fmla="*/ 626651 h 4343113"/>
              <a:gd name="connsiteX3237" fmla="*/ 4841880 w 6666359"/>
              <a:gd name="connsiteY3237" fmla="*/ 649224 h 4343113"/>
              <a:gd name="connsiteX3238" fmla="*/ 4832205 w 6666359"/>
              <a:gd name="connsiteY3238" fmla="*/ 629875 h 4343113"/>
              <a:gd name="connsiteX3239" fmla="*/ 4825757 w 6666359"/>
              <a:gd name="connsiteY3239" fmla="*/ 626651 h 4343113"/>
              <a:gd name="connsiteX3240" fmla="*/ 2508813 w 6666359"/>
              <a:gd name="connsiteY3240" fmla="*/ 616977 h 4343113"/>
              <a:gd name="connsiteX3241" fmla="*/ 2512038 w 6666359"/>
              <a:gd name="connsiteY3241" fmla="*/ 633101 h 4343113"/>
              <a:gd name="connsiteX3242" fmla="*/ 2502363 w 6666359"/>
              <a:gd name="connsiteY3242" fmla="*/ 633101 h 4343113"/>
              <a:gd name="connsiteX3243" fmla="*/ 2499139 w 6666359"/>
              <a:gd name="connsiteY3243" fmla="*/ 623427 h 4343113"/>
              <a:gd name="connsiteX3244" fmla="*/ 2518487 w 6666359"/>
              <a:gd name="connsiteY3244" fmla="*/ 613752 h 4343113"/>
              <a:gd name="connsiteX3245" fmla="*/ 2528162 w 6666359"/>
              <a:gd name="connsiteY3245" fmla="*/ 616977 h 4343113"/>
              <a:gd name="connsiteX3246" fmla="*/ 2521712 w 6666359"/>
              <a:gd name="connsiteY3246" fmla="*/ 629875 h 4343113"/>
              <a:gd name="connsiteX3247" fmla="*/ 2515263 w 6666359"/>
              <a:gd name="connsiteY3247" fmla="*/ 623427 h 4343113"/>
              <a:gd name="connsiteX3248" fmla="*/ 2073478 w 6666359"/>
              <a:gd name="connsiteY3248" fmla="*/ 594405 h 4343113"/>
              <a:gd name="connsiteX3249" fmla="*/ 2076702 w 6666359"/>
              <a:gd name="connsiteY3249" fmla="*/ 594405 h 4343113"/>
              <a:gd name="connsiteX3250" fmla="*/ 2083152 w 6666359"/>
              <a:gd name="connsiteY3250" fmla="*/ 597629 h 4343113"/>
              <a:gd name="connsiteX3251" fmla="*/ 2083152 w 6666359"/>
              <a:gd name="connsiteY3251" fmla="*/ 604079 h 4343113"/>
              <a:gd name="connsiteX3252" fmla="*/ 2083152 w 6666359"/>
              <a:gd name="connsiteY3252" fmla="*/ 610529 h 4343113"/>
              <a:gd name="connsiteX3253" fmla="*/ 2073478 w 6666359"/>
              <a:gd name="connsiteY3253" fmla="*/ 607303 h 4343113"/>
              <a:gd name="connsiteX3254" fmla="*/ 1596222 w 6666359"/>
              <a:gd name="connsiteY3254" fmla="*/ 568608 h 4343113"/>
              <a:gd name="connsiteX3255" fmla="*/ 1605896 w 6666359"/>
              <a:gd name="connsiteY3255" fmla="*/ 568608 h 4343113"/>
              <a:gd name="connsiteX3256" fmla="*/ 1612346 w 6666359"/>
              <a:gd name="connsiteY3256" fmla="*/ 575056 h 4343113"/>
              <a:gd name="connsiteX3257" fmla="*/ 1609121 w 6666359"/>
              <a:gd name="connsiteY3257" fmla="*/ 578281 h 4343113"/>
              <a:gd name="connsiteX3258" fmla="*/ 1625245 w 6666359"/>
              <a:gd name="connsiteY3258" fmla="*/ 581506 h 4343113"/>
              <a:gd name="connsiteX3259" fmla="*/ 1634919 w 6666359"/>
              <a:gd name="connsiteY3259" fmla="*/ 597629 h 4343113"/>
              <a:gd name="connsiteX3260" fmla="*/ 1644593 w 6666359"/>
              <a:gd name="connsiteY3260" fmla="*/ 623427 h 4343113"/>
              <a:gd name="connsiteX3261" fmla="*/ 1644593 w 6666359"/>
              <a:gd name="connsiteY3261" fmla="*/ 646000 h 4343113"/>
              <a:gd name="connsiteX3262" fmla="*/ 1641368 w 6666359"/>
              <a:gd name="connsiteY3262" fmla="*/ 646000 h 4343113"/>
              <a:gd name="connsiteX3263" fmla="*/ 1651042 w 6666359"/>
              <a:gd name="connsiteY3263" fmla="*/ 652449 h 4343113"/>
              <a:gd name="connsiteX3264" fmla="*/ 1660716 w 6666359"/>
              <a:gd name="connsiteY3264" fmla="*/ 665348 h 4343113"/>
              <a:gd name="connsiteX3265" fmla="*/ 1676840 w 6666359"/>
              <a:gd name="connsiteY3265" fmla="*/ 691145 h 4343113"/>
              <a:gd name="connsiteX3266" fmla="*/ 1657492 w 6666359"/>
              <a:gd name="connsiteY3266" fmla="*/ 710494 h 4343113"/>
              <a:gd name="connsiteX3267" fmla="*/ 1654267 w 6666359"/>
              <a:gd name="connsiteY3267" fmla="*/ 716944 h 4343113"/>
              <a:gd name="connsiteX3268" fmla="*/ 1654267 w 6666359"/>
              <a:gd name="connsiteY3268" fmla="*/ 723392 h 4343113"/>
              <a:gd name="connsiteX3269" fmla="*/ 1663942 w 6666359"/>
              <a:gd name="connsiteY3269" fmla="*/ 729842 h 4343113"/>
              <a:gd name="connsiteX3270" fmla="*/ 1702637 w 6666359"/>
              <a:gd name="connsiteY3270" fmla="*/ 736291 h 4343113"/>
              <a:gd name="connsiteX3271" fmla="*/ 1696188 w 6666359"/>
              <a:gd name="connsiteY3271" fmla="*/ 739516 h 4343113"/>
              <a:gd name="connsiteX3272" fmla="*/ 1686514 w 6666359"/>
              <a:gd name="connsiteY3272" fmla="*/ 749190 h 4343113"/>
              <a:gd name="connsiteX3273" fmla="*/ 1699413 w 6666359"/>
              <a:gd name="connsiteY3273" fmla="*/ 774988 h 4343113"/>
              <a:gd name="connsiteX3274" fmla="*/ 1696188 w 6666359"/>
              <a:gd name="connsiteY3274" fmla="*/ 774988 h 4343113"/>
              <a:gd name="connsiteX3275" fmla="*/ 1699413 w 6666359"/>
              <a:gd name="connsiteY3275" fmla="*/ 794336 h 4343113"/>
              <a:gd name="connsiteX3276" fmla="*/ 1702637 w 6666359"/>
              <a:gd name="connsiteY3276" fmla="*/ 807235 h 4343113"/>
              <a:gd name="connsiteX3277" fmla="*/ 1709087 w 6666359"/>
              <a:gd name="connsiteY3277" fmla="*/ 804010 h 4343113"/>
              <a:gd name="connsiteX3278" fmla="*/ 1712311 w 6666359"/>
              <a:gd name="connsiteY3278" fmla="*/ 794336 h 4343113"/>
              <a:gd name="connsiteX3279" fmla="*/ 1715536 w 6666359"/>
              <a:gd name="connsiteY3279" fmla="*/ 774988 h 4343113"/>
              <a:gd name="connsiteX3280" fmla="*/ 1715536 w 6666359"/>
              <a:gd name="connsiteY3280" fmla="*/ 765313 h 4343113"/>
              <a:gd name="connsiteX3281" fmla="*/ 1721985 w 6666359"/>
              <a:gd name="connsiteY3281" fmla="*/ 752415 h 4343113"/>
              <a:gd name="connsiteX3282" fmla="*/ 1731660 w 6666359"/>
              <a:gd name="connsiteY3282" fmla="*/ 749190 h 4343113"/>
              <a:gd name="connsiteX3283" fmla="*/ 1747783 w 6666359"/>
              <a:gd name="connsiteY3283" fmla="*/ 768538 h 4343113"/>
              <a:gd name="connsiteX3284" fmla="*/ 1754232 w 6666359"/>
              <a:gd name="connsiteY3284" fmla="*/ 781437 h 4343113"/>
              <a:gd name="connsiteX3285" fmla="*/ 1754232 w 6666359"/>
              <a:gd name="connsiteY3285" fmla="*/ 810459 h 4343113"/>
              <a:gd name="connsiteX3286" fmla="*/ 1747783 w 6666359"/>
              <a:gd name="connsiteY3286" fmla="*/ 813684 h 4343113"/>
              <a:gd name="connsiteX3287" fmla="*/ 1744558 w 6666359"/>
              <a:gd name="connsiteY3287" fmla="*/ 829807 h 4343113"/>
              <a:gd name="connsiteX3288" fmla="*/ 1751008 w 6666359"/>
              <a:gd name="connsiteY3288" fmla="*/ 842706 h 4343113"/>
              <a:gd name="connsiteX3289" fmla="*/ 1754232 w 6666359"/>
              <a:gd name="connsiteY3289" fmla="*/ 849156 h 4343113"/>
              <a:gd name="connsiteX3290" fmla="*/ 1763907 w 6666359"/>
              <a:gd name="connsiteY3290" fmla="*/ 858830 h 4343113"/>
              <a:gd name="connsiteX3291" fmla="*/ 1763907 w 6666359"/>
              <a:gd name="connsiteY3291" fmla="*/ 868504 h 4343113"/>
              <a:gd name="connsiteX3292" fmla="*/ 1763907 w 6666359"/>
              <a:gd name="connsiteY3292" fmla="*/ 874954 h 4343113"/>
              <a:gd name="connsiteX3293" fmla="*/ 1776805 w 6666359"/>
              <a:gd name="connsiteY3293" fmla="*/ 868504 h 4343113"/>
              <a:gd name="connsiteX3294" fmla="*/ 1773581 w 6666359"/>
              <a:gd name="connsiteY3294" fmla="*/ 862054 h 4343113"/>
              <a:gd name="connsiteX3295" fmla="*/ 1780031 w 6666359"/>
              <a:gd name="connsiteY3295" fmla="*/ 858830 h 4343113"/>
              <a:gd name="connsiteX3296" fmla="*/ 1786480 w 6666359"/>
              <a:gd name="connsiteY3296" fmla="*/ 862054 h 4343113"/>
              <a:gd name="connsiteX3297" fmla="*/ 1786480 w 6666359"/>
              <a:gd name="connsiteY3297" fmla="*/ 858830 h 4343113"/>
              <a:gd name="connsiteX3298" fmla="*/ 1786480 w 6666359"/>
              <a:gd name="connsiteY3298" fmla="*/ 852380 h 4343113"/>
              <a:gd name="connsiteX3299" fmla="*/ 1786480 w 6666359"/>
              <a:gd name="connsiteY3299" fmla="*/ 842706 h 4343113"/>
              <a:gd name="connsiteX3300" fmla="*/ 1789704 w 6666359"/>
              <a:gd name="connsiteY3300" fmla="*/ 836257 h 4343113"/>
              <a:gd name="connsiteX3301" fmla="*/ 1796154 w 6666359"/>
              <a:gd name="connsiteY3301" fmla="*/ 816909 h 4343113"/>
              <a:gd name="connsiteX3302" fmla="*/ 1799378 w 6666359"/>
              <a:gd name="connsiteY3302" fmla="*/ 800785 h 4343113"/>
              <a:gd name="connsiteX3303" fmla="*/ 1809052 w 6666359"/>
              <a:gd name="connsiteY3303" fmla="*/ 781437 h 4343113"/>
              <a:gd name="connsiteX3304" fmla="*/ 1815502 w 6666359"/>
              <a:gd name="connsiteY3304" fmla="*/ 781437 h 4343113"/>
              <a:gd name="connsiteX3305" fmla="*/ 1815502 w 6666359"/>
              <a:gd name="connsiteY3305" fmla="*/ 768538 h 4343113"/>
              <a:gd name="connsiteX3306" fmla="*/ 1812277 w 6666359"/>
              <a:gd name="connsiteY3306" fmla="*/ 755639 h 4343113"/>
              <a:gd name="connsiteX3307" fmla="*/ 1805828 w 6666359"/>
              <a:gd name="connsiteY3307" fmla="*/ 739516 h 4343113"/>
              <a:gd name="connsiteX3308" fmla="*/ 1805828 w 6666359"/>
              <a:gd name="connsiteY3308" fmla="*/ 712118 h 4343113"/>
              <a:gd name="connsiteX3309" fmla="*/ 1805829 w 6666359"/>
              <a:gd name="connsiteY3309" fmla="*/ 712118 h 4343113"/>
              <a:gd name="connsiteX3310" fmla="*/ 1805829 w 6666359"/>
              <a:gd name="connsiteY3310" fmla="*/ 710494 h 4343113"/>
              <a:gd name="connsiteX3311" fmla="*/ 1825177 w 6666359"/>
              <a:gd name="connsiteY3311" fmla="*/ 710494 h 4343113"/>
              <a:gd name="connsiteX3312" fmla="*/ 1828915 w 6666359"/>
              <a:gd name="connsiteY3312" fmla="*/ 711740 h 4343113"/>
              <a:gd name="connsiteX3313" fmla="*/ 1834850 w 6666359"/>
              <a:gd name="connsiteY3313" fmla="*/ 713718 h 4343113"/>
              <a:gd name="connsiteX3314" fmla="*/ 1847749 w 6666359"/>
              <a:gd name="connsiteY3314" fmla="*/ 720168 h 4343113"/>
              <a:gd name="connsiteX3315" fmla="*/ 1857423 w 6666359"/>
              <a:gd name="connsiteY3315" fmla="*/ 723392 h 4343113"/>
              <a:gd name="connsiteX3316" fmla="*/ 1873546 w 6666359"/>
              <a:gd name="connsiteY3316" fmla="*/ 733067 h 4343113"/>
              <a:gd name="connsiteX3317" fmla="*/ 1886444 w 6666359"/>
              <a:gd name="connsiteY3317" fmla="*/ 745965 h 4343113"/>
              <a:gd name="connsiteX3318" fmla="*/ 1899344 w 6666359"/>
              <a:gd name="connsiteY3318" fmla="*/ 752415 h 4343113"/>
              <a:gd name="connsiteX3319" fmla="*/ 1899344 w 6666359"/>
              <a:gd name="connsiteY3319" fmla="*/ 781437 h 4343113"/>
              <a:gd name="connsiteX3320" fmla="*/ 1889670 w 6666359"/>
              <a:gd name="connsiteY3320" fmla="*/ 797560 h 4343113"/>
              <a:gd name="connsiteX3321" fmla="*/ 1883220 w 6666359"/>
              <a:gd name="connsiteY3321" fmla="*/ 800785 h 4343113"/>
              <a:gd name="connsiteX3322" fmla="*/ 1879996 w 6666359"/>
              <a:gd name="connsiteY3322" fmla="*/ 794336 h 4343113"/>
              <a:gd name="connsiteX3323" fmla="*/ 1873546 w 6666359"/>
              <a:gd name="connsiteY3323" fmla="*/ 797560 h 4343113"/>
              <a:gd name="connsiteX3324" fmla="*/ 1870321 w 6666359"/>
              <a:gd name="connsiteY3324" fmla="*/ 800785 h 4343113"/>
              <a:gd name="connsiteX3325" fmla="*/ 1879996 w 6666359"/>
              <a:gd name="connsiteY3325" fmla="*/ 826583 h 4343113"/>
              <a:gd name="connsiteX3326" fmla="*/ 1889670 w 6666359"/>
              <a:gd name="connsiteY3326" fmla="*/ 839481 h 4343113"/>
              <a:gd name="connsiteX3327" fmla="*/ 1899344 w 6666359"/>
              <a:gd name="connsiteY3327" fmla="*/ 855605 h 4343113"/>
              <a:gd name="connsiteX3328" fmla="*/ 1899344 w 6666359"/>
              <a:gd name="connsiteY3328" fmla="*/ 868504 h 4343113"/>
              <a:gd name="connsiteX3329" fmla="*/ 1896119 w 6666359"/>
              <a:gd name="connsiteY3329" fmla="*/ 881403 h 4343113"/>
              <a:gd name="connsiteX3330" fmla="*/ 1886444 w 6666359"/>
              <a:gd name="connsiteY3330" fmla="*/ 884627 h 4343113"/>
              <a:gd name="connsiteX3331" fmla="*/ 1879996 w 6666359"/>
              <a:gd name="connsiteY3331" fmla="*/ 894301 h 4343113"/>
              <a:gd name="connsiteX3332" fmla="*/ 1876771 w 6666359"/>
              <a:gd name="connsiteY3332" fmla="*/ 897525 h 4343113"/>
              <a:gd name="connsiteX3333" fmla="*/ 1860647 w 6666359"/>
              <a:gd name="connsiteY3333" fmla="*/ 910425 h 4343113"/>
              <a:gd name="connsiteX3334" fmla="*/ 1847749 w 6666359"/>
              <a:gd name="connsiteY3334" fmla="*/ 913649 h 4343113"/>
              <a:gd name="connsiteX3335" fmla="*/ 1847749 w 6666359"/>
              <a:gd name="connsiteY3335" fmla="*/ 926548 h 4343113"/>
              <a:gd name="connsiteX3336" fmla="*/ 1841299 w 6666359"/>
              <a:gd name="connsiteY3336" fmla="*/ 926548 h 4343113"/>
              <a:gd name="connsiteX3337" fmla="*/ 1828400 w 6666359"/>
              <a:gd name="connsiteY3337" fmla="*/ 920099 h 4343113"/>
              <a:gd name="connsiteX3338" fmla="*/ 1828400 w 6666359"/>
              <a:gd name="connsiteY3338" fmla="*/ 923324 h 4343113"/>
              <a:gd name="connsiteX3339" fmla="*/ 1812277 w 6666359"/>
              <a:gd name="connsiteY3339" fmla="*/ 916874 h 4343113"/>
              <a:gd name="connsiteX3340" fmla="*/ 1809052 w 6666359"/>
              <a:gd name="connsiteY3340" fmla="*/ 910425 h 4343113"/>
              <a:gd name="connsiteX3341" fmla="*/ 1799378 w 6666359"/>
              <a:gd name="connsiteY3341" fmla="*/ 907200 h 4343113"/>
              <a:gd name="connsiteX3342" fmla="*/ 1786480 w 6666359"/>
              <a:gd name="connsiteY3342" fmla="*/ 907200 h 4343113"/>
              <a:gd name="connsiteX3343" fmla="*/ 1780031 w 6666359"/>
              <a:gd name="connsiteY3343" fmla="*/ 910425 h 4343113"/>
              <a:gd name="connsiteX3344" fmla="*/ 1783255 w 6666359"/>
              <a:gd name="connsiteY3344" fmla="*/ 920099 h 4343113"/>
              <a:gd name="connsiteX3345" fmla="*/ 1792929 w 6666359"/>
              <a:gd name="connsiteY3345" fmla="*/ 923324 h 4343113"/>
              <a:gd name="connsiteX3346" fmla="*/ 1799378 w 6666359"/>
              <a:gd name="connsiteY3346" fmla="*/ 926548 h 4343113"/>
              <a:gd name="connsiteX3347" fmla="*/ 1796154 w 6666359"/>
              <a:gd name="connsiteY3347" fmla="*/ 936222 h 4343113"/>
              <a:gd name="connsiteX3348" fmla="*/ 1789704 w 6666359"/>
              <a:gd name="connsiteY3348" fmla="*/ 942672 h 4343113"/>
              <a:gd name="connsiteX3349" fmla="*/ 1783255 w 6666359"/>
              <a:gd name="connsiteY3349" fmla="*/ 952346 h 4343113"/>
              <a:gd name="connsiteX3350" fmla="*/ 1776805 w 6666359"/>
              <a:gd name="connsiteY3350" fmla="*/ 962020 h 4343113"/>
              <a:gd name="connsiteX3351" fmla="*/ 1770356 w 6666359"/>
              <a:gd name="connsiteY3351" fmla="*/ 968469 h 4343113"/>
              <a:gd name="connsiteX3352" fmla="*/ 1770356 w 6666359"/>
              <a:gd name="connsiteY3352" fmla="*/ 974919 h 4343113"/>
              <a:gd name="connsiteX3353" fmla="*/ 1773581 w 6666359"/>
              <a:gd name="connsiteY3353" fmla="*/ 987817 h 4343113"/>
              <a:gd name="connsiteX3354" fmla="*/ 1763907 w 6666359"/>
              <a:gd name="connsiteY3354" fmla="*/ 1010390 h 4343113"/>
              <a:gd name="connsiteX3355" fmla="*/ 1757457 w 6666359"/>
              <a:gd name="connsiteY3355" fmla="*/ 1023289 h 4343113"/>
              <a:gd name="connsiteX3356" fmla="*/ 1754232 w 6666359"/>
              <a:gd name="connsiteY3356" fmla="*/ 1029739 h 4343113"/>
              <a:gd name="connsiteX3357" fmla="*/ 1738109 w 6666359"/>
              <a:gd name="connsiteY3357" fmla="*/ 1042637 h 4343113"/>
              <a:gd name="connsiteX3358" fmla="*/ 1725210 w 6666359"/>
              <a:gd name="connsiteY3358" fmla="*/ 1039413 h 4343113"/>
              <a:gd name="connsiteX3359" fmla="*/ 1718761 w 6666359"/>
              <a:gd name="connsiteY3359" fmla="*/ 1036188 h 4343113"/>
              <a:gd name="connsiteX3360" fmla="*/ 1712311 w 6666359"/>
              <a:gd name="connsiteY3360" fmla="*/ 1045862 h 4343113"/>
              <a:gd name="connsiteX3361" fmla="*/ 1709087 w 6666359"/>
              <a:gd name="connsiteY3361" fmla="*/ 1052311 h 4343113"/>
              <a:gd name="connsiteX3362" fmla="*/ 1702637 w 6666359"/>
              <a:gd name="connsiteY3362" fmla="*/ 1058761 h 4343113"/>
              <a:gd name="connsiteX3363" fmla="*/ 1696188 w 6666359"/>
              <a:gd name="connsiteY3363" fmla="*/ 1068435 h 4343113"/>
              <a:gd name="connsiteX3364" fmla="*/ 1692963 w 6666359"/>
              <a:gd name="connsiteY3364" fmla="*/ 1081334 h 4343113"/>
              <a:gd name="connsiteX3365" fmla="*/ 1692963 w 6666359"/>
              <a:gd name="connsiteY3365" fmla="*/ 1091008 h 4343113"/>
              <a:gd name="connsiteX3366" fmla="*/ 1686514 w 6666359"/>
              <a:gd name="connsiteY3366" fmla="*/ 1094232 h 4343113"/>
              <a:gd name="connsiteX3367" fmla="*/ 1673616 w 6666359"/>
              <a:gd name="connsiteY3367" fmla="*/ 1097457 h 4343113"/>
              <a:gd name="connsiteX3368" fmla="*/ 1657492 w 6666359"/>
              <a:gd name="connsiteY3368" fmla="*/ 1097457 h 4343113"/>
              <a:gd name="connsiteX3369" fmla="*/ 1651042 w 6666359"/>
              <a:gd name="connsiteY3369" fmla="*/ 1107131 h 4343113"/>
              <a:gd name="connsiteX3370" fmla="*/ 1647818 w 6666359"/>
              <a:gd name="connsiteY3370" fmla="*/ 1120030 h 4343113"/>
              <a:gd name="connsiteX3371" fmla="*/ 1647818 w 6666359"/>
              <a:gd name="connsiteY3371" fmla="*/ 1129704 h 4343113"/>
              <a:gd name="connsiteX3372" fmla="*/ 1638143 w 6666359"/>
              <a:gd name="connsiteY3372" fmla="*/ 1139378 h 4343113"/>
              <a:gd name="connsiteX3373" fmla="*/ 1628469 w 6666359"/>
              <a:gd name="connsiteY3373" fmla="*/ 1155502 h 4343113"/>
              <a:gd name="connsiteX3374" fmla="*/ 1622020 w 6666359"/>
              <a:gd name="connsiteY3374" fmla="*/ 1161952 h 4343113"/>
              <a:gd name="connsiteX3375" fmla="*/ 1622020 w 6666359"/>
              <a:gd name="connsiteY3375" fmla="*/ 1165176 h 4343113"/>
              <a:gd name="connsiteX3376" fmla="*/ 1618795 w 6666359"/>
              <a:gd name="connsiteY3376" fmla="*/ 1168400 h 4343113"/>
              <a:gd name="connsiteX3377" fmla="*/ 1612346 w 6666359"/>
              <a:gd name="connsiteY3377" fmla="*/ 1190973 h 4343113"/>
              <a:gd name="connsiteX3378" fmla="*/ 1605896 w 6666359"/>
              <a:gd name="connsiteY3378" fmla="*/ 1207097 h 4343113"/>
              <a:gd name="connsiteX3379" fmla="*/ 1609121 w 6666359"/>
              <a:gd name="connsiteY3379" fmla="*/ 1210321 h 4343113"/>
              <a:gd name="connsiteX3380" fmla="*/ 1605896 w 6666359"/>
              <a:gd name="connsiteY3380" fmla="*/ 1223220 h 4343113"/>
              <a:gd name="connsiteX3381" fmla="*/ 1602672 w 6666359"/>
              <a:gd name="connsiteY3381" fmla="*/ 1236119 h 4343113"/>
              <a:gd name="connsiteX3382" fmla="*/ 1605896 w 6666359"/>
              <a:gd name="connsiteY3382" fmla="*/ 1258692 h 4343113"/>
              <a:gd name="connsiteX3383" fmla="*/ 1602672 w 6666359"/>
              <a:gd name="connsiteY3383" fmla="*/ 1268365 h 4343113"/>
              <a:gd name="connsiteX3384" fmla="*/ 1612346 w 6666359"/>
              <a:gd name="connsiteY3384" fmla="*/ 1274815 h 4343113"/>
              <a:gd name="connsiteX3385" fmla="*/ 1615571 w 6666359"/>
              <a:gd name="connsiteY3385" fmla="*/ 1281265 h 4343113"/>
              <a:gd name="connsiteX3386" fmla="*/ 1625245 w 6666359"/>
              <a:gd name="connsiteY3386" fmla="*/ 1278040 h 4343113"/>
              <a:gd name="connsiteX3387" fmla="*/ 1638143 w 6666359"/>
              <a:gd name="connsiteY3387" fmla="*/ 1281265 h 4343113"/>
              <a:gd name="connsiteX3388" fmla="*/ 1641368 w 6666359"/>
              <a:gd name="connsiteY3388" fmla="*/ 1294164 h 4343113"/>
              <a:gd name="connsiteX3389" fmla="*/ 1647818 w 6666359"/>
              <a:gd name="connsiteY3389" fmla="*/ 1316736 h 4343113"/>
              <a:gd name="connsiteX3390" fmla="*/ 1651042 w 6666359"/>
              <a:gd name="connsiteY3390" fmla="*/ 1326410 h 4343113"/>
              <a:gd name="connsiteX3391" fmla="*/ 1654267 w 6666359"/>
              <a:gd name="connsiteY3391" fmla="*/ 1332860 h 4343113"/>
              <a:gd name="connsiteX3392" fmla="*/ 1657492 w 6666359"/>
              <a:gd name="connsiteY3392" fmla="*/ 1339309 h 4343113"/>
              <a:gd name="connsiteX3393" fmla="*/ 1660716 w 6666359"/>
              <a:gd name="connsiteY3393" fmla="*/ 1345759 h 4343113"/>
              <a:gd name="connsiteX3394" fmla="*/ 1663942 w 6666359"/>
              <a:gd name="connsiteY3394" fmla="*/ 1348983 h 4343113"/>
              <a:gd name="connsiteX3395" fmla="*/ 1692963 w 6666359"/>
              <a:gd name="connsiteY3395" fmla="*/ 1342533 h 4343113"/>
              <a:gd name="connsiteX3396" fmla="*/ 1715536 w 6666359"/>
              <a:gd name="connsiteY3396" fmla="*/ 1355433 h 4343113"/>
              <a:gd name="connsiteX3397" fmla="*/ 1731660 w 6666359"/>
              <a:gd name="connsiteY3397" fmla="*/ 1358657 h 4343113"/>
              <a:gd name="connsiteX3398" fmla="*/ 1744558 w 6666359"/>
              <a:gd name="connsiteY3398" fmla="*/ 1368332 h 4343113"/>
              <a:gd name="connsiteX3399" fmla="*/ 1754232 w 6666359"/>
              <a:gd name="connsiteY3399" fmla="*/ 1374780 h 4343113"/>
              <a:gd name="connsiteX3400" fmla="*/ 1763907 w 6666359"/>
              <a:gd name="connsiteY3400" fmla="*/ 1390904 h 4343113"/>
              <a:gd name="connsiteX3401" fmla="*/ 1786480 w 6666359"/>
              <a:gd name="connsiteY3401" fmla="*/ 1400578 h 4343113"/>
              <a:gd name="connsiteX3402" fmla="*/ 1802603 w 6666359"/>
              <a:gd name="connsiteY3402" fmla="*/ 1407027 h 4343113"/>
              <a:gd name="connsiteX3403" fmla="*/ 1812277 w 6666359"/>
              <a:gd name="connsiteY3403" fmla="*/ 1416701 h 4343113"/>
              <a:gd name="connsiteX3404" fmla="*/ 1838074 w 6666359"/>
              <a:gd name="connsiteY3404" fmla="*/ 1419927 h 4343113"/>
              <a:gd name="connsiteX3405" fmla="*/ 1850973 w 6666359"/>
              <a:gd name="connsiteY3405" fmla="*/ 1419927 h 4343113"/>
              <a:gd name="connsiteX3406" fmla="*/ 1860647 w 6666359"/>
              <a:gd name="connsiteY3406" fmla="*/ 1419927 h 4343113"/>
              <a:gd name="connsiteX3407" fmla="*/ 1863872 w 6666359"/>
              <a:gd name="connsiteY3407" fmla="*/ 1423151 h 4343113"/>
              <a:gd name="connsiteX3408" fmla="*/ 1873546 w 6666359"/>
              <a:gd name="connsiteY3408" fmla="*/ 1426376 h 4343113"/>
              <a:gd name="connsiteX3409" fmla="*/ 1879996 w 6666359"/>
              <a:gd name="connsiteY3409" fmla="*/ 1432825 h 4343113"/>
              <a:gd name="connsiteX3410" fmla="*/ 1879996 w 6666359"/>
              <a:gd name="connsiteY3410" fmla="*/ 1442500 h 4343113"/>
              <a:gd name="connsiteX3411" fmla="*/ 1879996 w 6666359"/>
              <a:gd name="connsiteY3411" fmla="*/ 1465072 h 4343113"/>
              <a:gd name="connsiteX3412" fmla="*/ 1879996 w 6666359"/>
              <a:gd name="connsiteY3412" fmla="*/ 1474746 h 4343113"/>
              <a:gd name="connsiteX3413" fmla="*/ 1883220 w 6666359"/>
              <a:gd name="connsiteY3413" fmla="*/ 1484421 h 4343113"/>
              <a:gd name="connsiteX3414" fmla="*/ 1883220 w 6666359"/>
              <a:gd name="connsiteY3414" fmla="*/ 1494095 h 4343113"/>
              <a:gd name="connsiteX3415" fmla="*/ 1879996 w 6666359"/>
              <a:gd name="connsiteY3415" fmla="*/ 1497319 h 4343113"/>
              <a:gd name="connsiteX3416" fmla="*/ 1879996 w 6666359"/>
              <a:gd name="connsiteY3416" fmla="*/ 1506993 h 4343113"/>
              <a:gd name="connsiteX3417" fmla="*/ 1886444 w 6666359"/>
              <a:gd name="connsiteY3417" fmla="*/ 1516668 h 4343113"/>
              <a:gd name="connsiteX3418" fmla="*/ 1892894 w 6666359"/>
              <a:gd name="connsiteY3418" fmla="*/ 1523116 h 4343113"/>
              <a:gd name="connsiteX3419" fmla="*/ 1896119 w 6666359"/>
              <a:gd name="connsiteY3419" fmla="*/ 1526342 h 4343113"/>
              <a:gd name="connsiteX3420" fmla="*/ 1896119 w 6666359"/>
              <a:gd name="connsiteY3420" fmla="*/ 1532791 h 4343113"/>
              <a:gd name="connsiteX3421" fmla="*/ 1902568 w 6666359"/>
              <a:gd name="connsiteY3421" fmla="*/ 1539240 h 4343113"/>
              <a:gd name="connsiteX3422" fmla="*/ 1912242 w 6666359"/>
              <a:gd name="connsiteY3422" fmla="*/ 1548914 h 4343113"/>
              <a:gd name="connsiteX3423" fmla="*/ 1915467 w 6666359"/>
              <a:gd name="connsiteY3423" fmla="*/ 1555363 h 4343113"/>
              <a:gd name="connsiteX3424" fmla="*/ 1925141 w 6666359"/>
              <a:gd name="connsiteY3424" fmla="*/ 1565037 h 4343113"/>
              <a:gd name="connsiteX3425" fmla="*/ 1931591 w 6666359"/>
              <a:gd name="connsiteY3425" fmla="*/ 1568263 h 4343113"/>
              <a:gd name="connsiteX3426" fmla="*/ 1938040 w 6666359"/>
              <a:gd name="connsiteY3426" fmla="*/ 1577937 h 4343113"/>
              <a:gd name="connsiteX3427" fmla="*/ 1938040 w 6666359"/>
              <a:gd name="connsiteY3427" fmla="*/ 1561813 h 4343113"/>
              <a:gd name="connsiteX3428" fmla="*/ 1938040 w 6666359"/>
              <a:gd name="connsiteY3428" fmla="*/ 1558589 h 4343113"/>
              <a:gd name="connsiteX3429" fmla="*/ 1941265 w 6666359"/>
              <a:gd name="connsiteY3429" fmla="*/ 1552139 h 4343113"/>
              <a:gd name="connsiteX3430" fmla="*/ 1947714 w 6666359"/>
              <a:gd name="connsiteY3430" fmla="*/ 1558589 h 4343113"/>
              <a:gd name="connsiteX3431" fmla="*/ 1954164 w 6666359"/>
              <a:gd name="connsiteY3431" fmla="*/ 1571487 h 4343113"/>
              <a:gd name="connsiteX3432" fmla="*/ 1957388 w 6666359"/>
              <a:gd name="connsiteY3432" fmla="*/ 1558589 h 4343113"/>
              <a:gd name="connsiteX3433" fmla="*/ 1954164 w 6666359"/>
              <a:gd name="connsiteY3433" fmla="*/ 1552139 h 4343113"/>
              <a:gd name="connsiteX3434" fmla="*/ 1950939 w 6666359"/>
              <a:gd name="connsiteY3434" fmla="*/ 1545689 h 4343113"/>
              <a:gd name="connsiteX3435" fmla="*/ 1963838 w 6666359"/>
              <a:gd name="connsiteY3435" fmla="*/ 1532791 h 4343113"/>
              <a:gd name="connsiteX3436" fmla="*/ 1954164 w 6666359"/>
              <a:gd name="connsiteY3436" fmla="*/ 1513442 h 4343113"/>
              <a:gd name="connsiteX3437" fmla="*/ 1950939 w 6666359"/>
              <a:gd name="connsiteY3437" fmla="*/ 1487645 h 4343113"/>
              <a:gd name="connsiteX3438" fmla="*/ 1941265 w 6666359"/>
              <a:gd name="connsiteY3438" fmla="*/ 1461848 h 4343113"/>
              <a:gd name="connsiteX3439" fmla="*/ 1938040 w 6666359"/>
              <a:gd name="connsiteY3439" fmla="*/ 1455398 h 4343113"/>
              <a:gd name="connsiteX3440" fmla="*/ 1934815 w 6666359"/>
              <a:gd name="connsiteY3440" fmla="*/ 1442500 h 4343113"/>
              <a:gd name="connsiteX3441" fmla="*/ 1947714 w 6666359"/>
              <a:gd name="connsiteY3441" fmla="*/ 1436050 h 4343113"/>
              <a:gd name="connsiteX3442" fmla="*/ 1960612 w 6666359"/>
              <a:gd name="connsiteY3442" fmla="*/ 1429601 h 4343113"/>
              <a:gd name="connsiteX3443" fmla="*/ 1973512 w 6666359"/>
              <a:gd name="connsiteY3443" fmla="*/ 1423151 h 4343113"/>
              <a:gd name="connsiteX3444" fmla="*/ 1986410 w 6666359"/>
              <a:gd name="connsiteY3444" fmla="*/ 1410253 h 4343113"/>
              <a:gd name="connsiteX3445" fmla="*/ 1996085 w 6666359"/>
              <a:gd name="connsiteY3445" fmla="*/ 1400578 h 4343113"/>
              <a:gd name="connsiteX3446" fmla="*/ 2002533 w 6666359"/>
              <a:gd name="connsiteY3446" fmla="*/ 1390904 h 4343113"/>
              <a:gd name="connsiteX3447" fmla="*/ 2002533 w 6666359"/>
              <a:gd name="connsiteY3447" fmla="*/ 1384455 h 4343113"/>
              <a:gd name="connsiteX3448" fmla="*/ 2005759 w 6666359"/>
              <a:gd name="connsiteY3448" fmla="*/ 1381230 h 4343113"/>
              <a:gd name="connsiteX3449" fmla="*/ 2005759 w 6666359"/>
              <a:gd name="connsiteY3449" fmla="*/ 1371556 h 4343113"/>
              <a:gd name="connsiteX3450" fmla="*/ 2005759 w 6666359"/>
              <a:gd name="connsiteY3450" fmla="*/ 1358657 h 4343113"/>
              <a:gd name="connsiteX3451" fmla="*/ 2005759 w 6666359"/>
              <a:gd name="connsiteY3451" fmla="*/ 1348983 h 4343113"/>
              <a:gd name="connsiteX3452" fmla="*/ 2002533 w 6666359"/>
              <a:gd name="connsiteY3452" fmla="*/ 1332860 h 4343113"/>
              <a:gd name="connsiteX3453" fmla="*/ 1992860 w 6666359"/>
              <a:gd name="connsiteY3453" fmla="*/ 1313512 h 4343113"/>
              <a:gd name="connsiteX3454" fmla="*/ 1983186 w 6666359"/>
              <a:gd name="connsiteY3454" fmla="*/ 1303838 h 4343113"/>
              <a:gd name="connsiteX3455" fmla="*/ 1973512 w 6666359"/>
              <a:gd name="connsiteY3455" fmla="*/ 1297388 h 4343113"/>
              <a:gd name="connsiteX3456" fmla="*/ 1963838 w 6666359"/>
              <a:gd name="connsiteY3456" fmla="*/ 1290939 h 4343113"/>
              <a:gd name="connsiteX3457" fmla="*/ 1960612 w 6666359"/>
              <a:gd name="connsiteY3457" fmla="*/ 1284489 h 4343113"/>
              <a:gd name="connsiteX3458" fmla="*/ 1960612 w 6666359"/>
              <a:gd name="connsiteY3458" fmla="*/ 1274815 h 4343113"/>
              <a:gd name="connsiteX3459" fmla="*/ 1963838 w 6666359"/>
              <a:gd name="connsiteY3459" fmla="*/ 1271591 h 4343113"/>
              <a:gd name="connsiteX3460" fmla="*/ 1967062 w 6666359"/>
              <a:gd name="connsiteY3460" fmla="*/ 1265141 h 4343113"/>
              <a:gd name="connsiteX3461" fmla="*/ 1976736 w 6666359"/>
              <a:gd name="connsiteY3461" fmla="*/ 1242568 h 4343113"/>
              <a:gd name="connsiteX3462" fmla="*/ 1983186 w 6666359"/>
              <a:gd name="connsiteY3462" fmla="*/ 1239344 h 4343113"/>
              <a:gd name="connsiteX3463" fmla="*/ 1986410 w 6666359"/>
              <a:gd name="connsiteY3463" fmla="*/ 1236119 h 4343113"/>
              <a:gd name="connsiteX3464" fmla="*/ 1989635 w 6666359"/>
              <a:gd name="connsiteY3464" fmla="*/ 1226445 h 4343113"/>
              <a:gd name="connsiteX3465" fmla="*/ 1979961 w 6666359"/>
              <a:gd name="connsiteY3465" fmla="*/ 1219996 h 4343113"/>
              <a:gd name="connsiteX3466" fmla="*/ 1973512 w 6666359"/>
              <a:gd name="connsiteY3466" fmla="*/ 1190973 h 4343113"/>
              <a:gd name="connsiteX3467" fmla="*/ 1967062 w 6666359"/>
              <a:gd name="connsiteY3467" fmla="*/ 1190973 h 4343113"/>
              <a:gd name="connsiteX3468" fmla="*/ 1970286 w 6666359"/>
              <a:gd name="connsiteY3468" fmla="*/ 1184523 h 4343113"/>
              <a:gd name="connsiteX3469" fmla="*/ 1976736 w 6666359"/>
              <a:gd name="connsiteY3469" fmla="*/ 1178074 h 4343113"/>
              <a:gd name="connsiteX3470" fmla="*/ 1976736 w 6666359"/>
              <a:gd name="connsiteY3470" fmla="*/ 1165176 h 4343113"/>
              <a:gd name="connsiteX3471" fmla="*/ 1976736 w 6666359"/>
              <a:gd name="connsiteY3471" fmla="*/ 1152277 h 4343113"/>
              <a:gd name="connsiteX3472" fmla="*/ 1973512 w 6666359"/>
              <a:gd name="connsiteY3472" fmla="*/ 1149052 h 4343113"/>
              <a:gd name="connsiteX3473" fmla="*/ 1967062 w 6666359"/>
              <a:gd name="connsiteY3473" fmla="*/ 1126479 h 4343113"/>
              <a:gd name="connsiteX3474" fmla="*/ 1976736 w 6666359"/>
              <a:gd name="connsiteY3474" fmla="*/ 1113581 h 4343113"/>
              <a:gd name="connsiteX3475" fmla="*/ 1983186 w 6666359"/>
              <a:gd name="connsiteY3475" fmla="*/ 1110356 h 4343113"/>
              <a:gd name="connsiteX3476" fmla="*/ 1989635 w 6666359"/>
              <a:gd name="connsiteY3476" fmla="*/ 1110356 h 4343113"/>
              <a:gd name="connsiteX3477" fmla="*/ 2002533 w 6666359"/>
              <a:gd name="connsiteY3477" fmla="*/ 1113581 h 4343113"/>
              <a:gd name="connsiteX3478" fmla="*/ 2012208 w 6666359"/>
              <a:gd name="connsiteY3478" fmla="*/ 1116805 h 4343113"/>
              <a:gd name="connsiteX3479" fmla="*/ 2018657 w 6666359"/>
              <a:gd name="connsiteY3479" fmla="*/ 1120030 h 4343113"/>
              <a:gd name="connsiteX3480" fmla="*/ 2018657 w 6666359"/>
              <a:gd name="connsiteY3480" fmla="*/ 1129704 h 4343113"/>
              <a:gd name="connsiteX3481" fmla="*/ 2038006 w 6666359"/>
              <a:gd name="connsiteY3481" fmla="*/ 1123255 h 4343113"/>
              <a:gd name="connsiteX3482" fmla="*/ 2057354 w 6666359"/>
              <a:gd name="connsiteY3482" fmla="*/ 1120030 h 4343113"/>
              <a:gd name="connsiteX3483" fmla="*/ 2067027 w 6666359"/>
              <a:gd name="connsiteY3483" fmla="*/ 1113581 h 4343113"/>
              <a:gd name="connsiteX3484" fmla="*/ 2073477 w 6666359"/>
              <a:gd name="connsiteY3484" fmla="*/ 1120030 h 4343113"/>
              <a:gd name="connsiteX3485" fmla="*/ 2089601 w 6666359"/>
              <a:gd name="connsiteY3485" fmla="*/ 1129704 h 4343113"/>
              <a:gd name="connsiteX3486" fmla="*/ 2089601 w 6666359"/>
              <a:gd name="connsiteY3486" fmla="*/ 1139378 h 4343113"/>
              <a:gd name="connsiteX3487" fmla="*/ 2099274 w 6666359"/>
              <a:gd name="connsiteY3487" fmla="*/ 1142603 h 4343113"/>
              <a:gd name="connsiteX3488" fmla="*/ 2102499 w 6666359"/>
              <a:gd name="connsiteY3488" fmla="*/ 1149052 h 4343113"/>
              <a:gd name="connsiteX3489" fmla="*/ 2105724 w 6666359"/>
              <a:gd name="connsiteY3489" fmla="*/ 1149052 h 4343113"/>
              <a:gd name="connsiteX3490" fmla="*/ 2112174 w 6666359"/>
              <a:gd name="connsiteY3490" fmla="*/ 1155502 h 4343113"/>
              <a:gd name="connsiteX3491" fmla="*/ 2105724 w 6666359"/>
              <a:gd name="connsiteY3491" fmla="*/ 1161952 h 4343113"/>
              <a:gd name="connsiteX3492" fmla="*/ 2118622 w 6666359"/>
              <a:gd name="connsiteY3492" fmla="*/ 1174850 h 4343113"/>
              <a:gd name="connsiteX3493" fmla="*/ 2131521 w 6666359"/>
              <a:gd name="connsiteY3493" fmla="*/ 1178074 h 4343113"/>
              <a:gd name="connsiteX3494" fmla="*/ 2147645 w 6666359"/>
              <a:gd name="connsiteY3494" fmla="*/ 1184523 h 4343113"/>
              <a:gd name="connsiteX3495" fmla="*/ 2154095 w 6666359"/>
              <a:gd name="connsiteY3495" fmla="*/ 1184523 h 4343113"/>
              <a:gd name="connsiteX3496" fmla="*/ 2160543 w 6666359"/>
              <a:gd name="connsiteY3496" fmla="*/ 1190973 h 4343113"/>
              <a:gd name="connsiteX3497" fmla="*/ 2154095 w 6666359"/>
              <a:gd name="connsiteY3497" fmla="*/ 1210321 h 4343113"/>
              <a:gd name="connsiteX3498" fmla="*/ 2150869 w 6666359"/>
              <a:gd name="connsiteY3498" fmla="*/ 1229670 h 4343113"/>
              <a:gd name="connsiteX3499" fmla="*/ 2154095 w 6666359"/>
              <a:gd name="connsiteY3499" fmla="*/ 1249018 h 4343113"/>
              <a:gd name="connsiteX3500" fmla="*/ 2157319 w 6666359"/>
              <a:gd name="connsiteY3500" fmla="*/ 1268365 h 4343113"/>
              <a:gd name="connsiteX3501" fmla="*/ 2157319 w 6666359"/>
              <a:gd name="connsiteY3501" fmla="*/ 1274815 h 4343113"/>
              <a:gd name="connsiteX3502" fmla="*/ 2163769 w 6666359"/>
              <a:gd name="connsiteY3502" fmla="*/ 1274815 h 4343113"/>
              <a:gd name="connsiteX3503" fmla="*/ 2173442 w 6666359"/>
              <a:gd name="connsiteY3503" fmla="*/ 1274815 h 4343113"/>
              <a:gd name="connsiteX3504" fmla="*/ 2183116 w 6666359"/>
              <a:gd name="connsiteY3504" fmla="*/ 1278040 h 4343113"/>
              <a:gd name="connsiteX3505" fmla="*/ 2189566 w 6666359"/>
              <a:gd name="connsiteY3505" fmla="*/ 1290939 h 4343113"/>
              <a:gd name="connsiteX3506" fmla="*/ 2199240 w 6666359"/>
              <a:gd name="connsiteY3506" fmla="*/ 1294164 h 4343113"/>
              <a:gd name="connsiteX3507" fmla="*/ 2202465 w 6666359"/>
              <a:gd name="connsiteY3507" fmla="*/ 1300612 h 4343113"/>
              <a:gd name="connsiteX3508" fmla="*/ 2212139 w 6666359"/>
              <a:gd name="connsiteY3508" fmla="*/ 1294164 h 4343113"/>
              <a:gd name="connsiteX3509" fmla="*/ 2218589 w 6666359"/>
              <a:gd name="connsiteY3509" fmla="*/ 1290939 h 4343113"/>
              <a:gd name="connsiteX3510" fmla="*/ 2221813 w 6666359"/>
              <a:gd name="connsiteY3510" fmla="*/ 1281265 h 4343113"/>
              <a:gd name="connsiteX3511" fmla="*/ 2228263 w 6666359"/>
              <a:gd name="connsiteY3511" fmla="*/ 1278040 h 4343113"/>
              <a:gd name="connsiteX3512" fmla="*/ 2234711 w 6666359"/>
              <a:gd name="connsiteY3512" fmla="*/ 1284489 h 4343113"/>
              <a:gd name="connsiteX3513" fmla="*/ 2237937 w 6666359"/>
              <a:gd name="connsiteY3513" fmla="*/ 1278040 h 4343113"/>
              <a:gd name="connsiteX3514" fmla="*/ 2241161 w 6666359"/>
              <a:gd name="connsiteY3514" fmla="*/ 1271591 h 4343113"/>
              <a:gd name="connsiteX3515" fmla="*/ 2244386 w 6666359"/>
              <a:gd name="connsiteY3515" fmla="*/ 1255467 h 4343113"/>
              <a:gd name="connsiteX3516" fmla="*/ 2247610 w 6666359"/>
              <a:gd name="connsiteY3516" fmla="*/ 1236119 h 4343113"/>
              <a:gd name="connsiteX3517" fmla="*/ 2254060 w 6666359"/>
              <a:gd name="connsiteY3517" fmla="*/ 1226445 h 4343113"/>
              <a:gd name="connsiteX3518" fmla="*/ 2260510 w 6666359"/>
              <a:gd name="connsiteY3518" fmla="*/ 1210321 h 4343113"/>
              <a:gd name="connsiteX3519" fmla="*/ 2263734 w 6666359"/>
              <a:gd name="connsiteY3519" fmla="*/ 1213546 h 4343113"/>
              <a:gd name="connsiteX3520" fmla="*/ 2260510 w 6666359"/>
              <a:gd name="connsiteY3520" fmla="*/ 1226445 h 4343113"/>
              <a:gd name="connsiteX3521" fmla="*/ 2270184 w 6666359"/>
              <a:gd name="connsiteY3521" fmla="*/ 1226445 h 4343113"/>
              <a:gd name="connsiteX3522" fmla="*/ 2276632 w 6666359"/>
              <a:gd name="connsiteY3522" fmla="*/ 1226445 h 4343113"/>
              <a:gd name="connsiteX3523" fmla="*/ 2276632 w 6666359"/>
              <a:gd name="connsiteY3523" fmla="*/ 1236119 h 4343113"/>
              <a:gd name="connsiteX3524" fmla="*/ 2279857 w 6666359"/>
              <a:gd name="connsiteY3524" fmla="*/ 1245793 h 4343113"/>
              <a:gd name="connsiteX3525" fmla="*/ 2292756 w 6666359"/>
              <a:gd name="connsiteY3525" fmla="*/ 1265141 h 4343113"/>
              <a:gd name="connsiteX3526" fmla="*/ 2299205 w 6666359"/>
              <a:gd name="connsiteY3526" fmla="*/ 1271591 h 4343113"/>
              <a:gd name="connsiteX3527" fmla="*/ 2299205 w 6666359"/>
              <a:gd name="connsiteY3527" fmla="*/ 1281265 h 4343113"/>
              <a:gd name="connsiteX3528" fmla="*/ 2302431 w 6666359"/>
              <a:gd name="connsiteY3528" fmla="*/ 1284489 h 4343113"/>
              <a:gd name="connsiteX3529" fmla="*/ 2308879 w 6666359"/>
              <a:gd name="connsiteY3529" fmla="*/ 1290939 h 4343113"/>
              <a:gd name="connsiteX3530" fmla="*/ 2308879 w 6666359"/>
              <a:gd name="connsiteY3530" fmla="*/ 1297388 h 4343113"/>
              <a:gd name="connsiteX3531" fmla="*/ 2315329 w 6666359"/>
              <a:gd name="connsiteY3531" fmla="*/ 1307062 h 4343113"/>
              <a:gd name="connsiteX3532" fmla="*/ 2321778 w 6666359"/>
              <a:gd name="connsiteY3532" fmla="*/ 1319961 h 4343113"/>
              <a:gd name="connsiteX3533" fmla="*/ 2325003 w 6666359"/>
              <a:gd name="connsiteY3533" fmla="*/ 1323186 h 4343113"/>
              <a:gd name="connsiteX3534" fmla="*/ 2325003 w 6666359"/>
              <a:gd name="connsiteY3534" fmla="*/ 1329635 h 4343113"/>
              <a:gd name="connsiteX3535" fmla="*/ 2328228 w 6666359"/>
              <a:gd name="connsiteY3535" fmla="*/ 1339309 h 4343113"/>
              <a:gd name="connsiteX3536" fmla="*/ 2321778 w 6666359"/>
              <a:gd name="connsiteY3536" fmla="*/ 1342533 h 4343113"/>
              <a:gd name="connsiteX3537" fmla="*/ 2328228 w 6666359"/>
              <a:gd name="connsiteY3537" fmla="*/ 1345759 h 4343113"/>
              <a:gd name="connsiteX3538" fmla="*/ 2334677 w 6666359"/>
              <a:gd name="connsiteY3538" fmla="*/ 1352208 h 4343113"/>
              <a:gd name="connsiteX3539" fmla="*/ 2328228 w 6666359"/>
              <a:gd name="connsiteY3539" fmla="*/ 1361882 h 4343113"/>
              <a:gd name="connsiteX3540" fmla="*/ 2328228 w 6666359"/>
              <a:gd name="connsiteY3540" fmla="*/ 1374780 h 4343113"/>
              <a:gd name="connsiteX3541" fmla="*/ 2328228 w 6666359"/>
              <a:gd name="connsiteY3541" fmla="*/ 1378006 h 4343113"/>
              <a:gd name="connsiteX3542" fmla="*/ 2328228 w 6666359"/>
              <a:gd name="connsiteY3542" fmla="*/ 1381230 h 4343113"/>
              <a:gd name="connsiteX3543" fmla="*/ 2337902 w 6666359"/>
              <a:gd name="connsiteY3543" fmla="*/ 1384455 h 4343113"/>
              <a:gd name="connsiteX3544" fmla="*/ 2341126 w 6666359"/>
              <a:gd name="connsiteY3544" fmla="*/ 1397354 h 4343113"/>
              <a:gd name="connsiteX3545" fmla="*/ 2350800 w 6666359"/>
              <a:gd name="connsiteY3545" fmla="*/ 1397354 h 4343113"/>
              <a:gd name="connsiteX3546" fmla="*/ 2354025 w 6666359"/>
              <a:gd name="connsiteY3546" fmla="*/ 1407027 h 4343113"/>
              <a:gd name="connsiteX3547" fmla="*/ 2357250 w 6666359"/>
              <a:gd name="connsiteY3547" fmla="*/ 1407027 h 4343113"/>
              <a:gd name="connsiteX3548" fmla="*/ 2360475 w 6666359"/>
              <a:gd name="connsiteY3548" fmla="*/ 1410253 h 4343113"/>
              <a:gd name="connsiteX3549" fmla="*/ 2363699 w 6666359"/>
              <a:gd name="connsiteY3549" fmla="*/ 1416701 h 4343113"/>
              <a:gd name="connsiteX3550" fmla="*/ 2370149 w 6666359"/>
              <a:gd name="connsiteY3550" fmla="*/ 1419927 h 4343113"/>
              <a:gd name="connsiteX3551" fmla="*/ 2373373 w 6666359"/>
              <a:gd name="connsiteY3551" fmla="*/ 1423151 h 4343113"/>
              <a:gd name="connsiteX3552" fmla="*/ 2379823 w 6666359"/>
              <a:gd name="connsiteY3552" fmla="*/ 1423151 h 4343113"/>
              <a:gd name="connsiteX3553" fmla="*/ 2389497 w 6666359"/>
              <a:gd name="connsiteY3553" fmla="*/ 1426376 h 4343113"/>
              <a:gd name="connsiteX3554" fmla="*/ 2392722 w 6666359"/>
              <a:gd name="connsiteY3554" fmla="*/ 1436050 h 4343113"/>
              <a:gd name="connsiteX3555" fmla="*/ 2395946 w 6666359"/>
              <a:gd name="connsiteY3555" fmla="*/ 1439274 h 4343113"/>
              <a:gd name="connsiteX3556" fmla="*/ 2412070 w 6666359"/>
              <a:gd name="connsiteY3556" fmla="*/ 1442500 h 4343113"/>
              <a:gd name="connsiteX3557" fmla="*/ 2421744 w 6666359"/>
              <a:gd name="connsiteY3557" fmla="*/ 1445724 h 4343113"/>
              <a:gd name="connsiteX3558" fmla="*/ 2424968 w 6666359"/>
              <a:gd name="connsiteY3558" fmla="*/ 1448948 h 4343113"/>
              <a:gd name="connsiteX3559" fmla="*/ 2424968 w 6666359"/>
              <a:gd name="connsiteY3559" fmla="*/ 1461848 h 4343113"/>
              <a:gd name="connsiteX3560" fmla="*/ 2428193 w 6666359"/>
              <a:gd name="connsiteY3560" fmla="*/ 1471522 h 4343113"/>
              <a:gd name="connsiteX3561" fmla="*/ 2431418 w 6666359"/>
              <a:gd name="connsiteY3561" fmla="*/ 1477971 h 4343113"/>
              <a:gd name="connsiteX3562" fmla="*/ 2437867 w 6666359"/>
              <a:gd name="connsiteY3562" fmla="*/ 1477971 h 4343113"/>
              <a:gd name="connsiteX3563" fmla="*/ 2450767 w 6666359"/>
              <a:gd name="connsiteY3563" fmla="*/ 1484421 h 4343113"/>
              <a:gd name="connsiteX3564" fmla="*/ 2457215 w 6666359"/>
              <a:gd name="connsiteY3564" fmla="*/ 1487645 h 4343113"/>
              <a:gd name="connsiteX3565" fmla="*/ 2457215 w 6666359"/>
              <a:gd name="connsiteY3565" fmla="*/ 1500544 h 4343113"/>
              <a:gd name="connsiteX3566" fmla="*/ 2460440 w 6666359"/>
              <a:gd name="connsiteY3566" fmla="*/ 1519892 h 4343113"/>
              <a:gd name="connsiteX3567" fmla="*/ 2460440 w 6666359"/>
              <a:gd name="connsiteY3567" fmla="*/ 1539240 h 4343113"/>
              <a:gd name="connsiteX3568" fmla="*/ 2450767 w 6666359"/>
              <a:gd name="connsiteY3568" fmla="*/ 1545689 h 4343113"/>
              <a:gd name="connsiteX3569" fmla="*/ 2437867 w 6666359"/>
              <a:gd name="connsiteY3569" fmla="*/ 1558589 h 4343113"/>
              <a:gd name="connsiteX3570" fmla="*/ 2431418 w 6666359"/>
              <a:gd name="connsiteY3570" fmla="*/ 1561813 h 4343113"/>
              <a:gd name="connsiteX3571" fmla="*/ 2428193 w 6666359"/>
              <a:gd name="connsiteY3571" fmla="*/ 1558589 h 4343113"/>
              <a:gd name="connsiteX3572" fmla="*/ 2412070 w 6666359"/>
              <a:gd name="connsiteY3572" fmla="*/ 1561813 h 4343113"/>
              <a:gd name="connsiteX3573" fmla="*/ 2402396 w 6666359"/>
              <a:gd name="connsiteY3573" fmla="*/ 1568263 h 4343113"/>
              <a:gd name="connsiteX3574" fmla="*/ 2395946 w 6666359"/>
              <a:gd name="connsiteY3574" fmla="*/ 1571487 h 4343113"/>
              <a:gd name="connsiteX3575" fmla="*/ 2392722 w 6666359"/>
              <a:gd name="connsiteY3575" fmla="*/ 1577937 h 4343113"/>
              <a:gd name="connsiteX3576" fmla="*/ 2379823 w 6666359"/>
              <a:gd name="connsiteY3576" fmla="*/ 1587611 h 4343113"/>
              <a:gd name="connsiteX3577" fmla="*/ 2370149 w 6666359"/>
              <a:gd name="connsiteY3577" fmla="*/ 1600511 h 4343113"/>
              <a:gd name="connsiteX3578" fmla="*/ 2341126 w 6666359"/>
              <a:gd name="connsiteY3578" fmla="*/ 1603735 h 4343113"/>
              <a:gd name="connsiteX3579" fmla="*/ 2328228 w 6666359"/>
              <a:gd name="connsiteY3579" fmla="*/ 1603735 h 4343113"/>
              <a:gd name="connsiteX3580" fmla="*/ 2315329 w 6666359"/>
              <a:gd name="connsiteY3580" fmla="*/ 1603735 h 4343113"/>
              <a:gd name="connsiteX3581" fmla="*/ 2286307 w 6666359"/>
              <a:gd name="connsiteY3581" fmla="*/ 1600511 h 4343113"/>
              <a:gd name="connsiteX3582" fmla="*/ 2273408 w 6666359"/>
              <a:gd name="connsiteY3582" fmla="*/ 1600511 h 4343113"/>
              <a:gd name="connsiteX3583" fmla="*/ 2270184 w 6666359"/>
              <a:gd name="connsiteY3583" fmla="*/ 1600511 h 4343113"/>
              <a:gd name="connsiteX3584" fmla="*/ 2263734 w 6666359"/>
              <a:gd name="connsiteY3584" fmla="*/ 1600511 h 4343113"/>
              <a:gd name="connsiteX3585" fmla="*/ 2250835 w 6666359"/>
              <a:gd name="connsiteY3585" fmla="*/ 1600511 h 4343113"/>
              <a:gd name="connsiteX3586" fmla="*/ 2237937 w 6666359"/>
              <a:gd name="connsiteY3586" fmla="*/ 1603735 h 4343113"/>
              <a:gd name="connsiteX3587" fmla="*/ 2225037 w 6666359"/>
              <a:gd name="connsiteY3587" fmla="*/ 1606959 h 4343113"/>
              <a:gd name="connsiteX3588" fmla="*/ 2218589 w 6666359"/>
              <a:gd name="connsiteY3588" fmla="*/ 1606959 h 4343113"/>
              <a:gd name="connsiteX3589" fmla="*/ 2215363 w 6666359"/>
              <a:gd name="connsiteY3589" fmla="*/ 1613409 h 4343113"/>
              <a:gd name="connsiteX3590" fmla="*/ 2208914 w 6666359"/>
              <a:gd name="connsiteY3590" fmla="*/ 1616634 h 4343113"/>
              <a:gd name="connsiteX3591" fmla="*/ 2208914 w 6666359"/>
              <a:gd name="connsiteY3591" fmla="*/ 1626308 h 4343113"/>
              <a:gd name="connsiteX3592" fmla="*/ 2202465 w 6666359"/>
              <a:gd name="connsiteY3592" fmla="*/ 1632758 h 4343113"/>
              <a:gd name="connsiteX3593" fmla="*/ 2196016 w 6666359"/>
              <a:gd name="connsiteY3593" fmla="*/ 1635982 h 4343113"/>
              <a:gd name="connsiteX3594" fmla="*/ 2183116 w 6666359"/>
              <a:gd name="connsiteY3594" fmla="*/ 1639206 h 4343113"/>
              <a:gd name="connsiteX3595" fmla="*/ 2179892 w 6666359"/>
              <a:gd name="connsiteY3595" fmla="*/ 1642432 h 4343113"/>
              <a:gd name="connsiteX3596" fmla="*/ 2170218 w 6666359"/>
              <a:gd name="connsiteY3596" fmla="*/ 1652106 h 4343113"/>
              <a:gd name="connsiteX3597" fmla="*/ 2163769 w 6666359"/>
              <a:gd name="connsiteY3597" fmla="*/ 1658555 h 4343113"/>
              <a:gd name="connsiteX3598" fmla="*/ 2160543 w 6666359"/>
              <a:gd name="connsiteY3598" fmla="*/ 1668229 h 4343113"/>
              <a:gd name="connsiteX3599" fmla="*/ 2154095 w 6666359"/>
              <a:gd name="connsiteY3599" fmla="*/ 1671453 h 4343113"/>
              <a:gd name="connsiteX3600" fmla="*/ 2150869 w 6666359"/>
              <a:gd name="connsiteY3600" fmla="*/ 1681127 h 4343113"/>
              <a:gd name="connsiteX3601" fmla="*/ 2147645 w 6666359"/>
              <a:gd name="connsiteY3601" fmla="*/ 1687577 h 4343113"/>
              <a:gd name="connsiteX3602" fmla="*/ 2134746 w 6666359"/>
              <a:gd name="connsiteY3602" fmla="*/ 1700476 h 4343113"/>
              <a:gd name="connsiteX3603" fmla="*/ 2118622 w 6666359"/>
              <a:gd name="connsiteY3603" fmla="*/ 1716600 h 4343113"/>
              <a:gd name="connsiteX3604" fmla="*/ 2131521 w 6666359"/>
              <a:gd name="connsiteY3604" fmla="*/ 1710150 h 4343113"/>
              <a:gd name="connsiteX3605" fmla="*/ 2141195 w 6666359"/>
              <a:gd name="connsiteY3605" fmla="*/ 1703700 h 4343113"/>
              <a:gd name="connsiteX3606" fmla="*/ 2150869 w 6666359"/>
              <a:gd name="connsiteY3606" fmla="*/ 1690802 h 4343113"/>
              <a:gd name="connsiteX3607" fmla="*/ 2160543 w 6666359"/>
              <a:gd name="connsiteY3607" fmla="*/ 1677903 h 4343113"/>
              <a:gd name="connsiteX3608" fmla="*/ 2179892 w 6666359"/>
              <a:gd name="connsiteY3608" fmla="*/ 1661779 h 4343113"/>
              <a:gd name="connsiteX3609" fmla="*/ 2196016 w 6666359"/>
              <a:gd name="connsiteY3609" fmla="*/ 1652106 h 4343113"/>
              <a:gd name="connsiteX3610" fmla="*/ 2208914 w 6666359"/>
              <a:gd name="connsiteY3610" fmla="*/ 1645656 h 4343113"/>
              <a:gd name="connsiteX3611" fmla="*/ 2260510 w 6666359"/>
              <a:gd name="connsiteY3611" fmla="*/ 1639206 h 4343113"/>
              <a:gd name="connsiteX3612" fmla="*/ 2273408 w 6666359"/>
              <a:gd name="connsiteY3612" fmla="*/ 1661779 h 4343113"/>
              <a:gd name="connsiteX3613" fmla="*/ 2270184 w 6666359"/>
              <a:gd name="connsiteY3613" fmla="*/ 1665004 h 4343113"/>
              <a:gd name="connsiteX3614" fmla="*/ 2260510 w 6666359"/>
              <a:gd name="connsiteY3614" fmla="*/ 1671453 h 4343113"/>
              <a:gd name="connsiteX3615" fmla="*/ 2250835 w 6666359"/>
              <a:gd name="connsiteY3615" fmla="*/ 1677903 h 4343113"/>
              <a:gd name="connsiteX3616" fmla="*/ 2237937 w 6666359"/>
              <a:gd name="connsiteY3616" fmla="*/ 1671453 h 4343113"/>
              <a:gd name="connsiteX3617" fmla="*/ 2237937 w 6666359"/>
              <a:gd name="connsiteY3617" fmla="*/ 1681127 h 4343113"/>
              <a:gd name="connsiteX3618" fmla="*/ 2241161 w 6666359"/>
              <a:gd name="connsiteY3618" fmla="*/ 1681127 h 4343113"/>
              <a:gd name="connsiteX3619" fmla="*/ 2244386 w 6666359"/>
              <a:gd name="connsiteY3619" fmla="*/ 1690802 h 4343113"/>
              <a:gd name="connsiteX3620" fmla="*/ 2250835 w 6666359"/>
              <a:gd name="connsiteY3620" fmla="*/ 1684353 h 4343113"/>
              <a:gd name="connsiteX3621" fmla="*/ 2260510 w 6666359"/>
              <a:gd name="connsiteY3621" fmla="*/ 1684353 h 4343113"/>
              <a:gd name="connsiteX3622" fmla="*/ 2260510 w 6666359"/>
              <a:gd name="connsiteY3622" fmla="*/ 1694027 h 4343113"/>
              <a:gd name="connsiteX3623" fmla="*/ 2257284 w 6666359"/>
              <a:gd name="connsiteY3623" fmla="*/ 1706926 h 4343113"/>
              <a:gd name="connsiteX3624" fmla="*/ 2260510 w 6666359"/>
              <a:gd name="connsiteY3624" fmla="*/ 1710150 h 4343113"/>
              <a:gd name="connsiteX3625" fmla="*/ 2260510 w 6666359"/>
              <a:gd name="connsiteY3625" fmla="*/ 1713374 h 4343113"/>
              <a:gd name="connsiteX3626" fmla="*/ 2263734 w 6666359"/>
              <a:gd name="connsiteY3626" fmla="*/ 1726274 h 4343113"/>
              <a:gd name="connsiteX3627" fmla="*/ 2270184 w 6666359"/>
              <a:gd name="connsiteY3627" fmla="*/ 1732723 h 4343113"/>
              <a:gd name="connsiteX3628" fmla="*/ 2276632 w 6666359"/>
              <a:gd name="connsiteY3628" fmla="*/ 1735947 h 4343113"/>
              <a:gd name="connsiteX3629" fmla="*/ 2283082 w 6666359"/>
              <a:gd name="connsiteY3629" fmla="*/ 1739172 h 4343113"/>
              <a:gd name="connsiteX3630" fmla="*/ 2279857 w 6666359"/>
              <a:gd name="connsiteY3630" fmla="*/ 1742397 h 4343113"/>
              <a:gd name="connsiteX3631" fmla="*/ 2299205 w 6666359"/>
              <a:gd name="connsiteY3631" fmla="*/ 1748847 h 4343113"/>
              <a:gd name="connsiteX3632" fmla="*/ 2308879 w 6666359"/>
              <a:gd name="connsiteY3632" fmla="*/ 1752071 h 4343113"/>
              <a:gd name="connsiteX3633" fmla="*/ 2321778 w 6666359"/>
              <a:gd name="connsiteY3633" fmla="*/ 1748847 h 4343113"/>
              <a:gd name="connsiteX3634" fmla="*/ 2341126 w 6666359"/>
              <a:gd name="connsiteY3634" fmla="*/ 1758521 h 4343113"/>
              <a:gd name="connsiteX3635" fmla="*/ 2344352 w 6666359"/>
              <a:gd name="connsiteY3635" fmla="*/ 1764970 h 4343113"/>
              <a:gd name="connsiteX3636" fmla="*/ 2337902 w 6666359"/>
              <a:gd name="connsiteY3636" fmla="*/ 1768194 h 4343113"/>
              <a:gd name="connsiteX3637" fmla="*/ 2331452 w 6666359"/>
              <a:gd name="connsiteY3637" fmla="*/ 1768194 h 4343113"/>
              <a:gd name="connsiteX3638" fmla="*/ 2328228 w 6666359"/>
              <a:gd name="connsiteY3638" fmla="*/ 1771419 h 4343113"/>
              <a:gd name="connsiteX3639" fmla="*/ 2321778 w 6666359"/>
              <a:gd name="connsiteY3639" fmla="*/ 1774644 h 4343113"/>
              <a:gd name="connsiteX3640" fmla="*/ 2308879 w 6666359"/>
              <a:gd name="connsiteY3640" fmla="*/ 1777868 h 4343113"/>
              <a:gd name="connsiteX3641" fmla="*/ 2295981 w 6666359"/>
              <a:gd name="connsiteY3641" fmla="*/ 1784318 h 4343113"/>
              <a:gd name="connsiteX3642" fmla="*/ 2292756 w 6666359"/>
              <a:gd name="connsiteY3642" fmla="*/ 1784318 h 4343113"/>
              <a:gd name="connsiteX3643" fmla="*/ 2289531 w 6666359"/>
              <a:gd name="connsiteY3643" fmla="*/ 1787542 h 4343113"/>
              <a:gd name="connsiteX3644" fmla="*/ 2276632 w 6666359"/>
              <a:gd name="connsiteY3644" fmla="*/ 1787542 h 4343113"/>
              <a:gd name="connsiteX3645" fmla="*/ 2273408 w 6666359"/>
              <a:gd name="connsiteY3645" fmla="*/ 1787542 h 4343113"/>
              <a:gd name="connsiteX3646" fmla="*/ 2270184 w 6666359"/>
              <a:gd name="connsiteY3646" fmla="*/ 1793992 h 4343113"/>
              <a:gd name="connsiteX3647" fmla="*/ 2260510 w 6666359"/>
              <a:gd name="connsiteY3647" fmla="*/ 1806891 h 4343113"/>
              <a:gd name="connsiteX3648" fmla="*/ 2257284 w 6666359"/>
              <a:gd name="connsiteY3648" fmla="*/ 1813340 h 4343113"/>
              <a:gd name="connsiteX3649" fmla="*/ 2250835 w 6666359"/>
              <a:gd name="connsiteY3649" fmla="*/ 1813340 h 4343113"/>
              <a:gd name="connsiteX3650" fmla="*/ 2247610 w 6666359"/>
              <a:gd name="connsiteY3650" fmla="*/ 1819789 h 4343113"/>
              <a:gd name="connsiteX3651" fmla="*/ 2241161 w 6666359"/>
              <a:gd name="connsiteY3651" fmla="*/ 1816565 h 4343113"/>
              <a:gd name="connsiteX3652" fmla="*/ 2237937 w 6666359"/>
              <a:gd name="connsiteY3652" fmla="*/ 1810115 h 4343113"/>
              <a:gd name="connsiteX3653" fmla="*/ 2234711 w 6666359"/>
              <a:gd name="connsiteY3653" fmla="*/ 1813340 h 4343113"/>
              <a:gd name="connsiteX3654" fmla="*/ 2231487 w 6666359"/>
              <a:gd name="connsiteY3654" fmla="*/ 1806891 h 4343113"/>
              <a:gd name="connsiteX3655" fmla="*/ 2231487 w 6666359"/>
              <a:gd name="connsiteY3655" fmla="*/ 1790768 h 4343113"/>
              <a:gd name="connsiteX3656" fmla="*/ 2244386 w 6666359"/>
              <a:gd name="connsiteY3656" fmla="*/ 1781094 h 4343113"/>
              <a:gd name="connsiteX3657" fmla="*/ 2266958 w 6666359"/>
              <a:gd name="connsiteY3657" fmla="*/ 1764970 h 4343113"/>
              <a:gd name="connsiteX3658" fmla="*/ 2279857 w 6666359"/>
              <a:gd name="connsiteY3658" fmla="*/ 1764970 h 4343113"/>
              <a:gd name="connsiteX3659" fmla="*/ 2292756 w 6666359"/>
              <a:gd name="connsiteY3659" fmla="*/ 1761745 h 4343113"/>
              <a:gd name="connsiteX3660" fmla="*/ 2286307 w 6666359"/>
              <a:gd name="connsiteY3660" fmla="*/ 1761745 h 4343113"/>
              <a:gd name="connsiteX3661" fmla="*/ 2279857 w 6666359"/>
              <a:gd name="connsiteY3661" fmla="*/ 1761745 h 4343113"/>
              <a:gd name="connsiteX3662" fmla="*/ 2266958 w 6666359"/>
              <a:gd name="connsiteY3662" fmla="*/ 1761745 h 4343113"/>
              <a:gd name="connsiteX3663" fmla="*/ 2257284 w 6666359"/>
              <a:gd name="connsiteY3663" fmla="*/ 1761745 h 4343113"/>
              <a:gd name="connsiteX3664" fmla="*/ 2263734 w 6666359"/>
              <a:gd name="connsiteY3664" fmla="*/ 1755295 h 4343113"/>
              <a:gd name="connsiteX3665" fmla="*/ 2273408 w 6666359"/>
              <a:gd name="connsiteY3665" fmla="*/ 1745621 h 4343113"/>
              <a:gd name="connsiteX3666" fmla="*/ 2266958 w 6666359"/>
              <a:gd name="connsiteY3666" fmla="*/ 1745621 h 4343113"/>
              <a:gd name="connsiteX3667" fmla="*/ 2260510 w 6666359"/>
              <a:gd name="connsiteY3667" fmla="*/ 1755295 h 4343113"/>
              <a:gd name="connsiteX3668" fmla="*/ 2237937 w 6666359"/>
              <a:gd name="connsiteY3668" fmla="*/ 1764970 h 4343113"/>
              <a:gd name="connsiteX3669" fmla="*/ 2234711 w 6666359"/>
              <a:gd name="connsiteY3669" fmla="*/ 1764970 h 4343113"/>
              <a:gd name="connsiteX3670" fmla="*/ 2225037 w 6666359"/>
              <a:gd name="connsiteY3670" fmla="*/ 1771419 h 4343113"/>
              <a:gd name="connsiteX3671" fmla="*/ 2215363 w 6666359"/>
              <a:gd name="connsiteY3671" fmla="*/ 1771419 h 4343113"/>
              <a:gd name="connsiteX3672" fmla="*/ 2212139 w 6666359"/>
              <a:gd name="connsiteY3672" fmla="*/ 1768194 h 4343113"/>
              <a:gd name="connsiteX3673" fmla="*/ 2208914 w 6666359"/>
              <a:gd name="connsiteY3673" fmla="*/ 1768194 h 4343113"/>
              <a:gd name="connsiteX3674" fmla="*/ 2215363 w 6666359"/>
              <a:gd name="connsiteY3674" fmla="*/ 1777868 h 4343113"/>
              <a:gd name="connsiteX3675" fmla="*/ 2208914 w 6666359"/>
              <a:gd name="connsiteY3675" fmla="*/ 1784318 h 4343113"/>
              <a:gd name="connsiteX3676" fmla="*/ 2196016 w 6666359"/>
              <a:gd name="connsiteY3676" fmla="*/ 1787542 h 4343113"/>
              <a:gd name="connsiteX3677" fmla="*/ 2189566 w 6666359"/>
              <a:gd name="connsiteY3677" fmla="*/ 1793992 h 4343113"/>
              <a:gd name="connsiteX3678" fmla="*/ 2186342 w 6666359"/>
              <a:gd name="connsiteY3678" fmla="*/ 1787542 h 4343113"/>
              <a:gd name="connsiteX3679" fmla="*/ 2170218 w 6666359"/>
              <a:gd name="connsiteY3679" fmla="*/ 1800442 h 4343113"/>
              <a:gd name="connsiteX3680" fmla="*/ 2163769 w 6666359"/>
              <a:gd name="connsiteY3680" fmla="*/ 1806891 h 4343113"/>
              <a:gd name="connsiteX3681" fmla="*/ 2154095 w 6666359"/>
              <a:gd name="connsiteY3681" fmla="*/ 1810115 h 4343113"/>
              <a:gd name="connsiteX3682" fmla="*/ 2150869 w 6666359"/>
              <a:gd name="connsiteY3682" fmla="*/ 1813340 h 4343113"/>
              <a:gd name="connsiteX3683" fmla="*/ 2147645 w 6666359"/>
              <a:gd name="connsiteY3683" fmla="*/ 1810115 h 4343113"/>
              <a:gd name="connsiteX3684" fmla="*/ 2141195 w 6666359"/>
              <a:gd name="connsiteY3684" fmla="*/ 1823015 h 4343113"/>
              <a:gd name="connsiteX3685" fmla="*/ 2131521 w 6666359"/>
              <a:gd name="connsiteY3685" fmla="*/ 1829463 h 4343113"/>
              <a:gd name="connsiteX3686" fmla="*/ 2131521 w 6666359"/>
              <a:gd name="connsiteY3686" fmla="*/ 1832689 h 4343113"/>
              <a:gd name="connsiteX3687" fmla="*/ 2128297 w 6666359"/>
              <a:gd name="connsiteY3687" fmla="*/ 1839138 h 4343113"/>
              <a:gd name="connsiteX3688" fmla="*/ 2134746 w 6666359"/>
              <a:gd name="connsiteY3688" fmla="*/ 1845587 h 4343113"/>
              <a:gd name="connsiteX3689" fmla="*/ 2128297 w 6666359"/>
              <a:gd name="connsiteY3689" fmla="*/ 1848812 h 4343113"/>
              <a:gd name="connsiteX3690" fmla="*/ 2125072 w 6666359"/>
              <a:gd name="connsiteY3690" fmla="*/ 1855261 h 4343113"/>
              <a:gd name="connsiteX3691" fmla="*/ 2131521 w 6666359"/>
              <a:gd name="connsiteY3691" fmla="*/ 1863323 h 4343113"/>
              <a:gd name="connsiteX3692" fmla="*/ 2144421 w 6666359"/>
              <a:gd name="connsiteY3692" fmla="*/ 1869773 h 4343113"/>
              <a:gd name="connsiteX3693" fmla="*/ 2144421 w 6666359"/>
              <a:gd name="connsiteY3693" fmla="*/ 1860099 h 4343113"/>
              <a:gd name="connsiteX3694" fmla="*/ 2147645 w 6666359"/>
              <a:gd name="connsiteY3694" fmla="*/ 1860099 h 4343113"/>
              <a:gd name="connsiteX3695" fmla="*/ 2147645 w 6666359"/>
              <a:gd name="connsiteY3695" fmla="*/ 1869773 h 4343113"/>
              <a:gd name="connsiteX3696" fmla="*/ 2144421 w 6666359"/>
              <a:gd name="connsiteY3696" fmla="*/ 1872998 h 4343113"/>
              <a:gd name="connsiteX3697" fmla="*/ 2137971 w 6666359"/>
              <a:gd name="connsiteY3697" fmla="*/ 1872998 h 4343113"/>
              <a:gd name="connsiteX3698" fmla="*/ 2131521 w 6666359"/>
              <a:gd name="connsiteY3698" fmla="*/ 1872998 h 4343113"/>
              <a:gd name="connsiteX3699" fmla="*/ 2131521 w 6666359"/>
              <a:gd name="connsiteY3699" fmla="*/ 1869773 h 4343113"/>
              <a:gd name="connsiteX3700" fmla="*/ 2128297 w 6666359"/>
              <a:gd name="connsiteY3700" fmla="*/ 1872998 h 4343113"/>
              <a:gd name="connsiteX3701" fmla="*/ 2125072 w 6666359"/>
              <a:gd name="connsiteY3701" fmla="*/ 1876222 h 4343113"/>
              <a:gd name="connsiteX3702" fmla="*/ 2118622 w 6666359"/>
              <a:gd name="connsiteY3702" fmla="*/ 1869773 h 4343113"/>
              <a:gd name="connsiteX3703" fmla="*/ 2115398 w 6666359"/>
              <a:gd name="connsiteY3703" fmla="*/ 1876222 h 4343113"/>
              <a:gd name="connsiteX3704" fmla="*/ 2112174 w 6666359"/>
              <a:gd name="connsiteY3704" fmla="*/ 1879446 h 4343113"/>
              <a:gd name="connsiteX3705" fmla="*/ 2096050 w 6666359"/>
              <a:gd name="connsiteY3705" fmla="*/ 1879446 h 4343113"/>
              <a:gd name="connsiteX3706" fmla="*/ 2086376 w 6666359"/>
              <a:gd name="connsiteY3706" fmla="*/ 1882672 h 4343113"/>
              <a:gd name="connsiteX3707" fmla="*/ 2073477 w 6666359"/>
              <a:gd name="connsiteY3707" fmla="*/ 1889121 h 4343113"/>
              <a:gd name="connsiteX3708" fmla="*/ 2067027 w 6666359"/>
              <a:gd name="connsiteY3708" fmla="*/ 1889121 h 4343113"/>
              <a:gd name="connsiteX3709" fmla="*/ 2064448 w 6666359"/>
              <a:gd name="connsiteY3709" fmla="*/ 1894280 h 4343113"/>
              <a:gd name="connsiteX3710" fmla="*/ 2070253 w 6666359"/>
              <a:gd name="connsiteY3710" fmla="*/ 1892346 h 4343113"/>
              <a:gd name="connsiteX3711" fmla="*/ 2076701 w 6666359"/>
              <a:gd name="connsiteY3711" fmla="*/ 1892346 h 4343113"/>
              <a:gd name="connsiteX3712" fmla="*/ 2086376 w 6666359"/>
              <a:gd name="connsiteY3712" fmla="*/ 1892346 h 4343113"/>
              <a:gd name="connsiteX3713" fmla="*/ 2099274 w 6666359"/>
              <a:gd name="connsiteY3713" fmla="*/ 1885896 h 4343113"/>
              <a:gd name="connsiteX3714" fmla="*/ 2105724 w 6666359"/>
              <a:gd name="connsiteY3714" fmla="*/ 1889121 h 4343113"/>
              <a:gd name="connsiteX3715" fmla="*/ 2089601 w 6666359"/>
              <a:gd name="connsiteY3715" fmla="*/ 1895570 h 4343113"/>
              <a:gd name="connsiteX3716" fmla="*/ 2083151 w 6666359"/>
              <a:gd name="connsiteY3716" fmla="*/ 1898795 h 4343113"/>
              <a:gd name="connsiteX3717" fmla="*/ 2070253 w 6666359"/>
              <a:gd name="connsiteY3717" fmla="*/ 1902020 h 4343113"/>
              <a:gd name="connsiteX3718" fmla="*/ 2060578 w 6666359"/>
              <a:gd name="connsiteY3718" fmla="*/ 1902020 h 4343113"/>
              <a:gd name="connsiteX3719" fmla="*/ 2060578 w 6666359"/>
              <a:gd name="connsiteY3719" fmla="*/ 1898795 h 4343113"/>
              <a:gd name="connsiteX3720" fmla="*/ 2054129 w 6666359"/>
              <a:gd name="connsiteY3720" fmla="*/ 1905245 h 4343113"/>
              <a:gd name="connsiteX3721" fmla="*/ 2060578 w 6666359"/>
              <a:gd name="connsiteY3721" fmla="*/ 1911693 h 4343113"/>
              <a:gd name="connsiteX3722" fmla="*/ 2057354 w 6666359"/>
              <a:gd name="connsiteY3722" fmla="*/ 1927817 h 4343113"/>
              <a:gd name="connsiteX3723" fmla="*/ 2047680 w 6666359"/>
              <a:gd name="connsiteY3723" fmla="*/ 1937491 h 4343113"/>
              <a:gd name="connsiteX3724" fmla="*/ 2041230 w 6666359"/>
              <a:gd name="connsiteY3724" fmla="*/ 1950390 h 4343113"/>
              <a:gd name="connsiteX3725" fmla="*/ 2041230 w 6666359"/>
              <a:gd name="connsiteY3725" fmla="*/ 1943941 h 4343113"/>
              <a:gd name="connsiteX3726" fmla="*/ 2031556 w 6666359"/>
              <a:gd name="connsiteY3726" fmla="*/ 1937491 h 4343113"/>
              <a:gd name="connsiteX3727" fmla="*/ 2028332 w 6666359"/>
              <a:gd name="connsiteY3727" fmla="*/ 1940716 h 4343113"/>
              <a:gd name="connsiteX3728" fmla="*/ 2031556 w 6666359"/>
              <a:gd name="connsiteY3728" fmla="*/ 1947166 h 4343113"/>
              <a:gd name="connsiteX3729" fmla="*/ 2038006 w 6666359"/>
              <a:gd name="connsiteY3729" fmla="*/ 1963289 h 4343113"/>
              <a:gd name="connsiteX3730" fmla="*/ 2031556 w 6666359"/>
              <a:gd name="connsiteY3730" fmla="*/ 1976188 h 4343113"/>
              <a:gd name="connsiteX3731" fmla="*/ 2025107 w 6666359"/>
              <a:gd name="connsiteY3731" fmla="*/ 1989087 h 4343113"/>
              <a:gd name="connsiteX3732" fmla="*/ 2018657 w 6666359"/>
              <a:gd name="connsiteY3732" fmla="*/ 1998761 h 4343113"/>
              <a:gd name="connsiteX3733" fmla="*/ 2015433 w 6666359"/>
              <a:gd name="connsiteY3733" fmla="*/ 1995535 h 4343113"/>
              <a:gd name="connsiteX3734" fmla="*/ 2018657 w 6666359"/>
              <a:gd name="connsiteY3734" fmla="*/ 1989087 h 4343113"/>
              <a:gd name="connsiteX3735" fmla="*/ 2021882 w 6666359"/>
              <a:gd name="connsiteY3735" fmla="*/ 1979413 h 4343113"/>
              <a:gd name="connsiteX3736" fmla="*/ 2021882 w 6666359"/>
              <a:gd name="connsiteY3736" fmla="*/ 1972963 h 4343113"/>
              <a:gd name="connsiteX3737" fmla="*/ 2015433 w 6666359"/>
              <a:gd name="connsiteY3737" fmla="*/ 1966514 h 4343113"/>
              <a:gd name="connsiteX3738" fmla="*/ 2012208 w 6666359"/>
              <a:gd name="connsiteY3738" fmla="*/ 1963289 h 4343113"/>
              <a:gd name="connsiteX3739" fmla="*/ 2012208 w 6666359"/>
              <a:gd name="connsiteY3739" fmla="*/ 1960064 h 4343113"/>
              <a:gd name="connsiteX3740" fmla="*/ 2008983 w 6666359"/>
              <a:gd name="connsiteY3740" fmla="*/ 1947166 h 4343113"/>
              <a:gd name="connsiteX3741" fmla="*/ 2012208 w 6666359"/>
              <a:gd name="connsiteY3741" fmla="*/ 1937491 h 4343113"/>
              <a:gd name="connsiteX3742" fmla="*/ 2015433 w 6666359"/>
              <a:gd name="connsiteY3742" fmla="*/ 1937491 h 4343113"/>
              <a:gd name="connsiteX3743" fmla="*/ 2015433 w 6666359"/>
              <a:gd name="connsiteY3743" fmla="*/ 1931042 h 4343113"/>
              <a:gd name="connsiteX3744" fmla="*/ 2008983 w 6666359"/>
              <a:gd name="connsiteY3744" fmla="*/ 1937491 h 4343113"/>
              <a:gd name="connsiteX3745" fmla="*/ 2005759 w 6666359"/>
              <a:gd name="connsiteY3745" fmla="*/ 1943941 h 4343113"/>
              <a:gd name="connsiteX3746" fmla="*/ 2005759 w 6666359"/>
              <a:gd name="connsiteY3746" fmla="*/ 1956840 h 4343113"/>
              <a:gd name="connsiteX3747" fmla="*/ 2002533 w 6666359"/>
              <a:gd name="connsiteY3747" fmla="*/ 1960064 h 4343113"/>
              <a:gd name="connsiteX3748" fmla="*/ 2008983 w 6666359"/>
              <a:gd name="connsiteY3748" fmla="*/ 1972963 h 4343113"/>
              <a:gd name="connsiteX3749" fmla="*/ 2008983 w 6666359"/>
              <a:gd name="connsiteY3749" fmla="*/ 1979413 h 4343113"/>
              <a:gd name="connsiteX3750" fmla="*/ 2005759 w 6666359"/>
              <a:gd name="connsiteY3750" fmla="*/ 1985861 h 4343113"/>
              <a:gd name="connsiteX3751" fmla="*/ 2008983 w 6666359"/>
              <a:gd name="connsiteY3751" fmla="*/ 1998761 h 4343113"/>
              <a:gd name="connsiteX3752" fmla="*/ 2008983 w 6666359"/>
              <a:gd name="connsiteY3752" fmla="*/ 2005210 h 4343113"/>
              <a:gd name="connsiteX3753" fmla="*/ 2015433 w 6666359"/>
              <a:gd name="connsiteY3753" fmla="*/ 2005210 h 4343113"/>
              <a:gd name="connsiteX3754" fmla="*/ 2018657 w 6666359"/>
              <a:gd name="connsiteY3754" fmla="*/ 2018108 h 4343113"/>
              <a:gd name="connsiteX3755" fmla="*/ 2025107 w 6666359"/>
              <a:gd name="connsiteY3755" fmla="*/ 2034232 h 4343113"/>
              <a:gd name="connsiteX3756" fmla="*/ 2018657 w 6666359"/>
              <a:gd name="connsiteY3756" fmla="*/ 2031008 h 4343113"/>
              <a:gd name="connsiteX3757" fmla="*/ 2012208 w 6666359"/>
              <a:gd name="connsiteY3757" fmla="*/ 2027782 h 4343113"/>
              <a:gd name="connsiteX3758" fmla="*/ 1999309 w 6666359"/>
              <a:gd name="connsiteY3758" fmla="*/ 2031008 h 4343113"/>
              <a:gd name="connsiteX3759" fmla="*/ 2012208 w 6666359"/>
              <a:gd name="connsiteY3759" fmla="*/ 2034232 h 4343113"/>
              <a:gd name="connsiteX3760" fmla="*/ 2018657 w 6666359"/>
              <a:gd name="connsiteY3760" fmla="*/ 2031008 h 4343113"/>
              <a:gd name="connsiteX3761" fmla="*/ 2021882 w 6666359"/>
              <a:gd name="connsiteY3761" fmla="*/ 2034232 h 4343113"/>
              <a:gd name="connsiteX3762" fmla="*/ 2018657 w 6666359"/>
              <a:gd name="connsiteY3762" fmla="*/ 2043906 h 4343113"/>
              <a:gd name="connsiteX3763" fmla="*/ 2012208 w 6666359"/>
              <a:gd name="connsiteY3763" fmla="*/ 2047131 h 4343113"/>
              <a:gd name="connsiteX3764" fmla="*/ 2008983 w 6666359"/>
              <a:gd name="connsiteY3764" fmla="*/ 2056805 h 4343113"/>
              <a:gd name="connsiteX3765" fmla="*/ 2002533 w 6666359"/>
              <a:gd name="connsiteY3765" fmla="*/ 2063255 h 4343113"/>
              <a:gd name="connsiteX3766" fmla="*/ 1986410 w 6666359"/>
              <a:gd name="connsiteY3766" fmla="*/ 2069703 h 4343113"/>
              <a:gd name="connsiteX3767" fmla="*/ 1973512 w 6666359"/>
              <a:gd name="connsiteY3767" fmla="*/ 2076153 h 4343113"/>
              <a:gd name="connsiteX3768" fmla="*/ 1967062 w 6666359"/>
              <a:gd name="connsiteY3768" fmla="*/ 2085827 h 4343113"/>
              <a:gd name="connsiteX3769" fmla="*/ 1960612 w 6666359"/>
              <a:gd name="connsiteY3769" fmla="*/ 2085827 h 4343113"/>
              <a:gd name="connsiteX3770" fmla="*/ 1950939 w 6666359"/>
              <a:gd name="connsiteY3770" fmla="*/ 2092276 h 4343113"/>
              <a:gd name="connsiteX3771" fmla="*/ 1947714 w 6666359"/>
              <a:gd name="connsiteY3771" fmla="*/ 2098726 h 4343113"/>
              <a:gd name="connsiteX3772" fmla="*/ 1941265 w 6666359"/>
              <a:gd name="connsiteY3772" fmla="*/ 2105176 h 4343113"/>
              <a:gd name="connsiteX3773" fmla="*/ 1934815 w 6666359"/>
              <a:gd name="connsiteY3773" fmla="*/ 2111625 h 4343113"/>
              <a:gd name="connsiteX3774" fmla="*/ 1928365 w 6666359"/>
              <a:gd name="connsiteY3774" fmla="*/ 2118074 h 4343113"/>
              <a:gd name="connsiteX3775" fmla="*/ 1912242 w 6666359"/>
              <a:gd name="connsiteY3775" fmla="*/ 2124524 h 4343113"/>
              <a:gd name="connsiteX3776" fmla="*/ 1905793 w 6666359"/>
              <a:gd name="connsiteY3776" fmla="*/ 2137423 h 4343113"/>
              <a:gd name="connsiteX3777" fmla="*/ 1902568 w 6666359"/>
              <a:gd name="connsiteY3777" fmla="*/ 2143871 h 4343113"/>
              <a:gd name="connsiteX3778" fmla="*/ 1899344 w 6666359"/>
              <a:gd name="connsiteY3778" fmla="*/ 2153546 h 4343113"/>
              <a:gd name="connsiteX3779" fmla="*/ 1899344 w 6666359"/>
              <a:gd name="connsiteY3779" fmla="*/ 2156771 h 4343113"/>
              <a:gd name="connsiteX3780" fmla="*/ 1896119 w 6666359"/>
              <a:gd name="connsiteY3780" fmla="*/ 2163220 h 4343113"/>
              <a:gd name="connsiteX3781" fmla="*/ 1899344 w 6666359"/>
              <a:gd name="connsiteY3781" fmla="*/ 2179344 h 4343113"/>
              <a:gd name="connsiteX3782" fmla="*/ 1899344 w 6666359"/>
              <a:gd name="connsiteY3782" fmla="*/ 2192242 h 4343113"/>
              <a:gd name="connsiteX3783" fmla="*/ 1905793 w 6666359"/>
              <a:gd name="connsiteY3783" fmla="*/ 2208365 h 4343113"/>
              <a:gd name="connsiteX3784" fmla="*/ 1909018 w 6666359"/>
              <a:gd name="connsiteY3784" fmla="*/ 2214815 h 4343113"/>
              <a:gd name="connsiteX3785" fmla="*/ 1909018 w 6666359"/>
              <a:gd name="connsiteY3785" fmla="*/ 2221265 h 4343113"/>
              <a:gd name="connsiteX3786" fmla="*/ 1921917 w 6666359"/>
              <a:gd name="connsiteY3786" fmla="*/ 2247062 h 4343113"/>
              <a:gd name="connsiteX3787" fmla="*/ 1928365 w 6666359"/>
              <a:gd name="connsiteY3787" fmla="*/ 2272859 h 4343113"/>
              <a:gd name="connsiteX3788" fmla="*/ 1925141 w 6666359"/>
              <a:gd name="connsiteY3788" fmla="*/ 2288983 h 4343113"/>
              <a:gd name="connsiteX3789" fmla="*/ 1921917 w 6666359"/>
              <a:gd name="connsiteY3789" fmla="*/ 2295433 h 4343113"/>
              <a:gd name="connsiteX3790" fmla="*/ 1921917 w 6666359"/>
              <a:gd name="connsiteY3790" fmla="*/ 2301882 h 4343113"/>
              <a:gd name="connsiteX3791" fmla="*/ 1915467 w 6666359"/>
              <a:gd name="connsiteY3791" fmla="*/ 2305106 h 4343113"/>
              <a:gd name="connsiteX3792" fmla="*/ 1909018 w 6666359"/>
              <a:gd name="connsiteY3792" fmla="*/ 2305106 h 4343113"/>
              <a:gd name="connsiteX3793" fmla="*/ 1902568 w 6666359"/>
              <a:gd name="connsiteY3793" fmla="*/ 2305106 h 4343113"/>
              <a:gd name="connsiteX3794" fmla="*/ 1899344 w 6666359"/>
              <a:gd name="connsiteY3794" fmla="*/ 2295433 h 4343113"/>
              <a:gd name="connsiteX3795" fmla="*/ 1896119 w 6666359"/>
              <a:gd name="connsiteY3795" fmla="*/ 2288983 h 4343113"/>
              <a:gd name="connsiteX3796" fmla="*/ 1892894 w 6666359"/>
              <a:gd name="connsiteY3796" fmla="*/ 2285759 h 4343113"/>
              <a:gd name="connsiteX3797" fmla="*/ 1889670 w 6666359"/>
              <a:gd name="connsiteY3797" fmla="*/ 2285759 h 4343113"/>
              <a:gd name="connsiteX3798" fmla="*/ 1889670 w 6666359"/>
              <a:gd name="connsiteY3798" fmla="*/ 2279309 h 4343113"/>
              <a:gd name="connsiteX3799" fmla="*/ 1889670 w 6666359"/>
              <a:gd name="connsiteY3799" fmla="*/ 2266410 h 4343113"/>
              <a:gd name="connsiteX3800" fmla="*/ 1886444 w 6666359"/>
              <a:gd name="connsiteY3800" fmla="*/ 2272859 h 4343113"/>
              <a:gd name="connsiteX3801" fmla="*/ 1883220 w 6666359"/>
              <a:gd name="connsiteY3801" fmla="*/ 2269635 h 4343113"/>
              <a:gd name="connsiteX3802" fmla="*/ 1883220 w 6666359"/>
              <a:gd name="connsiteY3802" fmla="*/ 2266410 h 4343113"/>
              <a:gd name="connsiteX3803" fmla="*/ 1883220 w 6666359"/>
              <a:gd name="connsiteY3803" fmla="*/ 2263186 h 4343113"/>
              <a:gd name="connsiteX3804" fmla="*/ 1879996 w 6666359"/>
              <a:gd name="connsiteY3804" fmla="*/ 2263186 h 4343113"/>
              <a:gd name="connsiteX3805" fmla="*/ 1876771 w 6666359"/>
              <a:gd name="connsiteY3805" fmla="*/ 2263186 h 4343113"/>
              <a:gd name="connsiteX3806" fmla="*/ 1870321 w 6666359"/>
              <a:gd name="connsiteY3806" fmla="*/ 2247062 h 4343113"/>
              <a:gd name="connsiteX3807" fmla="*/ 1867097 w 6666359"/>
              <a:gd name="connsiteY3807" fmla="*/ 2237388 h 4343113"/>
              <a:gd name="connsiteX3808" fmla="*/ 1867097 w 6666359"/>
              <a:gd name="connsiteY3808" fmla="*/ 2234163 h 4343113"/>
              <a:gd name="connsiteX3809" fmla="*/ 1867097 w 6666359"/>
              <a:gd name="connsiteY3809" fmla="*/ 2230939 h 4343113"/>
              <a:gd name="connsiteX3810" fmla="*/ 1870321 w 6666359"/>
              <a:gd name="connsiteY3810" fmla="*/ 2218039 h 4343113"/>
              <a:gd name="connsiteX3811" fmla="*/ 1870321 w 6666359"/>
              <a:gd name="connsiteY3811" fmla="*/ 2211591 h 4343113"/>
              <a:gd name="connsiteX3812" fmla="*/ 1863872 w 6666359"/>
              <a:gd name="connsiteY3812" fmla="*/ 2208365 h 4343113"/>
              <a:gd name="connsiteX3813" fmla="*/ 1860647 w 6666359"/>
              <a:gd name="connsiteY3813" fmla="*/ 2205141 h 4343113"/>
              <a:gd name="connsiteX3814" fmla="*/ 1857423 w 6666359"/>
              <a:gd name="connsiteY3814" fmla="*/ 2201917 h 4343113"/>
              <a:gd name="connsiteX3815" fmla="*/ 1847749 w 6666359"/>
              <a:gd name="connsiteY3815" fmla="*/ 2189018 h 4343113"/>
              <a:gd name="connsiteX3816" fmla="*/ 1831625 w 6666359"/>
              <a:gd name="connsiteY3816" fmla="*/ 2185793 h 4343113"/>
              <a:gd name="connsiteX3817" fmla="*/ 1821951 w 6666359"/>
              <a:gd name="connsiteY3817" fmla="*/ 2192242 h 4343113"/>
              <a:gd name="connsiteX3818" fmla="*/ 1818726 w 6666359"/>
              <a:gd name="connsiteY3818" fmla="*/ 2195467 h 4343113"/>
              <a:gd name="connsiteX3819" fmla="*/ 1812277 w 6666359"/>
              <a:gd name="connsiteY3819" fmla="*/ 2195467 h 4343113"/>
              <a:gd name="connsiteX3820" fmla="*/ 1809052 w 6666359"/>
              <a:gd name="connsiteY3820" fmla="*/ 2192242 h 4343113"/>
              <a:gd name="connsiteX3821" fmla="*/ 1809052 w 6666359"/>
              <a:gd name="connsiteY3821" fmla="*/ 2189018 h 4343113"/>
              <a:gd name="connsiteX3822" fmla="*/ 1802603 w 6666359"/>
              <a:gd name="connsiteY3822" fmla="*/ 2182568 h 4343113"/>
              <a:gd name="connsiteX3823" fmla="*/ 1792929 w 6666359"/>
              <a:gd name="connsiteY3823" fmla="*/ 2179344 h 4343113"/>
              <a:gd name="connsiteX3824" fmla="*/ 1786480 w 6666359"/>
              <a:gd name="connsiteY3824" fmla="*/ 2172894 h 4343113"/>
              <a:gd name="connsiteX3825" fmla="*/ 1776805 w 6666359"/>
              <a:gd name="connsiteY3825" fmla="*/ 2176118 h 4343113"/>
              <a:gd name="connsiteX3826" fmla="*/ 1763907 w 6666359"/>
              <a:gd name="connsiteY3826" fmla="*/ 2179344 h 4343113"/>
              <a:gd name="connsiteX3827" fmla="*/ 1757457 w 6666359"/>
              <a:gd name="connsiteY3827" fmla="*/ 2179344 h 4343113"/>
              <a:gd name="connsiteX3828" fmla="*/ 1754232 w 6666359"/>
              <a:gd name="connsiteY3828" fmla="*/ 2176118 h 4343113"/>
              <a:gd name="connsiteX3829" fmla="*/ 1754232 w 6666359"/>
              <a:gd name="connsiteY3829" fmla="*/ 2169670 h 4343113"/>
              <a:gd name="connsiteX3830" fmla="*/ 1754232 w 6666359"/>
              <a:gd name="connsiteY3830" fmla="*/ 2166444 h 4343113"/>
              <a:gd name="connsiteX3831" fmla="*/ 1744558 w 6666359"/>
              <a:gd name="connsiteY3831" fmla="*/ 2176118 h 4343113"/>
              <a:gd name="connsiteX3832" fmla="*/ 1741334 w 6666359"/>
              <a:gd name="connsiteY3832" fmla="*/ 2179344 h 4343113"/>
              <a:gd name="connsiteX3833" fmla="*/ 1734884 w 6666359"/>
              <a:gd name="connsiteY3833" fmla="*/ 2176118 h 4343113"/>
              <a:gd name="connsiteX3834" fmla="*/ 1725210 w 6666359"/>
              <a:gd name="connsiteY3834" fmla="*/ 2179344 h 4343113"/>
              <a:gd name="connsiteX3835" fmla="*/ 1721985 w 6666359"/>
              <a:gd name="connsiteY3835" fmla="*/ 2185793 h 4343113"/>
              <a:gd name="connsiteX3836" fmla="*/ 1715536 w 6666359"/>
              <a:gd name="connsiteY3836" fmla="*/ 2195467 h 4343113"/>
              <a:gd name="connsiteX3837" fmla="*/ 1731660 w 6666359"/>
              <a:gd name="connsiteY3837" fmla="*/ 2208365 h 4343113"/>
              <a:gd name="connsiteX3838" fmla="*/ 1721985 w 6666359"/>
              <a:gd name="connsiteY3838" fmla="*/ 2208365 h 4343113"/>
              <a:gd name="connsiteX3839" fmla="*/ 1715536 w 6666359"/>
              <a:gd name="connsiteY3839" fmla="*/ 2201917 h 4343113"/>
              <a:gd name="connsiteX3840" fmla="*/ 1705863 w 6666359"/>
              <a:gd name="connsiteY3840" fmla="*/ 2198691 h 4343113"/>
              <a:gd name="connsiteX3841" fmla="*/ 1705863 w 6666359"/>
              <a:gd name="connsiteY3841" fmla="*/ 2208365 h 4343113"/>
              <a:gd name="connsiteX3842" fmla="*/ 1699413 w 6666359"/>
              <a:gd name="connsiteY3842" fmla="*/ 2205141 h 4343113"/>
              <a:gd name="connsiteX3843" fmla="*/ 1692963 w 6666359"/>
              <a:gd name="connsiteY3843" fmla="*/ 2208365 h 4343113"/>
              <a:gd name="connsiteX3844" fmla="*/ 1680065 w 6666359"/>
              <a:gd name="connsiteY3844" fmla="*/ 2205141 h 4343113"/>
              <a:gd name="connsiteX3845" fmla="*/ 1676840 w 6666359"/>
              <a:gd name="connsiteY3845" fmla="*/ 2198691 h 4343113"/>
              <a:gd name="connsiteX3846" fmla="*/ 1670391 w 6666359"/>
              <a:gd name="connsiteY3846" fmla="*/ 2192242 h 4343113"/>
              <a:gd name="connsiteX3847" fmla="*/ 1663942 w 6666359"/>
              <a:gd name="connsiteY3847" fmla="*/ 2192242 h 4343113"/>
              <a:gd name="connsiteX3848" fmla="*/ 1663942 w 6666359"/>
              <a:gd name="connsiteY3848" fmla="*/ 2195467 h 4343113"/>
              <a:gd name="connsiteX3849" fmla="*/ 1641368 w 6666359"/>
              <a:gd name="connsiteY3849" fmla="*/ 2192242 h 4343113"/>
              <a:gd name="connsiteX3850" fmla="*/ 1628469 w 6666359"/>
              <a:gd name="connsiteY3850" fmla="*/ 2192242 h 4343113"/>
              <a:gd name="connsiteX3851" fmla="*/ 1615571 w 6666359"/>
              <a:gd name="connsiteY3851" fmla="*/ 2195467 h 4343113"/>
              <a:gd name="connsiteX3852" fmla="*/ 1602672 w 6666359"/>
              <a:gd name="connsiteY3852" fmla="*/ 2205141 h 4343113"/>
              <a:gd name="connsiteX3853" fmla="*/ 1596222 w 6666359"/>
              <a:gd name="connsiteY3853" fmla="*/ 2208365 h 4343113"/>
              <a:gd name="connsiteX3854" fmla="*/ 1592998 w 6666359"/>
              <a:gd name="connsiteY3854" fmla="*/ 2214815 h 4343113"/>
              <a:gd name="connsiteX3855" fmla="*/ 1580100 w 6666359"/>
              <a:gd name="connsiteY3855" fmla="*/ 2221265 h 4343113"/>
              <a:gd name="connsiteX3856" fmla="*/ 1573650 w 6666359"/>
              <a:gd name="connsiteY3856" fmla="*/ 2221265 h 4343113"/>
              <a:gd name="connsiteX3857" fmla="*/ 1563975 w 6666359"/>
              <a:gd name="connsiteY3857" fmla="*/ 2221265 h 4343113"/>
              <a:gd name="connsiteX3858" fmla="*/ 1560751 w 6666359"/>
              <a:gd name="connsiteY3858" fmla="*/ 2224489 h 4343113"/>
              <a:gd name="connsiteX3859" fmla="*/ 1560751 w 6666359"/>
              <a:gd name="connsiteY3859" fmla="*/ 2230939 h 4343113"/>
              <a:gd name="connsiteX3860" fmla="*/ 1554302 w 6666359"/>
              <a:gd name="connsiteY3860" fmla="*/ 2234163 h 4343113"/>
              <a:gd name="connsiteX3861" fmla="*/ 1554302 w 6666359"/>
              <a:gd name="connsiteY3861" fmla="*/ 2237388 h 4343113"/>
              <a:gd name="connsiteX3862" fmla="*/ 1547853 w 6666359"/>
              <a:gd name="connsiteY3862" fmla="*/ 2240612 h 4343113"/>
              <a:gd name="connsiteX3863" fmla="*/ 1547853 w 6666359"/>
              <a:gd name="connsiteY3863" fmla="*/ 2250286 h 4343113"/>
              <a:gd name="connsiteX3864" fmla="*/ 1544627 w 6666359"/>
              <a:gd name="connsiteY3864" fmla="*/ 2253512 h 4343113"/>
              <a:gd name="connsiteX3865" fmla="*/ 1544627 w 6666359"/>
              <a:gd name="connsiteY3865" fmla="*/ 2256736 h 4343113"/>
              <a:gd name="connsiteX3866" fmla="*/ 1544627 w 6666359"/>
              <a:gd name="connsiteY3866" fmla="*/ 2266410 h 4343113"/>
              <a:gd name="connsiteX3867" fmla="*/ 1545949 w 6666359"/>
              <a:gd name="connsiteY3867" fmla="*/ 2271696 h 4343113"/>
              <a:gd name="connsiteX3868" fmla="*/ 1552690 w 6666359"/>
              <a:gd name="connsiteY3868" fmla="*/ 2282533 h 4343113"/>
              <a:gd name="connsiteX3869" fmla="*/ 1550272 w 6666359"/>
              <a:gd name="connsiteY3869" fmla="*/ 2289790 h 4343113"/>
              <a:gd name="connsiteX3870" fmla="*/ 1550028 w 6666359"/>
              <a:gd name="connsiteY3870" fmla="*/ 2289952 h 4343113"/>
              <a:gd name="connsiteX3871" fmla="*/ 1544626 w 6666359"/>
              <a:gd name="connsiteY3871" fmla="*/ 2311556 h 4343113"/>
              <a:gd name="connsiteX3872" fmla="*/ 1541402 w 6666359"/>
              <a:gd name="connsiteY3872" fmla="*/ 2324454 h 4343113"/>
              <a:gd name="connsiteX3873" fmla="*/ 1538177 w 6666359"/>
              <a:gd name="connsiteY3873" fmla="*/ 2330904 h 4343113"/>
              <a:gd name="connsiteX3874" fmla="*/ 1538177 w 6666359"/>
              <a:gd name="connsiteY3874" fmla="*/ 2337354 h 4343113"/>
              <a:gd name="connsiteX3875" fmla="*/ 1538177 w 6666359"/>
              <a:gd name="connsiteY3875" fmla="*/ 2353477 h 4343113"/>
              <a:gd name="connsiteX3876" fmla="*/ 1538177 w 6666359"/>
              <a:gd name="connsiteY3876" fmla="*/ 2359927 h 4343113"/>
              <a:gd name="connsiteX3877" fmla="*/ 1534952 w 6666359"/>
              <a:gd name="connsiteY3877" fmla="*/ 2366375 h 4343113"/>
              <a:gd name="connsiteX3878" fmla="*/ 1538177 w 6666359"/>
              <a:gd name="connsiteY3878" fmla="*/ 2376050 h 4343113"/>
              <a:gd name="connsiteX3879" fmla="*/ 1541402 w 6666359"/>
              <a:gd name="connsiteY3879" fmla="*/ 2388948 h 4343113"/>
              <a:gd name="connsiteX3880" fmla="*/ 1544626 w 6666359"/>
              <a:gd name="connsiteY3880" fmla="*/ 2398622 h 4343113"/>
              <a:gd name="connsiteX3881" fmla="*/ 1551076 w 6666359"/>
              <a:gd name="connsiteY3881" fmla="*/ 2411522 h 4343113"/>
              <a:gd name="connsiteX3882" fmla="*/ 1560750 w 6666359"/>
              <a:gd name="connsiteY3882" fmla="*/ 2421195 h 4343113"/>
              <a:gd name="connsiteX3883" fmla="*/ 1570424 w 6666359"/>
              <a:gd name="connsiteY3883" fmla="*/ 2434095 h 4343113"/>
              <a:gd name="connsiteX3884" fmla="*/ 1570424 w 6666359"/>
              <a:gd name="connsiteY3884" fmla="*/ 2440543 h 4343113"/>
              <a:gd name="connsiteX3885" fmla="*/ 1573649 w 6666359"/>
              <a:gd name="connsiteY3885" fmla="*/ 2443769 h 4343113"/>
              <a:gd name="connsiteX3886" fmla="*/ 1583323 w 6666359"/>
              <a:gd name="connsiteY3886" fmla="*/ 2456667 h 4343113"/>
              <a:gd name="connsiteX3887" fmla="*/ 1596221 w 6666359"/>
              <a:gd name="connsiteY3887" fmla="*/ 2456667 h 4343113"/>
              <a:gd name="connsiteX3888" fmla="*/ 1605895 w 6666359"/>
              <a:gd name="connsiteY3888" fmla="*/ 2463116 h 4343113"/>
              <a:gd name="connsiteX3889" fmla="*/ 1609120 w 6666359"/>
              <a:gd name="connsiteY3889" fmla="*/ 2469566 h 4343113"/>
              <a:gd name="connsiteX3890" fmla="*/ 1618794 w 6666359"/>
              <a:gd name="connsiteY3890" fmla="*/ 2469566 h 4343113"/>
              <a:gd name="connsiteX3891" fmla="*/ 1628468 w 6666359"/>
              <a:gd name="connsiteY3891" fmla="*/ 2463116 h 4343113"/>
              <a:gd name="connsiteX3892" fmla="*/ 1638142 w 6666359"/>
              <a:gd name="connsiteY3892" fmla="*/ 2463116 h 4343113"/>
              <a:gd name="connsiteX3893" fmla="*/ 1647817 w 6666359"/>
              <a:gd name="connsiteY3893" fmla="*/ 2459892 h 4343113"/>
              <a:gd name="connsiteX3894" fmla="*/ 1657491 w 6666359"/>
              <a:gd name="connsiteY3894" fmla="*/ 2456667 h 4343113"/>
              <a:gd name="connsiteX3895" fmla="*/ 1667165 w 6666359"/>
              <a:gd name="connsiteY3895" fmla="*/ 2456667 h 4343113"/>
              <a:gd name="connsiteX3896" fmla="*/ 1667165 w 6666359"/>
              <a:gd name="connsiteY3896" fmla="*/ 2463116 h 4343113"/>
              <a:gd name="connsiteX3897" fmla="*/ 1680064 w 6666359"/>
              <a:gd name="connsiteY3897" fmla="*/ 2459892 h 4343113"/>
              <a:gd name="connsiteX3898" fmla="*/ 1683288 w 6666359"/>
              <a:gd name="connsiteY3898" fmla="*/ 2456667 h 4343113"/>
              <a:gd name="connsiteX3899" fmla="*/ 1686514 w 6666359"/>
              <a:gd name="connsiteY3899" fmla="*/ 2450218 h 4343113"/>
              <a:gd name="connsiteX3900" fmla="*/ 1692962 w 6666359"/>
              <a:gd name="connsiteY3900" fmla="*/ 2440543 h 4343113"/>
              <a:gd name="connsiteX3901" fmla="*/ 1696187 w 6666359"/>
              <a:gd name="connsiteY3901" fmla="*/ 2430869 h 4343113"/>
              <a:gd name="connsiteX3902" fmla="*/ 1699412 w 6666359"/>
              <a:gd name="connsiteY3902" fmla="*/ 2430869 h 4343113"/>
              <a:gd name="connsiteX3903" fmla="*/ 1699412 w 6666359"/>
              <a:gd name="connsiteY3903" fmla="*/ 2424420 h 4343113"/>
              <a:gd name="connsiteX3904" fmla="*/ 1699412 w 6666359"/>
              <a:gd name="connsiteY3904" fmla="*/ 2421195 h 4343113"/>
              <a:gd name="connsiteX3905" fmla="*/ 1699412 w 6666359"/>
              <a:gd name="connsiteY3905" fmla="*/ 2411522 h 4343113"/>
              <a:gd name="connsiteX3906" fmla="*/ 1702636 w 6666359"/>
              <a:gd name="connsiteY3906" fmla="*/ 2401848 h 4343113"/>
              <a:gd name="connsiteX3907" fmla="*/ 1715535 w 6666359"/>
              <a:gd name="connsiteY3907" fmla="*/ 2398622 h 4343113"/>
              <a:gd name="connsiteX3908" fmla="*/ 1728434 w 6666359"/>
              <a:gd name="connsiteY3908" fmla="*/ 2395398 h 4343113"/>
              <a:gd name="connsiteX3909" fmla="*/ 1747782 w 6666359"/>
              <a:gd name="connsiteY3909" fmla="*/ 2392174 h 4343113"/>
              <a:gd name="connsiteX3910" fmla="*/ 1754232 w 6666359"/>
              <a:gd name="connsiteY3910" fmla="*/ 2388948 h 4343113"/>
              <a:gd name="connsiteX3911" fmla="*/ 1760681 w 6666359"/>
              <a:gd name="connsiteY3911" fmla="*/ 2392174 h 4343113"/>
              <a:gd name="connsiteX3912" fmla="*/ 1770355 w 6666359"/>
              <a:gd name="connsiteY3912" fmla="*/ 2395398 h 4343113"/>
              <a:gd name="connsiteX3913" fmla="*/ 1773580 w 6666359"/>
              <a:gd name="connsiteY3913" fmla="*/ 2388948 h 4343113"/>
              <a:gd name="connsiteX3914" fmla="*/ 1780029 w 6666359"/>
              <a:gd name="connsiteY3914" fmla="*/ 2395398 h 4343113"/>
              <a:gd name="connsiteX3915" fmla="*/ 1776805 w 6666359"/>
              <a:gd name="connsiteY3915" fmla="*/ 2408297 h 4343113"/>
              <a:gd name="connsiteX3916" fmla="*/ 1770355 w 6666359"/>
              <a:gd name="connsiteY3916" fmla="*/ 2414746 h 4343113"/>
              <a:gd name="connsiteX3917" fmla="*/ 1767130 w 6666359"/>
              <a:gd name="connsiteY3917" fmla="*/ 2421195 h 4343113"/>
              <a:gd name="connsiteX3918" fmla="*/ 1763906 w 6666359"/>
              <a:gd name="connsiteY3918" fmla="*/ 2430869 h 4343113"/>
              <a:gd name="connsiteX3919" fmla="*/ 1763906 w 6666359"/>
              <a:gd name="connsiteY3919" fmla="*/ 2434095 h 4343113"/>
              <a:gd name="connsiteX3920" fmla="*/ 1763906 w 6666359"/>
              <a:gd name="connsiteY3920" fmla="*/ 2440543 h 4343113"/>
              <a:gd name="connsiteX3921" fmla="*/ 1760681 w 6666359"/>
              <a:gd name="connsiteY3921" fmla="*/ 2453442 h 4343113"/>
              <a:gd name="connsiteX3922" fmla="*/ 1757456 w 6666359"/>
              <a:gd name="connsiteY3922" fmla="*/ 2463116 h 4343113"/>
              <a:gd name="connsiteX3923" fmla="*/ 1751007 w 6666359"/>
              <a:gd name="connsiteY3923" fmla="*/ 2459892 h 4343113"/>
              <a:gd name="connsiteX3924" fmla="*/ 1747782 w 6666359"/>
              <a:gd name="connsiteY3924" fmla="*/ 2456667 h 4343113"/>
              <a:gd name="connsiteX3925" fmla="*/ 1747782 w 6666359"/>
              <a:gd name="connsiteY3925" fmla="*/ 2457461 h 4343113"/>
              <a:gd name="connsiteX3926" fmla="*/ 1748589 w 6666359"/>
              <a:gd name="connsiteY3926" fmla="*/ 2463922 h 4343113"/>
              <a:gd name="connsiteX3927" fmla="*/ 1748589 w 6666359"/>
              <a:gd name="connsiteY3927" fmla="*/ 2463923 h 4343113"/>
              <a:gd name="connsiteX3928" fmla="*/ 1751008 w 6666359"/>
              <a:gd name="connsiteY3928" fmla="*/ 2466342 h 4343113"/>
              <a:gd name="connsiteX3929" fmla="*/ 1751008 w 6666359"/>
              <a:gd name="connsiteY3929" fmla="*/ 2469566 h 4343113"/>
              <a:gd name="connsiteX3930" fmla="*/ 1747783 w 6666359"/>
              <a:gd name="connsiteY3930" fmla="*/ 2479240 h 4343113"/>
              <a:gd name="connsiteX3931" fmla="*/ 1747783 w 6666359"/>
              <a:gd name="connsiteY3931" fmla="*/ 2485689 h 4343113"/>
              <a:gd name="connsiteX3932" fmla="*/ 1747783 w 6666359"/>
              <a:gd name="connsiteY3932" fmla="*/ 2495363 h 4343113"/>
              <a:gd name="connsiteX3933" fmla="*/ 1744558 w 6666359"/>
              <a:gd name="connsiteY3933" fmla="*/ 2505037 h 4343113"/>
              <a:gd name="connsiteX3934" fmla="*/ 1741334 w 6666359"/>
              <a:gd name="connsiteY3934" fmla="*/ 2511487 h 4343113"/>
              <a:gd name="connsiteX3935" fmla="*/ 1734884 w 6666359"/>
              <a:gd name="connsiteY3935" fmla="*/ 2514711 h 4343113"/>
              <a:gd name="connsiteX3936" fmla="*/ 1734884 w 6666359"/>
              <a:gd name="connsiteY3936" fmla="*/ 2517937 h 4343113"/>
              <a:gd name="connsiteX3937" fmla="*/ 1731660 w 6666359"/>
              <a:gd name="connsiteY3937" fmla="*/ 2521161 h 4343113"/>
              <a:gd name="connsiteX3938" fmla="*/ 1741334 w 6666359"/>
              <a:gd name="connsiteY3938" fmla="*/ 2524386 h 4343113"/>
              <a:gd name="connsiteX3939" fmla="*/ 1747783 w 6666359"/>
              <a:gd name="connsiteY3939" fmla="*/ 2524386 h 4343113"/>
              <a:gd name="connsiteX3940" fmla="*/ 1757457 w 6666359"/>
              <a:gd name="connsiteY3940" fmla="*/ 2521161 h 4343113"/>
              <a:gd name="connsiteX3941" fmla="*/ 1763907 w 6666359"/>
              <a:gd name="connsiteY3941" fmla="*/ 2524386 h 4343113"/>
              <a:gd name="connsiteX3942" fmla="*/ 1770356 w 6666359"/>
              <a:gd name="connsiteY3942" fmla="*/ 2524386 h 4343113"/>
              <a:gd name="connsiteX3943" fmla="*/ 1783255 w 6666359"/>
              <a:gd name="connsiteY3943" fmla="*/ 2524386 h 4343113"/>
              <a:gd name="connsiteX3944" fmla="*/ 1796154 w 6666359"/>
              <a:gd name="connsiteY3944" fmla="*/ 2521161 h 4343113"/>
              <a:gd name="connsiteX3945" fmla="*/ 1821951 w 6666359"/>
              <a:gd name="connsiteY3945" fmla="*/ 2521161 h 4343113"/>
              <a:gd name="connsiteX3946" fmla="*/ 1834850 w 6666359"/>
              <a:gd name="connsiteY3946" fmla="*/ 2524386 h 4343113"/>
              <a:gd name="connsiteX3947" fmla="*/ 1841299 w 6666359"/>
              <a:gd name="connsiteY3947" fmla="*/ 2530835 h 4343113"/>
              <a:gd name="connsiteX3948" fmla="*/ 1838074 w 6666359"/>
              <a:gd name="connsiteY3948" fmla="*/ 2530835 h 4343113"/>
              <a:gd name="connsiteX3949" fmla="*/ 1841299 w 6666359"/>
              <a:gd name="connsiteY3949" fmla="*/ 2534060 h 4343113"/>
              <a:gd name="connsiteX3950" fmla="*/ 1844524 w 6666359"/>
              <a:gd name="connsiteY3950" fmla="*/ 2537284 h 4343113"/>
              <a:gd name="connsiteX3951" fmla="*/ 1847749 w 6666359"/>
              <a:gd name="connsiteY3951" fmla="*/ 2534060 h 4343113"/>
              <a:gd name="connsiteX3952" fmla="*/ 1850973 w 6666359"/>
              <a:gd name="connsiteY3952" fmla="*/ 2534060 h 4343113"/>
              <a:gd name="connsiteX3953" fmla="*/ 1860647 w 6666359"/>
              <a:gd name="connsiteY3953" fmla="*/ 2540510 h 4343113"/>
              <a:gd name="connsiteX3954" fmla="*/ 1854197 w 6666359"/>
              <a:gd name="connsiteY3954" fmla="*/ 2543734 h 4343113"/>
              <a:gd name="connsiteX3955" fmla="*/ 1857423 w 6666359"/>
              <a:gd name="connsiteY3955" fmla="*/ 2550184 h 4343113"/>
              <a:gd name="connsiteX3956" fmla="*/ 1857423 w 6666359"/>
              <a:gd name="connsiteY3956" fmla="*/ 2559857 h 4343113"/>
              <a:gd name="connsiteX3957" fmla="*/ 1854197 w 6666359"/>
              <a:gd name="connsiteY3957" fmla="*/ 2566307 h 4343113"/>
              <a:gd name="connsiteX3958" fmla="*/ 1850973 w 6666359"/>
              <a:gd name="connsiteY3958" fmla="*/ 2572756 h 4343113"/>
              <a:gd name="connsiteX3959" fmla="*/ 1850973 w 6666359"/>
              <a:gd name="connsiteY3959" fmla="*/ 2575981 h 4343113"/>
              <a:gd name="connsiteX3960" fmla="*/ 1850973 w 6666359"/>
              <a:gd name="connsiteY3960" fmla="*/ 2585655 h 4343113"/>
              <a:gd name="connsiteX3961" fmla="*/ 1850973 w 6666359"/>
              <a:gd name="connsiteY3961" fmla="*/ 2595329 h 4343113"/>
              <a:gd name="connsiteX3962" fmla="*/ 1847749 w 6666359"/>
              <a:gd name="connsiteY3962" fmla="*/ 2608228 h 4343113"/>
              <a:gd name="connsiteX3963" fmla="*/ 1847749 w 6666359"/>
              <a:gd name="connsiteY3963" fmla="*/ 2614678 h 4343113"/>
              <a:gd name="connsiteX3964" fmla="*/ 1847749 w 6666359"/>
              <a:gd name="connsiteY3964" fmla="*/ 2617902 h 4343113"/>
              <a:gd name="connsiteX3965" fmla="*/ 1844524 w 6666359"/>
              <a:gd name="connsiteY3965" fmla="*/ 2621126 h 4343113"/>
              <a:gd name="connsiteX3966" fmla="*/ 1847749 w 6666359"/>
              <a:gd name="connsiteY3966" fmla="*/ 2634025 h 4343113"/>
              <a:gd name="connsiteX3967" fmla="*/ 1847749 w 6666359"/>
              <a:gd name="connsiteY3967" fmla="*/ 2637250 h 4343113"/>
              <a:gd name="connsiteX3968" fmla="*/ 1850973 w 6666359"/>
              <a:gd name="connsiteY3968" fmla="*/ 2640475 h 4343113"/>
              <a:gd name="connsiteX3969" fmla="*/ 1857423 w 6666359"/>
              <a:gd name="connsiteY3969" fmla="*/ 2650149 h 4343113"/>
              <a:gd name="connsiteX3970" fmla="*/ 1870321 w 6666359"/>
              <a:gd name="connsiteY3970" fmla="*/ 2663047 h 4343113"/>
              <a:gd name="connsiteX3971" fmla="*/ 1873546 w 6666359"/>
              <a:gd name="connsiteY3971" fmla="*/ 2663047 h 4343113"/>
              <a:gd name="connsiteX3972" fmla="*/ 1876771 w 6666359"/>
              <a:gd name="connsiteY3972" fmla="*/ 2669497 h 4343113"/>
              <a:gd name="connsiteX3973" fmla="*/ 1883220 w 6666359"/>
              <a:gd name="connsiteY3973" fmla="*/ 2675946 h 4343113"/>
              <a:gd name="connsiteX3974" fmla="*/ 1896119 w 6666359"/>
              <a:gd name="connsiteY3974" fmla="*/ 2679171 h 4343113"/>
              <a:gd name="connsiteX3975" fmla="*/ 1912242 w 6666359"/>
              <a:gd name="connsiteY3975" fmla="*/ 2675946 h 4343113"/>
              <a:gd name="connsiteX3976" fmla="*/ 1928365 w 6666359"/>
              <a:gd name="connsiteY3976" fmla="*/ 2669497 h 4343113"/>
              <a:gd name="connsiteX3977" fmla="*/ 1931591 w 6666359"/>
              <a:gd name="connsiteY3977" fmla="*/ 2666272 h 4343113"/>
              <a:gd name="connsiteX3978" fmla="*/ 1947714 w 6666359"/>
              <a:gd name="connsiteY3978" fmla="*/ 2663047 h 4343113"/>
              <a:gd name="connsiteX3979" fmla="*/ 1960612 w 6666359"/>
              <a:gd name="connsiteY3979" fmla="*/ 2666272 h 4343113"/>
              <a:gd name="connsiteX3980" fmla="*/ 1970286 w 6666359"/>
              <a:gd name="connsiteY3980" fmla="*/ 2669497 h 4343113"/>
              <a:gd name="connsiteX3981" fmla="*/ 1976736 w 6666359"/>
              <a:gd name="connsiteY3981" fmla="*/ 2675946 h 4343113"/>
              <a:gd name="connsiteX3982" fmla="*/ 1986410 w 6666359"/>
              <a:gd name="connsiteY3982" fmla="*/ 2682396 h 4343113"/>
              <a:gd name="connsiteX3983" fmla="*/ 1996085 w 6666359"/>
              <a:gd name="connsiteY3983" fmla="*/ 2695294 h 4343113"/>
              <a:gd name="connsiteX3984" fmla="*/ 2002533 w 6666359"/>
              <a:gd name="connsiteY3984" fmla="*/ 2682396 h 4343113"/>
              <a:gd name="connsiteX3985" fmla="*/ 2008983 w 6666359"/>
              <a:gd name="connsiteY3985" fmla="*/ 2675946 h 4343113"/>
              <a:gd name="connsiteX3986" fmla="*/ 2008983 w 6666359"/>
              <a:gd name="connsiteY3986" fmla="*/ 2672722 h 4343113"/>
              <a:gd name="connsiteX3987" fmla="*/ 2018657 w 6666359"/>
              <a:gd name="connsiteY3987" fmla="*/ 2666272 h 4343113"/>
              <a:gd name="connsiteX3988" fmla="*/ 2025107 w 6666359"/>
              <a:gd name="connsiteY3988" fmla="*/ 2663047 h 4343113"/>
              <a:gd name="connsiteX3989" fmla="*/ 2025107 w 6666359"/>
              <a:gd name="connsiteY3989" fmla="*/ 2646924 h 4343113"/>
              <a:gd name="connsiteX3990" fmla="*/ 2028332 w 6666359"/>
              <a:gd name="connsiteY3990" fmla="*/ 2637250 h 4343113"/>
              <a:gd name="connsiteX3991" fmla="*/ 2041230 w 6666359"/>
              <a:gd name="connsiteY3991" fmla="*/ 2627576 h 4343113"/>
              <a:gd name="connsiteX3992" fmla="*/ 2050904 w 6666359"/>
              <a:gd name="connsiteY3992" fmla="*/ 2630801 h 4343113"/>
              <a:gd name="connsiteX3993" fmla="*/ 2057354 w 6666359"/>
              <a:gd name="connsiteY3993" fmla="*/ 2624352 h 4343113"/>
              <a:gd name="connsiteX3994" fmla="*/ 2067027 w 6666359"/>
              <a:gd name="connsiteY3994" fmla="*/ 2624352 h 4343113"/>
              <a:gd name="connsiteX3995" fmla="*/ 2073477 w 6666359"/>
              <a:gd name="connsiteY3995" fmla="*/ 2624352 h 4343113"/>
              <a:gd name="connsiteX3996" fmla="*/ 2083151 w 6666359"/>
              <a:gd name="connsiteY3996" fmla="*/ 2621126 h 4343113"/>
              <a:gd name="connsiteX3997" fmla="*/ 2089601 w 6666359"/>
              <a:gd name="connsiteY3997" fmla="*/ 2614678 h 4343113"/>
              <a:gd name="connsiteX3998" fmla="*/ 2099274 w 6666359"/>
              <a:gd name="connsiteY3998" fmla="*/ 2611452 h 4343113"/>
              <a:gd name="connsiteX3999" fmla="*/ 2112174 w 6666359"/>
              <a:gd name="connsiteY3999" fmla="*/ 2601778 h 4343113"/>
              <a:gd name="connsiteX4000" fmla="*/ 2118622 w 6666359"/>
              <a:gd name="connsiteY4000" fmla="*/ 2601778 h 4343113"/>
              <a:gd name="connsiteX4001" fmla="*/ 2121848 w 6666359"/>
              <a:gd name="connsiteY4001" fmla="*/ 2608228 h 4343113"/>
              <a:gd name="connsiteX4002" fmla="*/ 2118622 w 6666359"/>
              <a:gd name="connsiteY4002" fmla="*/ 2611452 h 4343113"/>
              <a:gd name="connsiteX4003" fmla="*/ 2105724 w 6666359"/>
              <a:gd name="connsiteY4003" fmla="*/ 2617902 h 4343113"/>
              <a:gd name="connsiteX4004" fmla="*/ 2105724 w 6666359"/>
              <a:gd name="connsiteY4004" fmla="*/ 2627576 h 4343113"/>
              <a:gd name="connsiteX4005" fmla="*/ 2112174 w 6666359"/>
              <a:gd name="connsiteY4005" fmla="*/ 2637250 h 4343113"/>
              <a:gd name="connsiteX4006" fmla="*/ 2108948 w 6666359"/>
              <a:gd name="connsiteY4006" fmla="*/ 2646924 h 4343113"/>
              <a:gd name="connsiteX4007" fmla="*/ 2102499 w 6666359"/>
              <a:gd name="connsiteY4007" fmla="*/ 2656599 h 4343113"/>
              <a:gd name="connsiteX4008" fmla="*/ 2102499 w 6666359"/>
              <a:gd name="connsiteY4008" fmla="*/ 2663047 h 4343113"/>
              <a:gd name="connsiteX4009" fmla="*/ 2105724 w 6666359"/>
              <a:gd name="connsiteY4009" fmla="*/ 2666272 h 4343113"/>
              <a:gd name="connsiteX4010" fmla="*/ 2108948 w 6666359"/>
              <a:gd name="connsiteY4010" fmla="*/ 2669497 h 4343113"/>
              <a:gd name="connsiteX4011" fmla="*/ 2108948 w 6666359"/>
              <a:gd name="connsiteY4011" fmla="*/ 2672722 h 4343113"/>
              <a:gd name="connsiteX4012" fmla="*/ 2118622 w 6666359"/>
              <a:gd name="connsiteY4012" fmla="*/ 2672722 h 4343113"/>
              <a:gd name="connsiteX4013" fmla="*/ 2125072 w 6666359"/>
              <a:gd name="connsiteY4013" fmla="*/ 2663047 h 4343113"/>
              <a:gd name="connsiteX4014" fmla="*/ 2115398 w 6666359"/>
              <a:gd name="connsiteY4014" fmla="*/ 2640475 h 4343113"/>
              <a:gd name="connsiteX4015" fmla="*/ 2118622 w 6666359"/>
              <a:gd name="connsiteY4015" fmla="*/ 2630801 h 4343113"/>
              <a:gd name="connsiteX4016" fmla="*/ 2128297 w 6666359"/>
              <a:gd name="connsiteY4016" fmla="*/ 2627576 h 4343113"/>
              <a:gd name="connsiteX4017" fmla="*/ 2141195 w 6666359"/>
              <a:gd name="connsiteY4017" fmla="*/ 2621126 h 4343113"/>
              <a:gd name="connsiteX4018" fmla="*/ 2147645 w 6666359"/>
              <a:gd name="connsiteY4018" fmla="*/ 2621126 h 4343113"/>
              <a:gd name="connsiteX4019" fmla="*/ 2150869 w 6666359"/>
              <a:gd name="connsiteY4019" fmla="*/ 2621126 h 4343113"/>
              <a:gd name="connsiteX4020" fmla="*/ 2150869 w 6666359"/>
              <a:gd name="connsiteY4020" fmla="*/ 2617902 h 4343113"/>
              <a:gd name="connsiteX4021" fmla="*/ 2147645 w 6666359"/>
              <a:gd name="connsiteY4021" fmla="*/ 2617902 h 4343113"/>
              <a:gd name="connsiteX4022" fmla="*/ 2141195 w 6666359"/>
              <a:gd name="connsiteY4022" fmla="*/ 2614678 h 4343113"/>
              <a:gd name="connsiteX4023" fmla="*/ 2147645 w 6666359"/>
              <a:gd name="connsiteY4023" fmla="*/ 2605003 h 4343113"/>
              <a:gd name="connsiteX4024" fmla="*/ 2154095 w 6666359"/>
              <a:gd name="connsiteY4024" fmla="*/ 2611452 h 4343113"/>
              <a:gd name="connsiteX4025" fmla="*/ 2157319 w 6666359"/>
              <a:gd name="connsiteY4025" fmla="*/ 2621126 h 4343113"/>
              <a:gd name="connsiteX4026" fmla="*/ 2163769 w 6666359"/>
              <a:gd name="connsiteY4026" fmla="*/ 2621126 h 4343113"/>
              <a:gd name="connsiteX4027" fmla="*/ 2176667 w 6666359"/>
              <a:gd name="connsiteY4027" fmla="*/ 2624352 h 4343113"/>
              <a:gd name="connsiteX4028" fmla="*/ 2183116 w 6666359"/>
              <a:gd name="connsiteY4028" fmla="*/ 2634025 h 4343113"/>
              <a:gd name="connsiteX4029" fmla="*/ 2189566 w 6666359"/>
              <a:gd name="connsiteY4029" fmla="*/ 2643699 h 4343113"/>
              <a:gd name="connsiteX4030" fmla="*/ 2199240 w 6666359"/>
              <a:gd name="connsiteY4030" fmla="*/ 2643699 h 4343113"/>
              <a:gd name="connsiteX4031" fmla="*/ 2215363 w 6666359"/>
              <a:gd name="connsiteY4031" fmla="*/ 2640475 h 4343113"/>
              <a:gd name="connsiteX4032" fmla="*/ 2221813 w 6666359"/>
              <a:gd name="connsiteY4032" fmla="*/ 2640475 h 4343113"/>
              <a:gd name="connsiteX4033" fmla="*/ 2228263 w 6666359"/>
              <a:gd name="connsiteY4033" fmla="*/ 2640475 h 4343113"/>
              <a:gd name="connsiteX4034" fmla="*/ 2234711 w 6666359"/>
              <a:gd name="connsiteY4034" fmla="*/ 2643699 h 4343113"/>
              <a:gd name="connsiteX4035" fmla="*/ 2237937 w 6666359"/>
              <a:gd name="connsiteY4035" fmla="*/ 2646924 h 4343113"/>
              <a:gd name="connsiteX4036" fmla="*/ 2250835 w 6666359"/>
              <a:gd name="connsiteY4036" fmla="*/ 2650149 h 4343113"/>
              <a:gd name="connsiteX4037" fmla="*/ 2263734 w 6666359"/>
              <a:gd name="connsiteY4037" fmla="*/ 2650149 h 4343113"/>
              <a:gd name="connsiteX4038" fmla="*/ 2276632 w 6666359"/>
              <a:gd name="connsiteY4038" fmla="*/ 2643699 h 4343113"/>
              <a:gd name="connsiteX4039" fmla="*/ 2286307 w 6666359"/>
              <a:gd name="connsiteY4039" fmla="*/ 2643699 h 4343113"/>
              <a:gd name="connsiteX4040" fmla="*/ 2273408 w 6666359"/>
              <a:gd name="connsiteY4040" fmla="*/ 2640475 h 4343113"/>
              <a:gd name="connsiteX4041" fmla="*/ 2295981 w 6666359"/>
              <a:gd name="connsiteY4041" fmla="*/ 2637250 h 4343113"/>
              <a:gd name="connsiteX4042" fmla="*/ 2308879 w 6666359"/>
              <a:gd name="connsiteY4042" fmla="*/ 2637250 h 4343113"/>
              <a:gd name="connsiteX4043" fmla="*/ 2318554 w 6666359"/>
              <a:gd name="connsiteY4043" fmla="*/ 2640475 h 4343113"/>
              <a:gd name="connsiteX4044" fmla="*/ 2315329 w 6666359"/>
              <a:gd name="connsiteY4044" fmla="*/ 2640475 h 4343113"/>
              <a:gd name="connsiteX4045" fmla="*/ 2312104 w 6666359"/>
              <a:gd name="connsiteY4045" fmla="*/ 2640475 h 4343113"/>
              <a:gd name="connsiteX4046" fmla="*/ 2305655 w 6666359"/>
              <a:gd name="connsiteY4046" fmla="*/ 2640475 h 4343113"/>
              <a:gd name="connsiteX4047" fmla="*/ 2305655 w 6666359"/>
              <a:gd name="connsiteY4047" fmla="*/ 2643699 h 4343113"/>
              <a:gd name="connsiteX4048" fmla="*/ 2312104 w 6666359"/>
              <a:gd name="connsiteY4048" fmla="*/ 2653373 h 4343113"/>
              <a:gd name="connsiteX4049" fmla="*/ 2312104 w 6666359"/>
              <a:gd name="connsiteY4049" fmla="*/ 2656599 h 4343113"/>
              <a:gd name="connsiteX4050" fmla="*/ 2315329 w 6666359"/>
              <a:gd name="connsiteY4050" fmla="*/ 2659823 h 4343113"/>
              <a:gd name="connsiteX4051" fmla="*/ 2318554 w 6666359"/>
              <a:gd name="connsiteY4051" fmla="*/ 2663047 h 4343113"/>
              <a:gd name="connsiteX4052" fmla="*/ 2321778 w 6666359"/>
              <a:gd name="connsiteY4052" fmla="*/ 2656599 h 4343113"/>
              <a:gd name="connsiteX4053" fmla="*/ 2325003 w 6666359"/>
              <a:gd name="connsiteY4053" fmla="*/ 2656599 h 4343113"/>
              <a:gd name="connsiteX4054" fmla="*/ 2328228 w 6666359"/>
              <a:gd name="connsiteY4054" fmla="*/ 2659823 h 4343113"/>
              <a:gd name="connsiteX4055" fmla="*/ 2328228 w 6666359"/>
              <a:gd name="connsiteY4055" fmla="*/ 2663047 h 4343113"/>
              <a:gd name="connsiteX4056" fmla="*/ 2331452 w 6666359"/>
              <a:gd name="connsiteY4056" fmla="*/ 2659823 h 4343113"/>
              <a:gd name="connsiteX4057" fmla="*/ 2334677 w 6666359"/>
              <a:gd name="connsiteY4057" fmla="*/ 2659823 h 4343113"/>
              <a:gd name="connsiteX4058" fmla="*/ 2341126 w 6666359"/>
              <a:gd name="connsiteY4058" fmla="*/ 2663047 h 4343113"/>
              <a:gd name="connsiteX4059" fmla="*/ 2350800 w 6666359"/>
              <a:gd name="connsiteY4059" fmla="*/ 2669497 h 4343113"/>
              <a:gd name="connsiteX4060" fmla="*/ 2344352 w 6666359"/>
              <a:gd name="connsiteY4060" fmla="*/ 2672722 h 4343113"/>
              <a:gd name="connsiteX4061" fmla="*/ 2341126 w 6666359"/>
              <a:gd name="connsiteY4061" fmla="*/ 2679171 h 4343113"/>
              <a:gd name="connsiteX4062" fmla="*/ 2334677 w 6666359"/>
              <a:gd name="connsiteY4062" fmla="*/ 2682396 h 4343113"/>
              <a:gd name="connsiteX4063" fmla="*/ 2331452 w 6666359"/>
              <a:gd name="connsiteY4063" fmla="*/ 2685620 h 4343113"/>
              <a:gd name="connsiteX4064" fmla="*/ 2337902 w 6666359"/>
              <a:gd name="connsiteY4064" fmla="*/ 2688846 h 4343113"/>
              <a:gd name="connsiteX4065" fmla="*/ 2341126 w 6666359"/>
              <a:gd name="connsiteY4065" fmla="*/ 2688846 h 4343113"/>
              <a:gd name="connsiteX4066" fmla="*/ 2347576 w 6666359"/>
              <a:gd name="connsiteY4066" fmla="*/ 2685620 h 4343113"/>
              <a:gd name="connsiteX4067" fmla="*/ 2354025 w 6666359"/>
              <a:gd name="connsiteY4067" fmla="*/ 2685620 h 4343113"/>
              <a:gd name="connsiteX4068" fmla="*/ 2360475 w 6666359"/>
              <a:gd name="connsiteY4068" fmla="*/ 2685620 h 4343113"/>
              <a:gd name="connsiteX4069" fmla="*/ 2366924 w 6666359"/>
              <a:gd name="connsiteY4069" fmla="*/ 2685620 h 4343113"/>
              <a:gd name="connsiteX4070" fmla="*/ 2389497 w 6666359"/>
              <a:gd name="connsiteY4070" fmla="*/ 2698520 h 4343113"/>
              <a:gd name="connsiteX4071" fmla="*/ 2399171 w 6666359"/>
              <a:gd name="connsiteY4071" fmla="*/ 2708193 h 4343113"/>
              <a:gd name="connsiteX4072" fmla="*/ 2399171 w 6666359"/>
              <a:gd name="connsiteY4072" fmla="*/ 2717867 h 4343113"/>
              <a:gd name="connsiteX4073" fmla="*/ 2402396 w 6666359"/>
              <a:gd name="connsiteY4073" fmla="*/ 2721092 h 4343113"/>
              <a:gd name="connsiteX4074" fmla="*/ 2405620 w 6666359"/>
              <a:gd name="connsiteY4074" fmla="*/ 2724317 h 4343113"/>
              <a:gd name="connsiteX4075" fmla="*/ 2408845 w 6666359"/>
              <a:gd name="connsiteY4075" fmla="*/ 2724317 h 4343113"/>
              <a:gd name="connsiteX4076" fmla="*/ 2412070 w 6666359"/>
              <a:gd name="connsiteY4076" fmla="*/ 2727541 h 4343113"/>
              <a:gd name="connsiteX4077" fmla="*/ 2418519 w 6666359"/>
              <a:gd name="connsiteY4077" fmla="*/ 2730767 h 4343113"/>
              <a:gd name="connsiteX4078" fmla="*/ 2421744 w 6666359"/>
              <a:gd name="connsiteY4078" fmla="*/ 2733991 h 4343113"/>
              <a:gd name="connsiteX4079" fmla="*/ 2431418 w 6666359"/>
              <a:gd name="connsiteY4079" fmla="*/ 2743665 h 4343113"/>
              <a:gd name="connsiteX4080" fmla="*/ 2434643 w 6666359"/>
              <a:gd name="connsiteY4080" fmla="*/ 2740440 h 4343113"/>
              <a:gd name="connsiteX4081" fmla="*/ 2437867 w 6666359"/>
              <a:gd name="connsiteY4081" fmla="*/ 2740440 h 4343113"/>
              <a:gd name="connsiteX4082" fmla="*/ 2447541 w 6666359"/>
              <a:gd name="connsiteY4082" fmla="*/ 2743665 h 4343113"/>
              <a:gd name="connsiteX4083" fmla="*/ 2457215 w 6666359"/>
              <a:gd name="connsiteY4083" fmla="*/ 2743665 h 4343113"/>
              <a:gd name="connsiteX4084" fmla="*/ 2463665 w 6666359"/>
              <a:gd name="connsiteY4084" fmla="*/ 2740440 h 4343113"/>
              <a:gd name="connsiteX4085" fmla="*/ 2473339 w 6666359"/>
              <a:gd name="connsiteY4085" fmla="*/ 2743665 h 4343113"/>
              <a:gd name="connsiteX4086" fmla="*/ 2476564 w 6666359"/>
              <a:gd name="connsiteY4086" fmla="*/ 2740440 h 4343113"/>
              <a:gd name="connsiteX4087" fmla="*/ 2479788 w 6666359"/>
              <a:gd name="connsiteY4087" fmla="*/ 2740440 h 4343113"/>
              <a:gd name="connsiteX4088" fmla="*/ 2499136 w 6666359"/>
              <a:gd name="connsiteY4088" fmla="*/ 2746890 h 4343113"/>
              <a:gd name="connsiteX4089" fmla="*/ 2521709 w 6666359"/>
              <a:gd name="connsiteY4089" fmla="*/ 2753339 h 4343113"/>
              <a:gd name="connsiteX4090" fmla="*/ 2541057 w 6666359"/>
              <a:gd name="connsiteY4090" fmla="*/ 2769462 h 4343113"/>
              <a:gd name="connsiteX4091" fmla="*/ 2544282 w 6666359"/>
              <a:gd name="connsiteY4091" fmla="*/ 2769462 h 4343113"/>
              <a:gd name="connsiteX4092" fmla="*/ 2547507 w 6666359"/>
              <a:gd name="connsiteY4092" fmla="*/ 2775912 h 4343113"/>
              <a:gd name="connsiteX4093" fmla="*/ 2550731 w 6666359"/>
              <a:gd name="connsiteY4093" fmla="*/ 2785584 h 4343113"/>
              <a:gd name="connsiteX4094" fmla="*/ 2553955 w 6666359"/>
              <a:gd name="connsiteY4094" fmla="*/ 2779136 h 4343113"/>
              <a:gd name="connsiteX4095" fmla="*/ 2557179 w 6666359"/>
              <a:gd name="connsiteY4095" fmla="*/ 2782360 h 4343113"/>
              <a:gd name="connsiteX4096" fmla="*/ 2563629 w 6666359"/>
              <a:gd name="connsiteY4096" fmla="*/ 2792034 h 4343113"/>
              <a:gd name="connsiteX4097" fmla="*/ 2566854 w 6666359"/>
              <a:gd name="connsiteY4097" fmla="*/ 2814607 h 4343113"/>
              <a:gd name="connsiteX4098" fmla="*/ 2570079 w 6666359"/>
              <a:gd name="connsiteY4098" fmla="*/ 2824281 h 4343113"/>
              <a:gd name="connsiteX4099" fmla="*/ 2573303 w 6666359"/>
              <a:gd name="connsiteY4099" fmla="*/ 2827506 h 4343113"/>
              <a:gd name="connsiteX4100" fmla="*/ 2573303 w 6666359"/>
              <a:gd name="connsiteY4100" fmla="*/ 2830731 h 4343113"/>
              <a:gd name="connsiteX4101" fmla="*/ 2576528 w 6666359"/>
              <a:gd name="connsiteY4101" fmla="*/ 2833955 h 4343113"/>
              <a:gd name="connsiteX4102" fmla="*/ 2579753 w 6666359"/>
              <a:gd name="connsiteY4102" fmla="*/ 2833955 h 4343113"/>
              <a:gd name="connsiteX4103" fmla="*/ 2586202 w 6666359"/>
              <a:gd name="connsiteY4103" fmla="*/ 2833955 h 4343113"/>
              <a:gd name="connsiteX4104" fmla="*/ 2589426 w 6666359"/>
              <a:gd name="connsiteY4104" fmla="*/ 2843629 h 4343113"/>
              <a:gd name="connsiteX4105" fmla="*/ 2586202 w 6666359"/>
              <a:gd name="connsiteY4105" fmla="*/ 2846854 h 4343113"/>
              <a:gd name="connsiteX4106" fmla="*/ 2589426 w 6666359"/>
              <a:gd name="connsiteY4106" fmla="*/ 2846854 h 4343113"/>
              <a:gd name="connsiteX4107" fmla="*/ 2586202 w 6666359"/>
              <a:gd name="connsiteY4107" fmla="*/ 2850079 h 4343113"/>
              <a:gd name="connsiteX4108" fmla="*/ 2573303 w 6666359"/>
              <a:gd name="connsiteY4108" fmla="*/ 2862978 h 4343113"/>
              <a:gd name="connsiteX4109" fmla="*/ 2563629 w 6666359"/>
              <a:gd name="connsiteY4109" fmla="*/ 2869426 h 4343113"/>
              <a:gd name="connsiteX4110" fmla="*/ 2553955 w 6666359"/>
              <a:gd name="connsiteY4110" fmla="*/ 2879101 h 4343113"/>
              <a:gd name="connsiteX4111" fmla="*/ 2547506 w 6666359"/>
              <a:gd name="connsiteY4111" fmla="*/ 2892000 h 4343113"/>
              <a:gd name="connsiteX4112" fmla="*/ 2547506 w 6666359"/>
              <a:gd name="connsiteY4112" fmla="*/ 2895225 h 4343113"/>
              <a:gd name="connsiteX4113" fmla="*/ 2541056 w 6666359"/>
              <a:gd name="connsiteY4113" fmla="*/ 2898449 h 4343113"/>
              <a:gd name="connsiteX4114" fmla="*/ 2537832 w 6666359"/>
              <a:gd name="connsiteY4114" fmla="*/ 2904899 h 4343113"/>
              <a:gd name="connsiteX4115" fmla="*/ 2528158 w 6666359"/>
              <a:gd name="connsiteY4115" fmla="*/ 2904899 h 4343113"/>
              <a:gd name="connsiteX4116" fmla="*/ 2528158 w 6666359"/>
              <a:gd name="connsiteY4116" fmla="*/ 2908123 h 4343113"/>
              <a:gd name="connsiteX4117" fmla="*/ 2537832 w 6666359"/>
              <a:gd name="connsiteY4117" fmla="*/ 2908123 h 4343113"/>
              <a:gd name="connsiteX4118" fmla="*/ 2544281 w 6666359"/>
              <a:gd name="connsiteY4118" fmla="*/ 2904899 h 4343113"/>
              <a:gd name="connsiteX4119" fmla="*/ 2563629 w 6666359"/>
              <a:gd name="connsiteY4119" fmla="*/ 2895225 h 4343113"/>
              <a:gd name="connsiteX4120" fmla="*/ 2570079 w 6666359"/>
              <a:gd name="connsiteY4120" fmla="*/ 2908123 h 4343113"/>
              <a:gd name="connsiteX4121" fmla="*/ 2573303 w 6666359"/>
              <a:gd name="connsiteY4121" fmla="*/ 2914573 h 4343113"/>
              <a:gd name="connsiteX4122" fmla="*/ 2582978 w 6666359"/>
              <a:gd name="connsiteY4122" fmla="*/ 2911348 h 4343113"/>
              <a:gd name="connsiteX4123" fmla="*/ 2579753 w 6666359"/>
              <a:gd name="connsiteY4123" fmla="*/ 2911348 h 4343113"/>
              <a:gd name="connsiteX4124" fmla="*/ 2573303 w 6666359"/>
              <a:gd name="connsiteY4124" fmla="*/ 2911348 h 4343113"/>
              <a:gd name="connsiteX4125" fmla="*/ 2570079 w 6666359"/>
              <a:gd name="connsiteY4125" fmla="*/ 2908123 h 4343113"/>
              <a:gd name="connsiteX4126" fmla="*/ 2570079 w 6666359"/>
              <a:gd name="connsiteY4126" fmla="*/ 2901674 h 4343113"/>
              <a:gd name="connsiteX4127" fmla="*/ 2573303 w 6666359"/>
              <a:gd name="connsiteY4127" fmla="*/ 2898449 h 4343113"/>
              <a:gd name="connsiteX4128" fmla="*/ 2570079 w 6666359"/>
              <a:gd name="connsiteY4128" fmla="*/ 2895225 h 4343113"/>
              <a:gd name="connsiteX4129" fmla="*/ 2570079 w 6666359"/>
              <a:gd name="connsiteY4129" fmla="*/ 2892000 h 4343113"/>
              <a:gd name="connsiteX4130" fmla="*/ 2570079 w 6666359"/>
              <a:gd name="connsiteY4130" fmla="*/ 2885550 h 4343113"/>
              <a:gd name="connsiteX4131" fmla="*/ 2573303 w 6666359"/>
              <a:gd name="connsiteY4131" fmla="*/ 2875876 h 4343113"/>
              <a:gd name="connsiteX4132" fmla="*/ 2589426 w 6666359"/>
              <a:gd name="connsiteY4132" fmla="*/ 2875876 h 4343113"/>
              <a:gd name="connsiteX4133" fmla="*/ 2592652 w 6666359"/>
              <a:gd name="connsiteY4133" fmla="*/ 2872652 h 4343113"/>
              <a:gd name="connsiteX4134" fmla="*/ 2599101 w 6666359"/>
              <a:gd name="connsiteY4134" fmla="*/ 2869426 h 4343113"/>
              <a:gd name="connsiteX4135" fmla="*/ 2599101 w 6666359"/>
              <a:gd name="connsiteY4135" fmla="*/ 2875876 h 4343113"/>
              <a:gd name="connsiteX4136" fmla="*/ 2612000 w 6666359"/>
              <a:gd name="connsiteY4136" fmla="*/ 2875876 h 4343113"/>
              <a:gd name="connsiteX4137" fmla="*/ 2615224 w 6666359"/>
              <a:gd name="connsiteY4137" fmla="*/ 2879101 h 4343113"/>
              <a:gd name="connsiteX4138" fmla="*/ 2618449 w 6666359"/>
              <a:gd name="connsiteY4138" fmla="*/ 2882326 h 4343113"/>
              <a:gd name="connsiteX4139" fmla="*/ 2615224 w 6666359"/>
              <a:gd name="connsiteY4139" fmla="*/ 2892000 h 4343113"/>
              <a:gd name="connsiteX4140" fmla="*/ 2612000 w 6666359"/>
              <a:gd name="connsiteY4140" fmla="*/ 2898449 h 4343113"/>
              <a:gd name="connsiteX4141" fmla="*/ 2612000 w 6666359"/>
              <a:gd name="connsiteY4141" fmla="*/ 2901674 h 4343113"/>
              <a:gd name="connsiteX4142" fmla="*/ 2608775 w 6666359"/>
              <a:gd name="connsiteY4142" fmla="*/ 2901674 h 4343113"/>
              <a:gd name="connsiteX4143" fmla="*/ 2602326 w 6666359"/>
              <a:gd name="connsiteY4143" fmla="*/ 2901674 h 4343113"/>
              <a:gd name="connsiteX4144" fmla="*/ 2592652 w 6666359"/>
              <a:gd name="connsiteY4144" fmla="*/ 2911348 h 4343113"/>
              <a:gd name="connsiteX4145" fmla="*/ 2599101 w 6666359"/>
              <a:gd name="connsiteY4145" fmla="*/ 2911348 h 4343113"/>
              <a:gd name="connsiteX4146" fmla="*/ 2612000 w 6666359"/>
              <a:gd name="connsiteY4146" fmla="*/ 2904899 h 4343113"/>
              <a:gd name="connsiteX4147" fmla="*/ 2615224 w 6666359"/>
              <a:gd name="connsiteY4147" fmla="*/ 2904899 h 4343113"/>
              <a:gd name="connsiteX4148" fmla="*/ 2618449 w 6666359"/>
              <a:gd name="connsiteY4148" fmla="*/ 2904899 h 4343113"/>
              <a:gd name="connsiteX4149" fmla="*/ 2618449 w 6666359"/>
              <a:gd name="connsiteY4149" fmla="*/ 2901674 h 4343113"/>
              <a:gd name="connsiteX4150" fmla="*/ 2621673 w 6666359"/>
              <a:gd name="connsiteY4150" fmla="*/ 2898449 h 4343113"/>
              <a:gd name="connsiteX4151" fmla="*/ 2624899 w 6666359"/>
              <a:gd name="connsiteY4151" fmla="*/ 2892000 h 4343113"/>
              <a:gd name="connsiteX4152" fmla="*/ 2624899 w 6666359"/>
              <a:gd name="connsiteY4152" fmla="*/ 2888775 h 4343113"/>
              <a:gd name="connsiteX4153" fmla="*/ 2634573 w 6666359"/>
              <a:gd name="connsiteY4153" fmla="*/ 2885550 h 4343113"/>
              <a:gd name="connsiteX4154" fmla="*/ 2637797 w 6666359"/>
              <a:gd name="connsiteY4154" fmla="*/ 2888775 h 4343113"/>
              <a:gd name="connsiteX4155" fmla="*/ 2647471 w 6666359"/>
              <a:gd name="connsiteY4155" fmla="*/ 2888775 h 4343113"/>
              <a:gd name="connsiteX4156" fmla="*/ 2660370 w 6666359"/>
              <a:gd name="connsiteY4156" fmla="*/ 2892000 h 4343113"/>
              <a:gd name="connsiteX4157" fmla="*/ 2673268 w 6666359"/>
              <a:gd name="connsiteY4157" fmla="*/ 2895225 h 4343113"/>
              <a:gd name="connsiteX4158" fmla="*/ 2686168 w 6666359"/>
              <a:gd name="connsiteY4158" fmla="*/ 2901674 h 4343113"/>
              <a:gd name="connsiteX4159" fmla="*/ 2689392 w 6666359"/>
              <a:gd name="connsiteY4159" fmla="*/ 2904899 h 4343113"/>
              <a:gd name="connsiteX4160" fmla="*/ 2692617 w 6666359"/>
              <a:gd name="connsiteY4160" fmla="*/ 2904899 h 4343113"/>
              <a:gd name="connsiteX4161" fmla="*/ 2695841 w 6666359"/>
              <a:gd name="connsiteY4161" fmla="*/ 2904899 h 4343113"/>
              <a:gd name="connsiteX4162" fmla="*/ 2702291 w 6666359"/>
              <a:gd name="connsiteY4162" fmla="*/ 2911348 h 4343113"/>
              <a:gd name="connsiteX4163" fmla="*/ 2705515 w 6666359"/>
              <a:gd name="connsiteY4163" fmla="*/ 2911348 h 4343113"/>
              <a:gd name="connsiteX4164" fmla="*/ 2705515 w 6666359"/>
              <a:gd name="connsiteY4164" fmla="*/ 2917797 h 4343113"/>
              <a:gd name="connsiteX4165" fmla="*/ 2708741 w 6666359"/>
              <a:gd name="connsiteY4165" fmla="*/ 2921022 h 4343113"/>
              <a:gd name="connsiteX4166" fmla="*/ 2705515 w 6666359"/>
              <a:gd name="connsiteY4166" fmla="*/ 2927472 h 4343113"/>
              <a:gd name="connsiteX4167" fmla="*/ 2702291 w 6666359"/>
              <a:gd name="connsiteY4167" fmla="*/ 2933921 h 4343113"/>
              <a:gd name="connsiteX4168" fmla="*/ 2699067 w 6666359"/>
              <a:gd name="connsiteY4168" fmla="*/ 2943594 h 4343113"/>
              <a:gd name="connsiteX4169" fmla="*/ 2705515 w 6666359"/>
              <a:gd name="connsiteY4169" fmla="*/ 2937146 h 4343113"/>
              <a:gd name="connsiteX4170" fmla="*/ 2708741 w 6666359"/>
              <a:gd name="connsiteY4170" fmla="*/ 2927472 h 4343113"/>
              <a:gd name="connsiteX4171" fmla="*/ 2718415 w 6666359"/>
              <a:gd name="connsiteY4171" fmla="*/ 2927472 h 4343113"/>
              <a:gd name="connsiteX4172" fmla="*/ 2721639 w 6666359"/>
              <a:gd name="connsiteY4172" fmla="*/ 2927472 h 4343113"/>
              <a:gd name="connsiteX4173" fmla="*/ 2731314 w 6666359"/>
              <a:gd name="connsiteY4173" fmla="*/ 2924247 h 4343113"/>
              <a:gd name="connsiteX4174" fmla="*/ 2744212 w 6666359"/>
              <a:gd name="connsiteY4174" fmla="*/ 2927472 h 4343113"/>
              <a:gd name="connsiteX4175" fmla="*/ 2763560 w 6666359"/>
              <a:gd name="connsiteY4175" fmla="*/ 2933921 h 4343113"/>
              <a:gd name="connsiteX4176" fmla="*/ 2782909 w 6666359"/>
              <a:gd name="connsiteY4176" fmla="*/ 2933921 h 4343113"/>
              <a:gd name="connsiteX4177" fmla="*/ 2789358 w 6666359"/>
              <a:gd name="connsiteY4177" fmla="*/ 2933921 h 4343113"/>
              <a:gd name="connsiteX4178" fmla="*/ 2802256 w 6666359"/>
              <a:gd name="connsiteY4178" fmla="*/ 2933921 h 4343113"/>
              <a:gd name="connsiteX4179" fmla="*/ 2824830 w 6666359"/>
              <a:gd name="connsiteY4179" fmla="*/ 2946820 h 4343113"/>
              <a:gd name="connsiteX4180" fmla="*/ 2837728 w 6666359"/>
              <a:gd name="connsiteY4180" fmla="*/ 2953269 h 4343113"/>
              <a:gd name="connsiteX4181" fmla="*/ 2847403 w 6666359"/>
              <a:gd name="connsiteY4181" fmla="*/ 2962943 h 4343113"/>
              <a:gd name="connsiteX4182" fmla="*/ 2892548 w 6666359"/>
              <a:gd name="connsiteY4182" fmla="*/ 2982291 h 4343113"/>
              <a:gd name="connsiteX4183" fmla="*/ 2902222 w 6666359"/>
              <a:gd name="connsiteY4183" fmla="*/ 2982291 h 4343113"/>
              <a:gd name="connsiteX4184" fmla="*/ 2915121 w 6666359"/>
              <a:gd name="connsiteY4184" fmla="*/ 3008089 h 4343113"/>
              <a:gd name="connsiteX4185" fmla="*/ 2918345 w 6666359"/>
              <a:gd name="connsiteY4185" fmla="*/ 3020988 h 4343113"/>
              <a:gd name="connsiteX4186" fmla="*/ 2918345 w 6666359"/>
              <a:gd name="connsiteY4186" fmla="*/ 3030662 h 4343113"/>
              <a:gd name="connsiteX4187" fmla="*/ 2918345 w 6666359"/>
              <a:gd name="connsiteY4187" fmla="*/ 3043561 h 4343113"/>
              <a:gd name="connsiteX4188" fmla="*/ 2918345 w 6666359"/>
              <a:gd name="connsiteY4188" fmla="*/ 3050009 h 4343113"/>
              <a:gd name="connsiteX4189" fmla="*/ 2915121 w 6666359"/>
              <a:gd name="connsiteY4189" fmla="*/ 3056459 h 4343113"/>
              <a:gd name="connsiteX4190" fmla="*/ 2915121 w 6666359"/>
              <a:gd name="connsiteY4190" fmla="*/ 3059684 h 4343113"/>
              <a:gd name="connsiteX4191" fmla="*/ 2911896 w 6666359"/>
              <a:gd name="connsiteY4191" fmla="*/ 3066133 h 4343113"/>
              <a:gd name="connsiteX4192" fmla="*/ 2905447 w 6666359"/>
              <a:gd name="connsiteY4192" fmla="*/ 3075808 h 4343113"/>
              <a:gd name="connsiteX4193" fmla="*/ 2895772 w 6666359"/>
              <a:gd name="connsiteY4193" fmla="*/ 3085482 h 4343113"/>
              <a:gd name="connsiteX4194" fmla="*/ 2889324 w 6666359"/>
              <a:gd name="connsiteY4194" fmla="*/ 3095156 h 4343113"/>
              <a:gd name="connsiteX4195" fmla="*/ 2882874 w 6666359"/>
              <a:gd name="connsiteY4195" fmla="*/ 3101605 h 4343113"/>
              <a:gd name="connsiteX4196" fmla="*/ 2879649 w 6666359"/>
              <a:gd name="connsiteY4196" fmla="*/ 3104830 h 4343113"/>
              <a:gd name="connsiteX4197" fmla="*/ 2869975 w 6666359"/>
              <a:gd name="connsiteY4197" fmla="*/ 3111279 h 4343113"/>
              <a:gd name="connsiteX4198" fmla="*/ 2866751 w 6666359"/>
              <a:gd name="connsiteY4198" fmla="*/ 3114504 h 4343113"/>
              <a:gd name="connsiteX4199" fmla="*/ 2866751 w 6666359"/>
              <a:gd name="connsiteY4199" fmla="*/ 3117729 h 4343113"/>
              <a:gd name="connsiteX4200" fmla="*/ 2863525 w 6666359"/>
              <a:gd name="connsiteY4200" fmla="*/ 3124177 h 4343113"/>
              <a:gd name="connsiteX4201" fmla="*/ 2857077 w 6666359"/>
              <a:gd name="connsiteY4201" fmla="*/ 3137077 h 4343113"/>
              <a:gd name="connsiteX4202" fmla="*/ 2840953 w 6666359"/>
              <a:gd name="connsiteY4202" fmla="*/ 3156424 h 4343113"/>
              <a:gd name="connsiteX4203" fmla="*/ 2837728 w 6666359"/>
              <a:gd name="connsiteY4203" fmla="*/ 3159650 h 4343113"/>
              <a:gd name="connsiteX4204" fmla="*/ 2831279 w 6666359"/>
              <a:gd name="connsiteY4204" fmla="*/ 3159650 h 4343113"/>
              <a:gd name="connsiteX4205" fmla="*/ 2828054 w 6666359"/>
              <a:gd name="connsiteY4205" fmla="*/ 3166098 h 4343113"/>
              <a:gd name="connsiteX4206" fmla="*/ 2828054 w 6666359"/>
              <a:gd name="connsiteY4206" fmla="*/ 3169324 h 4343113"/>
              <a:gd name="connsiteX4207" fmla="*/ 2828054 w 6666359"/>
              <a:gd name="connsiteY4207" fmla="*/ 3178998 h 4343113"/>
              <a:gd name="connsiteX4208" fmla="*/ 2828054 w 6666359"/>
              <a:gd name="connsiteY4208" fmla="*/ 3191897 h 4343113"/>
              <a:gd name="connsiteX4209" fmla="*/ 2828054 w 6666359"/>
              <a:gd name="connsiteY4209" fmla="*/ 3204795 h 4343113"/>
              <a:gd name="connsiteX4210" fmla="*/ 2828054 w 6666359"/>
              <a:gd name="connsiteY4210" fmla="*/ 3217694 h 4343113"/>
              <a:gd name="connsiteX4211" fmla="*/ 2828054 w 6666359"/>
              <a:gd name="connsiteY4211" fmla="*/ 3227368 h 4343113"/>
              <a:gd name="connsiteX4212" fmla="*/ 2828054 w 6666359"/>
              <a:gd name="connsiteY4212" fmla="*/ 3230592 h 4343113"/>
              <a:gd name="connsiteX4213" fmla="*/ 2824830 w 6666359"/>
              <a:gd name="connsiteY4213" fmla="*/ 3246716 h 4343113"/>
              <a:gd name="connsiteX4214" fmla="*/ 2821604 w 6666359"/>
              <a:gd name="connsiteY4214" fmla="*/ 3259615 h 4343113"/>
              <a:gd name="connsiteX4215" fmla="*/ 2821604 w 6666359"/>
              <a:gd name="connsiteY4215" fmla="*/ 3262839 h 4343113"/>
              <a:gd name="connsiteX4216" fmla="*/ 2818380 w 6666359"/>
              <a:gd name="connsiteY4216" fmla="*/ 3272513 h 4343113"/>
              <a:gd name="connsiteX4217" fmla="*/ 2811930 w 6666359"/>
              <a:gd name="connsiteY4217" fmla="*/ 3291862 h 4343113"/>
              <a:gd name="connsiteX4218" fmla="*/ 2811930 w 6666359"/>
              <a:gd name="connsiteY4218" fmla="*/ 3304760 h 4343113"/>
              <a:gd name="connsiteX4219" fmla="*/ 2808706 w 6666359"/>
              <a:gd name="connsiteY4219" fmla="*/ 3307986 h 4343113"/>
              <a:gd name="connsiteX4220" fmla="*/ 2805481 w 6666359"/>
              <a:gd name="connsiteY4220" fmla="*/ 3311210 h 4343113"/>
              <a:gd name="connsiteX4221" fmla="*/ 2802256 w 6666359"/>
              <a:gd name="connsiteY4221" fmla="*/ 3317660 h 4343113"/>
              <a:gd name="connsiteX4222" fmla="*/ 2799032 w 6666359"/>
              <a:gd name="connsiteY4222" fmla="*/ 3324109 h 4343113"/>
              <a:gd name="connsiteX4223" fmla="*/ 2792583 w 6666359"/>
              <a:gd name="connsiteY4223" fmla="*/ 3333783 h 4343113"/>
              <a:gd name="connsiteX4224" fmla="*/ 2789358 w 6666359"/>
              <a:gd name="connsiteY4224" fmla="*/ 3337007 h 4343113"/>
              <a:gd name="connsiteX4225" fmla="*/ 2786133 w 6666359"/>
              <a:gd name="connsiteY4225" fmla="*/ 3340233 h 4343113"/>
              <a:gd name="connsiteX4226" fmla="*/ 2782909 w 6666359"/>
              <a:gd name="connsiteY4226" fmla="*/ 3356356 h 4343113"/>
              <a:gd name="connsiteX4227" fmla="*/ 2782909 w 6666359"/>
              <a:gd name="connsiteY4227" fmla="*/ 3366030 h 4343113"/>
              <a:gd name="connsiteX4228" fmla="*/ 2770009 w 6666359"/>
              <a:gd name="connsiteY4228" fmla="*/ 3369254 h 4343113"/>
              <a:gd name="connsiteX4229" fmla="*/ 2760336 w 6666359"/>
              <a:gd name="connsiteY4229" fmla="*/ 3378928 h 4343113"/>
              <a:gd name="connsiteX4230" fmla="*/ 2760336 w 6666359"/>
              <a:gd name="connsiteY4230" fmla="*/ 3382154 h 4343113"/>
              <a:gd name="connsiteX4231" fmla="*/ 2757111 w 6666359"/>
              <a:gd name="connsiteY4231" fmla="*/ 3385378 h 4343113"/>
              <a:gd name="connsiteX4232" fmla="*/ 2728089 w 6666359"/>
              <a:gd name="connsiteY4232" fmla="*/ 3388602 h 4343113"/>
              <a:gd name="connsiteX4233" fmla="*/ 2718415 w 6666359"/>
              <a:gd name="connsiteY4233" fmla="*/ 3385378 h 4343113"/>
              <a:gd name="connsiteX4234" fmla="*/ 2711965 w 6666359"/>
              <a:gd name="connsiteY4234" fmla="*/ 3385378 h 4343113"/>
              <a:gd name="connsiteX4235" fmla="*/ 2705515 w 6666359"/>
              <a:gd name="connsiteY4235" fmla="*/ 3385378 h 4343113"/>
              <a:gd name="connsiteX4236" fmla="*/ 2702291 w 6666359"/>
              <a:gd name="connsiteY4236" fmla="*/ 3388602 h 4343113"/>
              <a:gd name="connsiteX4237" fmla="*/ 2702291 w 6666359"/>
              <a:gd name="connsiteY4237" fmla="*/ 3395052 h 4343113"/>
              <a:gd name="connsiteX4238" fmla="*/ 2689392 w 6666359"/>
              <a:gd name="connsiteY4238" fmla="*/ 3401502 h 4343113"/>
              <a:gd name="connsiteX4239" fmla="*/ 2676494 w 6666359"/>
              <a:gd name="connsiteY4239" fmla="*/ 3404726 h 4343113"/>
              <a:gd name="connsiteX4240" fmla="*/ 2663594 w 6666359"/>
              <a:gd name="connsiteY4240" fmla="*/ 3411175 h 4343113"/>
              <a:gd name="connsiteX4241" fmla="*/ 2650696 w 6666359"/>
              <a:gd name="connsiteY4241" fmla="*/ 3417625 h 4343113"/>
              <a:gd name="connsiteX4242" fmla="*/ 2650696 w 6666359"/>
              <a:gd name="connsiteY4242" fmla="*/ 3420849 h 4343113"/>
              <a:gd name="connsiteX4243" fmla="*/ 2647471 w 6666359"/>
              <a:gd name="connsiteY4243" fmla="*/ 3424075 h 4343113"/>
              <a:gd name="connsiteX4244" fmla="*/ 2644247 w 6666359"/>
              <a:gd name="connsiteY4244" fmla="*/ 3427299 h 4343113"/>
              <a:gd name="connsiteX4245" fmla="*/ 2631347 w 6666359"/>
              <a:gd name="connsiteY4245" fmla="*/ 3436973 h 4343113"/>
              <a:gd name="connsiteX4246" fmla="*/ 2621673 w 6666359"/>
              <a:gd name="connsiteY4246" fmla="*/ 3443422 h 4343113"/>
              <a:gd name="connsiteX4247" fmla="*/ 2618449 w 6666359"/>
              <a:gd name="connsiteY4247" fmla="*/ 3449872 h 4343113"/>
              <a:gd name="connsiteX4248" fmla="*/ 2618449 w 6666359"/>
              <a:gd name="connsiteY4248" fmla="*/ 3456322 h 4343113"/>
              <a:gd name="connsiteX4249" fmla="*/ 2615224 w 6666359"/>
              <a:gd name="connsiteY4249" fmla="*/ 3465996 h 4343113"/>
              <a:gd name="connsiteX4250" fmla="*/ 2615224 w 6666359"/>
              <a:gd name="connsiteY4250" fmla="*/ 3469220 h 4343113"/>
              <a:gd name="connsiteX4251" fmla="*/ 2615224 w 6666359"/>
              <a:gd name="connsiteY4251" fmla="*/ 3485343 h 4343113"/>
              <a:gd name="connsiteX4252" fmla="*/ 2615224 w 6666359"/>
              <a:gd name="connsiteY4252" fmla="*/ 3498243 h 4343113"/>
              <a:gd name="connsiteX4253" fmla="*/ 2615224 w 6666359"/>
              <a:gd name="connsiteY4253" fmla="*/ 3511141 h 4343113"/>
              <a:gd name="connsiteX4254" fmla="*/ 2615224 w 6666359"/>
              <a:gd name="connsiteY4254" fmla="*/ 3517591 h 4343113"/>
              <a:gd name="connsiteX4255" fmla="*/ 2612000 w 6666359"/>
              <a:gd name="connsiteY4255" fmla="*/ 3524040 h 4343113"/>
              <a:gd name="connsiteX4256" fmla="*/ 2592652 w 6666359"/>
              <a:gd name="connsiteY4256" fmla="*/ 3543388 h 4343113"/>
              <a:gd name="connsiteX4257" fmla="*/ 2582978 w 6666359"/>
              <a:gd name="connsiteY4257" fmla="*/ 3556287 h 4343113"/>
              <a:gd name="connsiteX4258" fmla="*/ 2579753 w 6666359"/>
              <a:gd name="connsiteY4258" fmla="*/ 3565961 h 4343113"/>
              <a:gd name="connsiteX4259" fmla="*/ 2563629 w 6666359"/>
              <a:gd name="connsiteY4259" fmla="*/ 3591759 h 4343113"/>
              <a:gd name="connsiteX4260" fmla="*/ 2541056 w 6666359"/>
              <a:gd name="connsiteY4260" fmla="*/ 3611106 h 4343113"/>
              <a:gd name="connsiteX4261" fmla="*/ 2541056 w 6666359"/>
              <a:gd name="connsiteY4261" fmla="*/ 3604658 h 4343113"/>
              <a:gd name="connsiteX4262" fmla="*/ 2544281 w 6666359"/>
              <a:gd name="connsiteY4262" fmla="*/ 3604658 h 4343113"/>
              <a:gd name="connsiteX4263" fmla="*/ 2550731 w 6666359"/>
              <a:gd name="connsiteY4263" fmla="*/ 3601432 h 4343113"/>
              <a:gd name="connsiteX4264" fmla="*/ 2560405 w 6666359"/>
              <a:gd name="connsiteY4264" fmla="*/ 3591759 h 4343113"/>
              <a:gd name="connsiteX4265" fmla="*/ 2563629 w 6666359"/>
              <a:gd name="connsiteY4265" fmla="*/ 3585309 h 4343113"/>
              <a:gd name="connsiteX4266" fmla="*/ 2570079 w 6666359"/>
              <a:gd name="connsiteY4266" fmla="*/ 3575635 h 4343113"/>
              <a:gd name="connsiteX4267" fmla="*/ 2573303 w 6666359"/>
              <a:gd name="connsiteY4267" fmla="*/ 3565961 h 4343113"/>
              <a:gd name="connsiteX4268" fmla="*/ 2570079 w 6666359"/>
              <a:gd name="connsiteY4268" fmla="*/ 3562737 h 4343113"/>
              <a:gd name="connsiteX4269" fmla="*/ 2566854 w 6666359"/>
              <a:gd name="connsiteY4269" fmla="*/ 3565961 h 4343113"/>
              <a:gd name="connsiteX4270" fmla="*/ 2557179 w 6666359"/>
              <a:gd name="connsiteY4270" fmla="*/ 3559512 h 4343113"/>
              <a:gd name="connsiteX4271" fmla="*/ 2550731 w 6666359"/>
              <a:gd name="connsiteY4271" fmla="*/ 3588534 h 4343113"/>
              <a:gd name="connsiteX4272" fmla="*/ 2541056 w 6666359"/>
              <a:gd name="connsiteY4272" fmla="*/ 3591759 h 4343113"/>
              <a:gd name="connsiteX4273" fmla="*/ 2537832 w 6666359"/>
              <a:gd name="connsiteY4273" fmla="*/ 3601432 h 4343113"/>
              <a:gd name="connsiteX4274" fmla="*/ 2537832 w 6666359"/>
              <a:gd name="connsiteY4274" fmla="*/ 3607882 h 4343113"/>
              <a:gd name="connsiteX4275" fmla="*/ 2537832 w 6666359"/>
              <a:gd name="connsiteY4275" fmla="*/ 3614332 h 4343113"/>
              <a:gd name="connsiteX4276" fmla="*/ 2534607 w 6666359"/>
              <a:gd name="connsiteY4276" fmla="*/ 3620781 h 4343113"/>
              <a:gd name="connsiteX4277" fmla="*/ 2528158 w 6666359"/>
              <a:gd name="connsiteY4277" fmla="*/ 3636905 h 4343113"/>
              <a:gd name="connsiteX4278" fmla="*/ 2521708 w 6666359"/>
              <a:gd name="connsiteY4278" fmla="*/ 3643353 h 4343113"/>
              <a:gd name="connsiteX4279" fmla="*/ 2512034 w 6666359"/>
              <a:gd name="connsiteY4279" fmla="*/ 3653027 h 4343113"/>
              <a:gd name="connsiteX4280" fmla="*/ 2512035 w 6666359"/>
              <a:gd name="connsiteY4280" fmla="*/ 3653028 h 4343113"/>
              <a:gd name="connsiteX4281" fmla="*/ 2505586 w 6666359"/>
              <a:gd name="connsiteY4281" fmla="*/ 3665928 h 4343113"/>
              <a:gd name="connsiteX4282" fmla="*/ 2502361 w 6666359"/>
              <a:gd name="connsiteY4282" fmla="*/ 3672377 h 4343113"/>
              <a:gd name="connsiteX4283" fmla="*/ 2495912 w 6666359"/>
              <a:gd name="connsiteY4283" fmla="*/ 3678827 h 4343113"/>
              <a:gd name="connsiteX4284" fmla="*/ 2483013 w 6666359"/>
              <a:gd name="connsiteY4284" fmla="*/ 3685275 h 4343113"/>
              <a:gd name="connsiteX4285" fmla="*/ 2476564 w 6666359"/>
              <a:gd name="connsiteY4285" fmla="*/ 3685275 h 4343113"/>
              <a:gd name="connsiteX4286" fmla="*/ 2473339 w 6666359"/>
              <a:gd name="connsiteY4286" fmla="*/ 3685275 h 4343113"/>
              <a:gd name="connsiteX4287" fmla="*/ 2460440 w 6666359"/>
              <a:gd name="connsiteY4287" fmla="*/ 3682051 h 4343113"/>
              <a:gd name="connsiteX4288" fmla="*/ 2450767 w 6666359"/>
              <a:gd name="connsiteY4288" fmla="*/ 3685275 h 4343113"/>
              <a:gd name="connsiteX4289" fmla="*/ 2437867 w 6666359"/>
              <a:gd name="connsiteY4289" fmla="*/ 3678827 h 4343113"/>
              <a:gd name="connsiteX4290" fmla="*/ 2434643 w 6666359"/>
              <a:gd name="connsiteY4290" fmla="*/ 3675601 h 4343113"/>
              <a:gd name="connsiteX4291" fmla="*/ 2428193 w 6666359"/>
              <a:gd name="connsiteY4291" fmla="*/ 3672377 h 4343113"/>
              <a:gd name="connsiteX4292" fmla="*/ 2421744 w 6666359"/>
              <a:gd name="connsiteY4292" fmla="*/ 3672377 h 4343113"/>
              <a:gd name="connsiteX4293" fmla="*/ 2415294 w 6666359"/>
              <a:gd name="connsiteY4293" fmla="*/ 3672377 h 4343113"/>
              <a:gd name="connsiteX4294" fmla="*/ 2408845 w 6666359"/>
              <a:gd name="connsiteY4294" fmla="*/ 3665928 h 4343113"/>
              <a:gd name="connsiteX4295" fmla="*/ 2402396 w 6666359"/>
              <a:gd name="connsiteY4295" fmla="*/ 3665928 h 4343113"/>
              <a:gd name="connsiteX4296" fmla="*/ 2402396 w 6666359"/>
              <a:gd name="connsiteY4296" fmla="*/ 3669152 h 4343113"/>
              <a:gd name="connsiteX4297" fmla="*/ 2399171 w 6666359"/>
              <a:gd name="connsiteY4297" fmla="*/ 3669152 h 4343113"/>
              <a:gd name="connsiteX4298" fmla="*/ 2402396 w 6666359"/>
              <a:gd name="connsiteY4298" fmla="*/ 3675601 h 4343113"/>
              <a:gd name="connsiteX4299" fmla="*/ 2412070 w 6666359"/>
              <a:gd name="connsiteY4299" fmla="*/ 3682051 h 4343113"/>
              <a:gd name="connsiteX4300" fmla="*/ 2424968 w 6666359"/>
              <a:gd name="connsiteY4300" fmla="*/ 3691725 h 4343113"/>
              <a:gd name="connsiteX4301" fmla="*/ 2428193 w 6666359"/>
              <a:gd name="connsiteY4301" fmla="*/ 3698175 h 4343113"/>
              <a:gd name="connsiteX4302" fmla="*/ 2428193 w 6666359"/>
              <a:gd name="connsiteY4302" fmla="*/ 3704624 h 4343113"/>
              <a:gd name="connsiteX4303" fmla="*/ 2424968 w 6666359"/>
              <a:gd name="connsiteY4303" fmla="*/ 3714298 h 4343113"/>
              <a:gd name="connsiteX4304" fmla="*/ 2434643 w 6666359"/>
              <a:gd name="connsiteY4304" fmla="*/ 3723972 h 4343113"/>
              <a:gd name="connsiteX4305" fmla="*/ 2437867 w 6666359"/>
              <a:gd name="connsiteY4305" fmla="*/ 3727196 h 4343113"/>
              <a:gd name="connsiteX4306" fmla="*/ 2437867 w 6666359"/>
              <a:gd name="connsiteY4306" fmla="*/ 3740096 h 4343113"/>
              <a:gd name="connsiteX4307" fmla="*/ 2428193 w 6666359"/>
              <a:gd name="connsiteY4307" fmla="*/ 3756219 h 4343113"/>
              <a:gd name="connsiteX4308" fmla="*/ 2421744 w 6666359"/>
              <a:gd name="connsiteY4308" fmla="*/ 3769118 h 4343113"/>
              <a:gd name="connsiteX4309" fmla="*/ 2421744 w 6666359"/>
              <a:gd name="connsiteY4309" fmla="*/ 3772343 h 4343113"/>
              <a:gd name="connsiteX4310" fmla="*/ 2415294 w 6666359"/>
              <a:gd name="connsiteY4310" fmla="*/ 3775567 h 4343113"/>
              <a:gd name="connsiteX4311" fmla="*/ 2402396 w 6666359"/>
              <a:gd name="connsiteY4311" fmla="*/ 3782016 h 4343113"/>
              <a:gd name="connsiteX4312" fmla="*/ 2350800 w 6666359"/>
              <a:gd name="connsiteY4312" fmla="*/ 3794916 h 4343113"/>
              <a:gd name="connsiteX4313" fmla="*/ 2325003 w 6666359"/>
              <a:gd name="connsiteY4313" fmla="*/ 3794916 h 4343113"/>
              <a:gd name="connsiteX4314" fmla="*/ 2321778 w 6666359"/>
              <a:gd name="connsiteY4314" fmla="*/ 3794916 h 4343113"/>
              <a:gd name="connsiteX4315" fmla="*/ 2321778 w 6666359"/>
              <a:gd name="connsiteY4315" fmla="*/ 3791690 h 4343113"/>
              <a:gd name="connsiteX4316" fmla="*/ 2315329 w 6666359"/>
              <a:gd name="connsiteY4316" fmla="*/ 3791690 h 4343113"/>
              <a:gd name="connsiteX4317" fmla="*/ 2315329 w 6666359"/>
              <a:gd name="connsiteY4317" fmla="*/ 3794916 h 4343113"/>
              <a:gd name="connsiteX4318" fmla="*/ 2315329 w 6666359"/>
              <a:gd name="connsiteY4318" fmla="*/ 3804590 h 4343113"/>
              <a:gd name="connsiteX4319" fmla="*/ 2318554 w 6666359"/>
              <a:gd name="connsiteY4319" fmla="*/ 3804590 h 4343113"/>
              <a:gd name="connsiteX4320" fmla="*/ 2321778 w 6666359"/>
              <a:gd name="connsiteY4320" fmla="*/ 3807814 h 4343113"/>
              <a:gd name="connsiteX4321" fmla="*/ 2321778 w 6666359"/>
              <a:gd name="connsiteY4321" fmla="*/ 3814264 h 4343113"/>
              <a:gd name="connsiteX4322" fmla="*/ 2318554 w 6666359"/>
              <a:gd name="connsiteY4322" fmla="*/ 3820713 h 4343113"/>
              <a:gd name="connsiteX4323" fmla="*/ 2315329 w 6666359"/>
              <a:gd name="connsiteY4323" fmla="*/ 3820713 h 4343113"/>
              <a:gd name="connsiteX4324" fmla="*/ 2315329 w 6666359"/>
              <a:gd name="connsiteY4324" fmla="*/ 3823937 h 4343113"/>
              <a:gd name="connsiteX4325" fmla="*/ 2315329 w 6666359"/>
              <a:gd name="connsiteY4325" fmla="*/ 3830387 h 4343113"/>
              <a:gd name="connsiteX4326" fmla="*/ 2312104 w 6666359"/>
              <a:gd name="connsiteY4326" fmla="*/ 3833611 h 4343113"/>
              <a:gd name="connsiteX4327" fmla="*/ 2315329 w 6666359"/>
              <a:gd name="connsiteY4327" fmla="*/ 3840061 h 4343113"/>
              <a:gd name="connsiteX4328" fmla="*/ 2318554 w 6666359"/>
              <a:gd name="connsiteY4328" fmla="*/ 3843286 h 4343113"/>
              <a:gd name="connsiteX4329" fmla="*/ 2315329 w 6666359"/>
              <a:gd name="connsiteY4329" fmla="*/ 3849735 h 4343113"/>
              <a:gd name="connsiteX4330" fmla="*/ 2305655 w 6666359"/>
              <a:gd name="connsiteY4330" fmla="*/ 3856184 h 4343113"/>
              <a:gd name="connsiteX4331" fmla="*/ 2295981 w 6666359"/>
              <a:gd name="connsiteY4331" fmla="*/ 3859410 h 4343113"/>
              <a:gd name="connsiteX4332" fmla="*/ 2283082 w 6666359"/>
              <a:gd name="connsiteY4332" fmla="*/ 3859410 h 4343113"/>
              <a:gd name="connsiteX4333" fmla="*/ 2266958 w 6666359"/>
              <a:gd name="connsiteY4333" fmla="*/ 3849735 h 4343113"/>
              <a:gd name="connsiteX4334" fmla="*/ 2263734 w 6666359"/>
              <a:gd name="connsiteY4334" fmla="*/ 3846511 h 4343113"/>
              <a:gd name="connsiteX4335" fmla="*/ 2260510 w 6666359"/>
              <a:gd name="connsiteY4335" fmla="*/ 3846511 h 4343113"/>
              <a:gd name="connsiteX4336" fmla="*/ 2254060 w 6666359"/>
              <a:gd name="connsiteY4336" fmla="*/ 3856184 h 4343113"/>
              <a:gd name="connsiteX4337" fmla="*/ 2257284 w 6666359"/>
              <a:gd name="connsiteY4337" fmla="*/ 3869084 h 4343113"/>
              <a:gd name="connsiteX4338" fmla="*/ 2257284 w 6666359"/>
              <a:gd name="connsiteY4338" fmla="*/ 3878758 h 4343113"/>
              <a:gd name="connsiteX4339" fmla="*/ 2254060 w 6666359"/>
              <a:gd name="connsiteY4339" fmla="*/ 3881982 h 4343113"/>
              <a:gd name="connsiteX4340" fmla="*/ 2266958 w 6666359"/>
              <a:gd name="connsiteY4340" fmla="*/ 3894881 h 4343113"/>
              <a:gd name="connsiteX4341" fmla="*/ 2276632 w 6666359"/>
              <a:gd name="connsiteY4341" fmla="*/ 3894881 h 4343113"/>
              <a:gd name="connsiteX4342" fmla="*/ 2273408 w 6666359"/>
              <a:gd name="connsiteY4342" fmla="*/ 3888432 h 4343113"/>
              <a:gd name="connsiteX4343" fmla="*/ 2286307 w 6666359"/>
              <a:gd name="connsiteY4343" fmla="*/ 3885207 h 4343113"/>
              <a:gd name="connsiteX4344" fmla="*/ 2289531 w 6666359"/>
              <a:gd name="connsiteY4344" fmla="*/ 3898105 h 4343113"/>
              <a:gd name="connsiteX4345" fmla="*/ 2286307 w 6666359"/>
              <a:gd name="connsiteY4345" fmla="*/ 3907779 h 4343113"/>
              <a:gd name="connsiteX4346" fmla="*/ 2276632 w 6666359"/>
              <a:gd name="connsiteY4346" fmla="*/ 3907779 h 4343113"/>
              <a:gd name="connsiteX4347" fmla="*/ 2273408 w 6666359"/>
              <a:gd name="connsiteY4347" fmla="*/ 3904555 h 4343113"/>
              <a:gd name="connsiteX4348" fmla="*/ 2273408 w 6666359"/>
              <a:gd name="connsiteY4348" fmla="*/ 3901331 h 4343113"/>
              <a:gd name="connsiteX4349" fmla="*/ 2263734 w 6666359"/>
              <a:gd name="connsiteY4349" fmla="*/ 3898105 h 4343113"/>
              <a:gd name="connsiteX4350" fmla="*/ 2257284 w 6666359"/>
              <a:gd name="connsiteY4350" fmla="*/ 3904555 h 4343113"/>
              <a:gd name="connsiteX4351" fmla="*/ 2266958 w 6666359"/>
              <a:gd name="connsiteY4351" fmla="*/ 3911005 h 4343113"/>
              <a:gd name="connsiteX4352" fmla="*/ 2257284 w 6666359"/>
              <a:gd name="connsiteY4352" fmla="*/ 3920679 h 4343113"/>
              <a:gd name="connsiteX4353" fmla="*/ 2254060 w 6666359"/>
              <a:gd name="connsiteY4353" fmla="*/ 3923903 h 4343113"/>
              <a:gd name="connsiteX4354" fmla="*/ 2254060 w 6666359"/>
              <a:gd name="connsiteY4354" fmla="*/ 3927128 h 4343113"/>
              <a:gd name="connsiteX4355" fmla="*/ 2250835 w 6666359"/>
              <a:gd name="connsiteY4355" fmla="*/ 3933578 h 4343113"/>
              <a:gd name="connsiteX4356" fmla="*/ 2250835 w 6666359"/>
              <a:gd name="connsiteY4356" fmla="*/ 3943252 h 4343113"/>
              <a:gd name="connsiteX4357" fmla="*/ 2247610 w 6666359"/>
              <a:gd name="connsiteY4357" fmla="*/ 3959375 h 4343113"/>
              <a:gd name="connsiteX4358" fmla="*/ 2234711 w 6666359"/>
              <a:gd name="connsiteY4358" fmla="*/ 3969049 h 4343113"/>
              <a:gd name="connsiteX4359" fmla="*/ 2225037 w 6666359"/>
              <a:gd name="connsiteY4359" fmla="*/ 3975499 h 4343113"/>
              <a:gd name="connsiteX4360" fmla="*/ 2212139 w 6666359"/>
              <a:gd name="connsiteY4360" fmla="*/ 3985173 h 4343113"/>
              <a:gd name="connsiteX4361" fmla="*/ 2202465 w 6666359"/>
              <a:gd name="connsiteY4361" fmla="*/ 3998071 h 4343113"/>
              <a:gd name="connsiteX4362" fmla="*/ 2199240 w 6666359"/>
              <a:gd name="connsiteY4362" fmla="*/ 4010970 h 4343113"/>
              <a:gd name="connsiteX4363" fmla="*/ 2208914 w 6666359"/>
              <a:gd name="connsiteY4363" fmla="*/ 4027094 h 4343113"/>
              <a:gd name="connsiteX4364" fmla="*/ 2215363 w 6666359"/>
              <a:gd name="connsiteY4364" fmla="*/ 4036767 h 4343113"/>
              <a:gd name="connsiteX4365" fmla="*/ 2225037 w 6666359"/>
              <a:gd name="connsiteY4365" fmla="*/ 4036767 h 4343113"/>
              <a:gd name="connsiteX4366" fmla="*/ 2231487 w 6666359"/>
              <a:gd name="connsiteY4366" fmla="*/ 4039992 h 4343113"/>
              <a:gd name="connsiteX4367" fmla="*/ 2234711 w 6666359"/>
              <a:gd name="connsiteY4367" fmla="*/ 4039992 h 4343113"/>
              <a:gd name="connsiteX4368" fmla="*/ 2241161 w 6666359"/>
              <a:gd name="connsiteY4368" fmla="*/ 4046441 h 4343113"/>
              <a:gd name="connsiteX4369" fmla="*/ 2241161 w 6666359"/>
              <a:gd name="connsiteY4369" fmla="*/ 4056115 h 4343113"/>
              <a:gd name="connsiteX4370" fmla="*/ 2237937 w 6666359"/>
              <a:gd name="connsiteY4370" fmla="*/ 4062565 h 4343113"/>
              <a:gd name="connsiteX4371" fmla="*/ 2237937 w 6666359"/>
              <a:gd name="connsiteY4371" fmla="*/ 4069014 h 4343113"/>
              <a:gd name="connsiteX4372" fmla="*/ 2231487 w 6666359"/>
              <a:gd name="connsiteY4372" fmla="*/ 4075464 h 4343113"/>
              <a:gd name="connsiteX4373" fmla="*/ 2221813 w 6666359"/>
              <a:gd name="connsiteY4373" fmla="*/ 4081914 h 4343113"/>
              <a:gd name="connsiteX4374" fmla="*/ 2208914 w 6666359"/>
              <a:gd name="connsiteY4374" fmla="*/ 4094812 h 4343113"/>
              <a:gd name="connsiteX4375" fmla="*/ 2199240 w 6666359"/>
              <a:gd name="connsiteY4375" fmla="*/ 4104486 h 4343113"/>
              <a:gd name="connsiteX4376" fmla="*/ 2199240 w 6666359"/>
              <a:gd name="connsiteY4376" fmla="*/ 4110935 h 4343113"/>
              <a:gd name="connsiteX4377" fmla="*/ 2196016 w 6666359"/>
              <a:gd name="connsiteY4377" fmla="*/ 4127059 h 4343113"/>
              <a:gd name="connsiteX4378" fmla="*/ 2192790 w 6666359"/>
              <a:gd name="connsiteY4378" fmla="*/ 4136733 h 4343113"/>
              <a:gd name="connsiteX4379" fmla="*/ 2186342 w 6666359"/>
              <a:gd name="connsiteY4379" fmla="*/ 4139958 h 4343113"/>
              <a:gd name="connsiteX4380" fmla="*/ 2183116 w 6666359"/>
              <a:gd name="connsiteY4380" fmla="*/ 4139958 h 4343113"/>
              <a:gd name="connsiteX4381" fmla="*/ 2179892 w 6666359"/>
              <a:gd name="connsiteY4381" fmla="*/ 4143182 h 4343113"/>
              <a:gd name="connsiteX4382" fmla="*/ 2176667 w 6666359"/>
              <a:gd name="connsiteY4382" fmla="*/ 4143182 h 4343113"/>
              <a:gd name="connsiteX4383" fmla="*/ 2166993 w 6666359"/>
              <a:gd name="connsiteY4383" fmla="*/ 4152856 h 4343113"/>
              <a:gd name="connsiteX4384" fmla="*/ 2166993 w 6666359"/>
              <a:gd name="connsiteY4384" fmla="*/ 4162530 h 4343113"/>
              <a:gd name="connsiteX4385" fmla="*/ 2166993 w 6666359"/>
              <a:gd name="connsiteY4385" fmla="*/ 4168980 h 4343113"/>
              <a:gd name="connsiteX4386" fmla="*/ 2166993 w 6666359"/>
              <a:gd name="connsiteY4386" fmla="*/ 4172205 h 4343113"/>
              <a:gd name="connsiteX4387" fmla="*/ 2170218 w 6666359"/>
              <a:gd name="connsiteY4387" fmla="*/ 4181879 h 4343113"/>
              <a:gd name="connsiteX4388" fmla="*/ 2170218 w 6666359"/>
              <a:gd name="connsiteY4388" fmla="*/ 4188328 h 4343113"/>
              <a:gd name="connsiteX4389" fmla="*/ 2176667 w 6666359"/>
              <a:gd name="connsiteY4389" fmla="*/ 4204451 h 4343113"/>
              <a:gd name="connsiteX4390" fmla="*/ 2183116 w 6666359"/>
              <a:gd name="connsiteY4390" fmla="*/ 4217350 h 4343113"/>
              <a:gd name="connsiteX4391" fmla="*/ 2173442 w 6666359"/>
              <a:gd name="connsiteY4391" fmla="*/ 4214126 h 4343113"/>
              <a:gd name="connsiteX4392" fmla="*/ 2163769 w 6666359"/>
              <a:gd name="connsiteY4392" fmla="*/ 4210901 h 4343113"/>
              <a:gd name="connsiteX4393" fmla="*/ 2162454 w 6666359"/>
              <a:gd name="connsiteY4393" fmla="*/ 4210463 h 4343113"/>
              <a:gd name="connsiteX4394" fmla="*/ 2163767 w 6666359"/>
              <a:gd name="connsiteY4394" fmla="*/ 4210901 h 4343113"/>
              <a:gd name="connsiteX4395" fmla="*/ 2173441 w 6666359"/>
              <a:gd name="connsiteY4395" fmla="*/ 4214126 h 4343113"/>
              <a:gd name="connsiteX4396" fmla="*/ 2183115 w 6666359"/>
              <a:gd name="connsiteY4396" fmla="*/ 4217350 h 4343113"/>
              <a:gd name="connsiteX4397" fmla="*/ 2166992 w 6666359"/>
              <a:gd name="connsiteY4397" fmla="*/ 4214126 h 4343113"/>
              <a:gd name="connsiteX4398" fmla="*/ 2158078 w 6666359"/>
              <a:gd name="connsiteY4398" fmla="*/ 4217098 h 4343113"/>
              <a:gd name="connsiteX4399" fmla="*/ 2156998 w 6666359"/>
              <a:gd name="connsiteY4399" fmla="*/ 4217671 h 4343113"/>
              <a:gd name="connsiteX4400" fmla="*/ 2150868 w 6666359"/>
              <a:gd name="connsiteY4400" fmla="*/ 4223800 h 4343113"/>
              <a:gd name="connsiteX4401" fmla="*/ 2141194 w 6666359"/>
              <a:gd name="connsiteY4401" fmla="*/ 4227024 h 4343113"/>
              <a:gd name="connsiteX4402" fmla="*/ 2134745 w 6666359"/>
              <a:gd name="connsiteY4402" fmla="*/ 4230250 h 4343113"/>
              <a:gd name="connsiteX4403" fmla="*/ 2128296 w 6666359"/>
              <a:gd name="connsiteY4403" fmla="*/ 4236698 h 4343113"/>
              <a:gd name="connsiteX4404" fmla="*/ 2125071 w 6666359"/>
              <a:gd name="connsiteY4404" fmla="*/ 4256047 h 4343113"/>
              <a:gd name="connsiteX4405" fmla="*/ 2125071 w 6666359"/>
              <a:gd name="connsiteY4405" fmla="*/ 4268945 h 4343113"/>
              <a:gd name="connsiteX4406" fmla="*/ 2102499 w 6666359"/>
              <a:gd name="connsiteY4406" fmla="*/ 4265721 h 4343113"/>
              <a:gd name="connsiteX4407" fmla="*/ 2096049 w 6666359"/>
              <a:gd name="connsiteY4407" fmla="*/ 4262496 h 4343113"/>
              <a:gd name="connsiteX4408" fmla="*/ 2092824 w 6666359"/>
              <a:gd name="connsiteY4408" fmla="*/ 4259271 h 4343113"/>
              <a:gd name="connsiteX4409" fmla="*/ 2079926 w 6666359"/>
              <a:gd name="connsiteY4409" fmla="*/ 4252822 h 4343113"/>
              <a:gd name="connsiteX4410" fmla="*/ 2073476 w 6666359"/>
              <a:gd name="connsiteY4410" fmla="*/ 4239924 h 4343113"/>
              <a:gd name="connsiteX4411" fmla="*/ 2070252 w 6666359"/>
              <a:gd name="connsiteY4411" fmla="*/ 4230250 h 4343113"/>
              <a:gd name="connsiteX4412" fmla="*/ 2070252 w 6666359"/>
              <a:gd name="connsiteY4412" fmla="*/ 4220575 h 4343113"/>
              <a:gd name="connsiteX4413" fmla="*/ 2076700 w 6666359"/>
              <a:gd name="connsiteY4413" fmla="*/ 4214126 h 4343113"/>
              <a:gd name="connsiteX4414" fmla="*/ 2073476 w 6666359"/>
              <a:gd name="connsiteY4414" fmla="*/ 4207677 h 4343113"/>
              <a:gd name="connsiteX4415" fmla="*/ 2070252 w 6666359"/>
              <a:gd name="connsiteY4415" fmla="*/ 4204451 h 4343113"/>
              <a:gd name="connsiteX4416" fmla="*/ 2067026 w 6666359"/>
              <a:gd name="connsiteY4416" fmla="*/ 4198003 h 4343113"/>
              <a:gd name="connsiteX4417" fmla="*/ 2067026 w 6666359"/>
              <a:gd name="connsiteY4417" fmla="*/ 4188328 h 4343113"/>
              <a:gd name="connsiteX4418" fmla="*/ 2067026 w 6666359"/>
              <a:gd name="connsiteY4418" fmla="*/ 4178654 h 4343113"/>
              <a:gd name="connsiteX4419" fmla="*/ 2054128 w 6666359"/>
              <a:gd name="connsiteY4419" fmla="*/ 4168980 h 4343113"/>
              <a:gd name="connsiteX4420" fmla="*/ 2063802 w 6666359"/>
              <a:gd name="connsiteY4420" fmla="*/ 4168980 h 4343113"/>
              <a:gd name="connsiteX4421" fmla="*/ 2057353 w 6666359"/>
              <a:gd name="connsiteY4421" fmla="*/ 4159306 h 4343113"/>
              <a:gd name="connsiteX4422" fmla="*/ 2057353 w 6666359"/>
              <a:gd name="connsiteY4422" fmla="*/ 4156082 h 4343113"/>
              <a:gd name="connsiteX4423" fmla="*/ 2057353 w 6666359"/>
              <a:gd name="connsiteY4423" fmla="*/ 4149632 h 4343113"/>
              <a:gd name="connsiteX4424" fmla="*/ 2050903 w 6666359"/>
              <a:gd name="connsiteY4424" fmla="*/ 4146407 h 4343113"/>
              <a:gd name="connsiteX4425" fmla="*/ 2054128 w 6666359"/>
              <a:gd name="connsiteY4425" fmla="*/ 4139958 h 4343113"/>
              <a:gd name="connsiteX4426" fmla="*/ 2060577 w 6666359"/>
              <a:gd name="connsiteY4426" fmla="*/ 4136733 h 4343113"/>
              <a:gd name="connsiteX4427" fmla="*/ 2057353 w 6666359"/>
              <a:gd name="connsiteY4427" fmla="*/ 4127059 h 4343113"/>
              <a:gd name="connsiteX4428" fmla="*/ 2060577 w 6666359"/>
              <a:gd name="connsiteY4428" fmla="*/ 4123835 h 4343113"/>
              <a:gd name="connsiteX4429" fmla="*/ 2054128 w 6666359"/>
              <a:gd name="connsiteY4429" fmla="*/ 4117385 h 4343113"/>
              <a:gd name="connsiteX4430" fmla="*/ 2050903 w 6666359"/>
              <a:gd name="connsiteY4430" fmla="*/ 4107711 h 4343113"/>
              <a:gd name="connsiteX4431" fmla="*/ 2050903 w 6666359"/>
              <a:gd name="connsiteY4431" fmla="*/ 4098037 h 4343113"/>
              <a:gd name="connsiteX4432" fmla="*/ 2050903 w 6666359"/>
              <a:gd name="connsiteY4432" fmla="*/ 4085138 h 4343113"/>
              <a:gd name="connsiteX4433" fmla="*/ 2050903 w 6666359"/>
              <a:gd name="connsiteY4433" fmla="*/ 4072239 h 4343113"/>
              <a:gd name="connsiteX4434" fmla="*/ 2057353 w 6666359"/>
              <a:gd name="connsiteY4434" fmla="*/ 4069014 h 4343113"/>
              <a:gd name="connsiteX4435" fmla="*/ 2067026 w 6666359"/>
              <a:gd name="connsiteY4435" fmla="*/ 4069014 h 4343113"/>
              <a:gd name="connsiteX4436" fmla="*/ 2070252 w 6666359"/>
              <a:gd name="connsiteY4436" fmla="*/ 4062565 h 4343113"/>
              <a:gd name="connsiteX4437" fmla="*/ 2057353 w 6666359"/>
              <a:gd name="connsiteY4437" fmla="*/ 4062565 h 4343113"/>
              <a:gd name="connsiteX4438" fmla="*/ 2047679 w 6666359"/>
              <a:gd name="connsiteY4438" fmla="*/ 4062565 h 4343113"/>
              <a:gd name="connsiteX4439" fmla="*/ 2044453 w 6666359"/>
              <a:gd name="connsiteY4439" fmla="*/ 4059341 h 4343113"/>
              <a:gd name="connsiteX4440" fmla="*/ 2047679 w 6666359"/>
              <a:gd name="connsiteY4440" fmla="*/ 4052891 h 4343113"/>
              <a:gd name="connsiteX4441" fmla="*/ 2050903 w 6666359"/>
              <a:gd name="connsiteY4441" fmla="*/ 4052891 h 4343113"/>
              <a:gd name="connsiteX4442" fmla="*/ 2057353 w 6666359"/>
              <a:gd name="connsiteY4442" fmla="*/ 4043217 h 4343113"/>
              <a:gd name="connsiteX4443" fmla="*/ 2057353 w 6666359"/>
              <a:gd name="connsiteY4443" fmla="*/ 4046441 h 4343113"/>
              <a:gd name="connsiteX4444" fmla="*/ 2060577 w 6666359"/>
              <a:gd name="connsiteY4444" fmla="*/ 4036767 h 4343113"/>
              <a:gd name="connsiteX4445" fmla="*/ 2050903 w 6666359"/>
              <a:gd name="connsiteY4445" fmla="*/ 4030318 h 4343113"/>
              <a:gd name="connsiteX4446" fmla="*/ 2041229 w 6666359"/>
              <a:gd name="connsiteY4446" fmla="*/ 4030318 h 4343113"/>
              <a:gd name="connsiteX4447" fmla="*/ 2028331 w 6666359"/>
              <a:gd name="connsiteY4447" fmla="*/ 4027094 h 4343113"/>
              <a:gd name="connsiteX4448" fmla="*/ 2028331 w 6666359"/>
              <a:gd name="connsiteY4448" fmla="*/ 4033543 h 4343113"/>
              <a:gd name="connsiteX4449" fmla="*/ 2025105 w 6666359"/>
              <a:gd name="connsiteY4449" fmla="*/ 4033543 h 4343113"/>
              <a:gd name="connsiteX4450" fmla="*/ 2025105 w 6666359"/>
              <a:gd name="connsiteY4450" fmla="*/ 4023869 h 4343113"/>
              <a:gd name="connsiteX4451" fmla="*/ 2031555 w 6666359"/>
              <a:gd name="connsiteY4451" fmla="*/ 4017420 h 4343113"/>
              <a:gd name="connsiteX4452" fmla="*/ 2038005 w 6666359"/>
              <a:gd name="connsiteY4452" fmla="*/ 4014194 h 4343113"/>
              <a:gd name="connsiteX4453" fmla="*/ 2044453 w 6666359"/>
              <a:gd name="connsiteY4453" fmla="*/ 4001296 h 4343113"/>
              <a:gd name="connsiteX4454" fmla="*/ 2050903 w 6666359"/>
              <a:gd name="connsiteY4454" fmla="*/ 3998071 h 4343113"/>
              <a:gd name="connsiteX4455" fmla="*/ 2057353 w 6666359"/>
              <a:gd name="connsiteY4455" fmla="*/ 4001296 h 4343113"/>
              <a:gd name="connsiteX4456" fmla="*/ 2063802 w 6666359"/>
              <a:gd name="connsiteY4456" fmla="*/ 4010970 h 4343113"/>
              <a:gd name="connsiteX4457" fmla="*/ 2067026 w 6666359"/>
              <a:gd name="connsiteY4457" fmla="*/ 4007746 h 4343113"/>
              <a:gd name="connsiteX4458" fmla="*/ 2067026 w 6666359"/>
              <a:gd name="connsiteY4458" fmla="*/ 4001296 h 4343113"/>
              <a:gd name="connsiteX4459" fmla="*/ 2070252 w 6666359"/>
              <a:gd name="connsiteY4459" fmla="*/ 3988397 h 4343113"/>
              <a:gd name="connsiteX4460" fmla="*/ 2076700 w 6666359"/>
              <a:gd name="connsiteY4460" fmla="*/ 3972273 h 4343113"/>
              <a:gd name="connsiteX4461" fmla="*/ 2083150 w 6666359"/>
              <a:gd name="connsiteY4461" fmla="*/ 3969049 h 4343113"/>
              <a:gd name="connsiteX4462" fmla="*/ 2089600 w 6666359"/>
              <a:gd name="connsiteY4462" fmla="*/ 3962599 h 4343113"/>
              <a:gd name="connsiteX4463" fmla="*/ 2086375 w 6666359"/>
              <a:gd name="connsiteY4463" fmla="*/ 3959375 h 4343113"/>
              <a:gd name="connsiteX4464" fmla="*/ 2083150 w 6666359"/>
              <a:gd name="connsiteY4464" fmla="*/ 3965825 h 4343113"/>
              <a:gd name="connsiteX4465" fmla="*/ 2073476 w 6666359"/>
              <a:gd name="connsiteY4465" fmla="*/ 3972273 h 4343113"/>
              <a:gd name="connsiteX4466" fmla="*/ 2070252 w 6666359"/>
              <a:gd name="connsiteY4466" fmla="*/ 3965825 h 4343113"/>
              <a:gd name="connsiteX4467" fmla="*/ 2073476 w 6666359"/>
              <a:gd name="connsiteY4467" fmla="*/ 3959375 h 4343113"/>
              <a:gd name="connsiteX4468" fmla="*/ 2083150 w 6666359"/>
              <a:gd name="connsiteY4468" fmla="*/ 3956150 h 4343113"/>
              <a:gd name="connsiteX4469" fmla="*/ 2076700 w 6666359"/>
              <a:gd name="connsiteY4469" fmla="*/ 3949701 h 4343113"/>
              <a:gd name="connsiteX4470" fmla="*/ 2076700 w 6666359"/>
              <a:gd name="connsiteY4470" fmla="*/ 3946476 h 4343113"/>
              <a:gd name="connsiteX4471" fmla="*/ 2083150 w 6666359"/>
              <a:gd name="connsiteY4471" fmla="*/ 3936802 h 4343113"/>
              <a:gd name="connsiteX4472" fmla="*/ 2083150 w 6666359"/>
              <a:gd name="connsiteY4472" fmla="*/ 3904555 h 4343113"/>
              <a:gd name="connsiteX4473" fmla="*/ 2086375 w 6666359"/>
              <a:gd name="connsiteY4473" fmla="*/ 3891657 h 4343113"/>
              <a:gd name="connsiteX4474" fmla="*/ 2086375 w 6666359"/>
              <a:gd name="connsiteY4474" fmla="*/ 3881982 h 4343113"/>
              <a:gd name="connsiteX4475" fmla="*/ 2089600 w 6666359"/>
              <a:gd name="connsiteY4475" fmla="*/ 3875533 h 4343113"/>
              <a:gd name="connsiteX4476" fmla="*/ 2083150 w 6666359"/>
              <a:gd name="connsiteY4476" fmla="*/ 3869084 h 4343113"/>
              <a:gd name="connsiteX4477" fmla="*/ 2079926 w 6666359"/>
              <a:gd name="connsiteY4477" fmla="*/ 3872308 h 4343113"/>
              <a:gd name="connsiteX4478" fmla="*/ 2079926 w 6666359"/>
              <a:gd name="connsiteY4478" fmla="*/ 3875533 h 4343113"/>
              <a:gd name="connsiteX4479" fmla="*/ 2070252 w 6666359"/>
              <a:gd name="connsiteY4479" fmla="*/ 3875533 h 4343113"/>
              <a:gd name="connsiteX4480" fmla="*/ 2067026 w 6666359"/>
              <a:gd name="connsiteY4480" fmla="*/ 3875533 h 4343113"/>
              <a:gd name="connsiteX4481" fmla="*/ 2067026 w 6666359"/>
              <a:gd name="connsiteY4481" fmla="*/ 3872308 h 4343113"/>
              <a:gd name="connsiteX4482" fmla="*/ 2060577 w 6666359"/>
              <a:gd name="connsiteY4482" fmla="*/ 3852960 h 4343113"/>
              <a:gd name="connsiteX4483" fmla="*/ 2063802 w 6666359"/>
              <a:gd name="connsiteY4483" fmla="*/ 3843286 h 4343113"/>
              <a:gd name="connsiteX4484" fmla="*/ 2067026 w 6666359"/>
              <a:gd name="connsiteY4484" fmla="*/ 3830387 h 4343113"/>
              <a:gd name="connsiteX4485" fmla="*/ 2070252 w 6666359"/>
              <a:gd name="connsiteY4485" fmla="*/ 3820713 h 4343113"/>
              <a:gd name="connsiteX4486" fmla="*/ 2073476 w 6666359"/>
              <a:gd name="connsiteY4486" fmla="*/ 3817489 h 4343113"/>
              <a:gd name="connsiteX4487" fmla="*/ 2076700 w 6666359"/>
              <a:gd name="connsiteY4487" fmla="*/ 3811039 h 4343113"/>
              <a:gd name="connsiteX4488" fmla="*/ 2076700 w 6666359"/>
              <a:gd name="connsiteY4488" fmla="*/ 3801364 h 4343113"/>
              <a:gd name="connsiteX4489" fmla="*/ 2076700 w 6666359"/>
              <a:gd name="connsiteY4489" fmla="*/ 3798140 h 4343113"/>
              <a:gd name="connsiteX4490" fmla="*/ 2070252 w 6666359"/>
              <a:gd name="connsiteY4490" fmla="*/ 3785241 h 4343113"/>
              <a:gd name="connsiteX4491" fmla="*/ 2070252 w 6666359"/>
              <a:gd name="connsiteY4491" fmla="*/ 3775567 h 4343113"/>
              <a:gd name="connsiteX4492" fmla="*/ 2067026 w 6666359"/>
              <a:gd name="connsiteY4492" fmla="*/ 3765893 h 4343113"/>
              <a:gd name="connsiteX4493" fmla="*/ 2067026 w 6666359"/>
              <a:gd name="connsiteY4493" fmla="*/ 3749769 h 4343113"/>
              <a:gd name="connsiteX4494" fmla="*/ 2070252 w 6666359"/>
              <a:gd name="connsiteY4494" fmla="*/ 3746545 h 4343113"/>
              <a:gd name="connsiteX4495" fmla="*/ 2073476 w 6666359"/>
              <a:gd name="connsiteY4495" fmla="*/ 3746545 h 4343113"/>
              <a:gd name="connsiteX4496" fmla="*/ 2076700 w 6666359"/>
              <a:gd name="connsiteY4496" fmla="*/ 3746545 h 4343113"/>
              <a:gd name="connsiteX4497" fmla="*/ 2079926 w 6666359"/>
              <a:gd name="connsiteY4497" fmla="*/ 3736871 h 4343113"/>
              <a:gd name="connsiteX4498" fmla="*/ 2079926 w 6666359"/>
              <a:gd name="connsiteY4498" fmla="*/ 3733646 h 4343113"/>
              <a:gd name="connsiteX4499" fmla="*/ 2083150 w 6666359"/>
              <a:gd name="connsiteY4499" fmla="*/ 3723972 h 4343113"/>
              <a:gd name="connsiteX4500" fmla="*/ 2086375 w 6666359"/>
              <a:gd name="connsiteY4500" fmla="*/ 3714298 h 4343113"/>
              <a:gd name="connsiteX4501" fmla="*/ 2089600 w 6666359"/>
              <a:gd name="connsiteY4501" fmla="*/ 3701399 h 4343113"/>
              <a:gd name="connsiteX4502" fmla="*/ 2099273 w 6666359"/>
              <a:gd name="connsiteY4502" fmla="*/ 3688501 h 4343113"/>
              <a:gd name="connsiteX4503" fmla="*/ 2102499 w 6666359"/>
              <a:gd name="connsiteY4503" fmla="*/ 3672377 h 4343113"/>
              <a:gd name="connsiteX4504" fmla="*/ 2102499 w 6666359"/>
              <a:gd name="connsiteY4504" fmla="*/ 3665928 h 4343113"/>
              <a:gd name="connsiteX4505" fmla="*/ 2105723 w 6666359"/>
              <a:gd name="connsiteY4505" fmla="*/ 3659478 h 4343113"/>
              <a:gd name="connsiteX4506" fmla="*/ 2112173 w 6666359"/>
              <a:gd name="connsiteY4506" fmla="*/ 3646580 h 4343113"/>
              <a:gd name="connsiteX4507" fmla="*/ 2108947 w 6666359"/>
              <a:gd name="connsiteY4507" fmla="*/ 3636905 h 4343113"/>
              <a:gd name="connsiteX4508" fmla="*/ 2115397 w 6666359"/>
              <a:gd name="connsiteY4508" fmla="*/ 3633681 h 4343113"/>
              <a:gd name="connsiteX4509" fmla="*/ 2112173 w 6666359"/>
              <a:gd name="connsiteY4509" fmla="*/ 3601434 h 4343113"/>
              <a:gd name="connsiteX4510" fmla="*/ 2112173 w 6666359"/>
              <a:gd name="connsiteY4510" fmla="*/ 3585310 h 4343113"/>
              <a:gd name="connsiteX4511" fmla="*/ 2108947 w 6666359"/>
              <a:gd name="connsiteY4511" fmla="*/ 3572412 h 4343113"/>
              <a:gd name="connsiteX4512" fmla="*/ 2112173 w 6666359"/>
              <a:gd name="connsiteY4512" fmla="*/ 3565962 h 4343113"/>
              <a:gd name="connsiteX4513" fmla="*/ 2118621 w 6666359"/>
              <a:gd name="connsiteY4513" fmla="*/ 3559513 h 4343113"/>
              <a:gd name="connsiteX4514" fmla="*/ 2118621 w 6666359"/>
              <a:gd name="connsiteY4514" fmla="*/ 3546614 h 4343113"/>
              <a:gd name="connsiteX4515" fmla="*/ 2115397 w 6666359"/>
              <a:gd name="connsiteY4515" fmla="*/ 3530491 h 4343113"/>
              <a:gd name="connsiteX4516" fmla="*/ 2115397 w 6666359"/>
              <a:gd name="connsiteY4516" fmla="*/ 3527266 h 4343113"/>
              <a:gd name="connsiteX4517" fmla="*/ 2121847 w 6666359"/>
              <a:gd name="connsiteY4517" fmla="*/ 3517592 h 4343113"/>
              <a:gd name="connsiteX4518" fmla="*/ 2125071 w 6666359"/>
              <a:gd name="connsiteY4518" fmla="*/ 3501468 h 4343113"/>
              <a:gd name="connsiteX4519" fmla="*/ 2128296 w 6666359"/>
              <a:gd name="connsiteY4519" fmla="*/ 3498244 h 4343113"/>
              <a:gd name="connsiteX4520" fmla="*/ 2128296 w 6666359"/>
              <a:gd name="connsiteY4520" fmla="*/ 3491794 h 4343113"/>
              <a:gd name="connsiteX4521" fmla="*/ 2128296 w 6666359"/>
              <a:gd name="connsiteY4521" fmla="*/ 3485344 h 4343113"/>
              <a:gd name="connsiteX4522" fmla="*/ 2131520 w 6666359"/>
              <a:gd name="connsiteY4522" fmla="*/ 3478895 h 4343113"/>
              <a:gd name="connsiteX4523" fmla="*/ 2134745 w 6666359"/>
              <a:gd name="connsiteY4523" fmla="*/ 3446648 h 4343113"/>
              <a:gd name="connsiteX4524" fmla="*/ 2134745 w 6666359"/>
              <a:gd name="connsiteY4524" fmla="*/ 3433750 h 4343113"/>
              <a:gd name="connsiteX4525" fmla="*/ 2134745 w 6666359"/>
              <a:gd name="connsiteY4525" fmla="*/ 3427300 h 4343113"/>
              <a:gd name="connsiteX4526" fmla="*/ 2134745 w 6666359"/>
              <a:gd name="connsiteY4526" fmla="*/ 3417626 h 4343113"/>
              <a:gd name="connsiteX4527" fmla="*/ 2137970 w 6666359"/>
              <a:gd name="connsiteY4527" fmla="*/ 3407952 h 4343113"/>
              <a:gd name="connsiteX4528" fmla="*/ 2137970 w 6666359"/>
              <a:gd name="connsiteY4528" fmla="*/ 3404727 h 4343113"/>
              <a:gd name="connsiteX4529" fmla="*/ 2137970 w 6666359"/>
              <a:gd name="connsiteY4529" fmla="*/ 3398278 h 4343113"/>
              <a:gd name="connsiteX4530" fmla="*/ 2137970 w 6666359"/>
              <a:gd name="connsiteY4530" fmla="*/ 3388603 h 4343113"/>
              <a:gd name="connsiteX4531" fmla="*/ 2141194 w 6666359"/>
              <a:gd name="connsiteY4531" fmla="*/ 3378929 h 4343113"/>
              <a:gd name="connsiteX4532" fmla="*/ 2144420 w 6666359"/>
              <a:gd name="connsiteY4532" fmla="*/ 3366031 h 4343113"/>
              <a:gd name="connsiteX4533" fmla="*/ 2144420 w 6666359"/>
              <a:gd name="connsiteY4533" fmla="*/ 3356356 h 4343113"/>
              <a:gd name="connsiteX4534" fmla="*/ 2147644 w 6666359"/>
              <a:gd name="connsiteY4534" fmla="*/ 3349908 h 4343113"/>
              <a:gd name="connsiteX4535" fmla="*/ 2144420 w 6666359"/>
              <a:gd name="connsiteY4535" fmla="*/ 3343458 h 4343113"/>
              <a:gd name="connsiteX4536" fmla="*/ 2144420 w 6666359"/>
              <a:gd name="connsiteY4536" fmla="*/ 3337009 h 4343113"/>
              <a:gd name="connsiteX4537" fmla="*/ 2144420 w 6666359"/>
              <a:gd name="connsiteY4537" fmla="*/ 3324110 h 4343113"/>
              <a:gd name="connsiteX4538" fmla="*/ 2144420 w 6666359"/>
              <a:gd name="connsiteY4538" fmla="*/ 3307987 h 4343113"/>
              <a:gd name="connsiteX4539" fmla="*/ 2141194 w 6666359"/>
              <a:gd name="connsiteY4539" fmla="*/ 3301537 h 4343113"/>
              <a:gd name="connsiteX4540" fmla="*/ 2141194 w 6666359"/>
              <a:gd name="connsiteY4540" fmla="*/ 3295088 h 4343113"/>
              <a:gd name="connsiteX4541" fmla="*/ 2141194 w 6666359"/>
              <a:gd name="connsiteY4541" fmla="*/ 3288638 h 4343113"/>
              <a:gd name="connsiteX4542" fmla="*/ 2141194 w 6666359"/>
              <a:gd name="connsiteY4542" fmla="*/ 3286829 h 4343113"/>
              <a:gd name="connsiteX4543" fmla="*/ 2138622 w 6666359"/>
              <a:gd name="connsiteY4543" fmla="*/ 3280267 h 4343113"/>
              <a:gd name="connsiteX4544" fmla="*/ 2137970 w 6666359"/>
              <a:gd name="connsiteY4544" fmla="*/ 3278964 h 4343113"/>
              <a:gd name="connsiteX4545" fmla="*/ 2137971 w 6666359"/>
              <a:gd name="connsiteY4545" fmla="*/ 3278963 h 4343113"/>
              <a:gd name="connsiteX4546" fmla="*/ 2131521 w 6666359"/>
              <a:gd name="connsiteY4546" fmla="*/ 3272514 h 4343113"/>
              <a:gd name="connsiteX4547" fmla="*/ 2121848 w 6666359"/>
              <a:gd name="connsiteY4547" fmla="*/ 3266066 h 4343113"/>
              <a:gd name="connsiteX4548" fmla="*/ 2118622 w 6666359"/>
              <a:gd name="connsiteY4548" fmla="*/ 3259616 h 4343113"/>
              <a:gd name="connsiteX4549" fmla="*/ 2115398 w 6666359"/>
              <a:gd name="connsiteY4549" fmla="*/ 3256391 h 4343113"/>
              <a:gd name="connsiteX4550" fmla="*/ 2108948 w 6666359"/>
              <a:gd name="connsiteY4550" fmla="*/ 3253167 h 4343113"/>
              <a:gd name="connsiteX4551" fmla="*/ 2105724 w 6666359"/>
              <a:gd name="connsiteY4551" fmla="*/ 3253167 h 4343113"/>
              <a:gd name="connsiteX4552" fmla="*/ 2105724 w 6666359"/>
              <a:gd name="connsiteY4552" fmla="*/ 3249942 h 4343113"/>
              <a:gd name="connsiteX4553" fmla="*/ 2092825 w 6666359"/>
              <a:gd name="connsiteY4553" fmla="*/ 3240267 h 4343113"/>
              <a:gd name="connsiteX4554" fmla="*/ 2089601 w 6666359"/>
              <a:gd name="connsiteY4554" fmla="*/ 3240267 h 4343113"/>
              <a:gd name="connsiteX4555" fmla="*/ 2083151 w 6666359"/>
              <a:gd name="connsiteY4555" fmla="*/ 3237043 h 4343113"/>
              <a:gd name="connsiteX4556" fmla="*/ 2073477 w 6666359"/>
              <a:gd name="connsiteY4556" fmla="*/ 3230594 h 4343113"/>
              <a:gd name="connsiteX4557" fmla="*/ 2060578 w 6666359"/>
              <a:gd name="connsiteY4557" fmla="*/ 3227369 h 4343113"/>
              <a:gd name="connsiteX4558" fmla="*/ 2047680 w 6666359"/>
              <a:gd name="connsiteY4558" fmla="*/ 3217695 h 4343113"/>
              <a:gd name="connsiteX4559" fmla="*/ 2034780 w 6666359"/>
              <a:gd name="connsiteY4559" fmla="*/ 3211246 h 4343113"/>
              <a:gd name="connsiteX4560" fmla="*/ 2025107 w 6666359"/>
              <a:gd name="connsiteY4560" fmla="*/ 3201572 h 4343113"/>
              <a:gd name="connsiteX4561" fmla="*/ 2015433 w 6666359"/>
              <a:gd name="connsiteY4561" fmla="*/ 3191898 h 4343113"/>
              <a:gd name="connsiteX4562" fmla="*/ 2005759 w 6666359"/>
              <a:gd name="connsiteY4562" fmla="*/ 3178999 h 4343113"/>
              <a:gd name="connsiteX4563" fmla="*/ 2008983 w 6666359"/>
              <a:gd name="connsiteY4563" fmla="*/ 3175774 h 4343113"/>
              <a:gd name="connsiteX4564" fmla="*/ 2012208 w 6666359"/>
              <a:gd name="connsiteY4564" fmla="*/ 3172549 h 4343113"/>
              <a:gd name="connsiteX4565" fmla="*/ 2005759 w 6666359"/>
              <a:gd name="connsiteY4565" fmla="*/ 3156426 h 4343113"/>
              <a:gd name="connsiteX4566" fmla="*/ 1999309 w 6666359"/>
              <a:gd name="connsiteY4566" fmla="*/ 3146752 h 4343113"/>
              <a:gd name="connsiteX4567" fmla="*/ 1989635 w 6666359"/>
              <a:gd name="connsiteY4567" fmla="*/ 3137078 h 4343113"/>
              <a:gd name="connsiteX4568" fmla="*/ 1989635 w 6666359"/>
              <a:gd name="connsiteY4568" fmla="*/ 3133853 h 4343113"/>
              <a:gd name="connsiteX4569" fmla="*/ 1989635 w 6666359"/>
              <a:gd name="connsiteY4569" fmla="*/ 3130628 h 4343113"/>
              <a:gd name="connsiteX4570" fmla="*/ 1983186 w 6666359"/>
              <a:gd name="connsiteY4570" fmla="*/ 3120954 h 4343113"/>
              <a:gd name="connsiteX4571" fmla="*/ 1976736 w 6666359"/>
              <a:gd name="connsiteY4571" fmla="*/ 3111280 h 4343113"/>
              <a:gd name="connsiteX4572" fmla="*/ 1973512 w 6666359"/>
              <a:gd name="connsiteY4572" fmla="*/ 3101606 h 4343113"/>
              <a:gd name="connsiteX4573" fmla="*/ 1967062 w 6666359"/>
              <a:gd name="connsiteY4573" fmla="*/ 3088707 h 4343113"/>
              <a:gd name="connsiteX4574" fmla="*/ 1963838 w 6666359"/>
              <a:gd name="connsiteY4574" fmla="*/ 3075808 h 4343113"/>
              <a:gd name="connsiteX4575" fmla="*/ 1957388 w 6666359"/>
              <a:gd name="connsiteY4575" fmla="*/ 3069359 h 4343113"/>
              <a:gd name="connsiteX4576" fmla="*/ 1957388 w 6666359"/>
              <a:gd name="connsiteY4576" fmla="*/ 3066134 h 4343113"/>
              <a:gd name="connsiteX4577" fmla="*/ 1950939 w 6666359"/>
              <a:gd name="connsiteY4577" fmla="*/ 3053236 h 4343113"/>
              <a:gd name="connsiteX4578" fmla="*/ 1944489 w 6666359"/>
              <a:gd name="connsiteY4578" fmla="*/ 3046786 h 4343113"/>
              <a:gd name="connsiteX4579" fmla="*/ 1941265 w 6666359"/>
              <a:gd name="connsiteY4579" fmla="*/ 3040337 h 4343113"/>
              <a:gd name="connsiteX4580" fmla="*/ 1938040 w 6666359"/>
              <a:gd name="connsiteY4580" fmla="*/ 3033887 h 4343113"/>
              <a:gd name="connsiteX4581" fmla="*/ 1931591 w 6666359"/>
              <a:gd name="connsiteY4581" fmla="*/ 3020989 h 4343113"/>
              <a:gd name="connsiteX4582" fmla="*/ 1921917 w 6666359"/>
              <a:gd name="connsiteY4582" fmla="*/ 3014539 h 4343113"/>
              <a:gd name="connsiteX4583" fmla="*/ 1909018 w 6666359"/>
              <a:gd name="connsiteY4583" fmla="*/ 3008090 h 4343113"/>
              <a:gd name="connsiteX4584" fmla="*/ 1902568 w 6666359"/>
              <a:gd name="connsiteY4584" fmla="*/ 3001640 h 4343113"/>
              <a:gd name="connsiteX4585" fmla="*/ 1909018 w 6666359"/>
              <a:gd name="connsiteY4585" fmla="*/ 2998416 h 4343113"/>
              <a:gd name="connsiteX4586" fmla="*/ 1905793 w 6666359"/>
              <a:gd name="connsiteY4586" fmla="*/ 2988742 h 4343113"/>
              <a:gd name="connsiteX4587" fmla="*/ 1905793 w 6666359"/>
              <a:gd name="connsiteY4587" fmla="*/ 2982292 h 4343113"/>
              <a:gd name="connsiteX4588" fmla="*/ 1902568 w 6666359"/>
              <a:gd name="connsiteY4588" fmla="*/ 2979068 h 4343113"/>
              <a:gd name="connsiteX4589" fmla="*/ 1899344 w 6666359"/>
              <a:gd name="connsiteY4589" fmla="*/ 2972618 h 4343113"/>
              <a:gd name="connsiteX4590" fmla="*/ 1899344 w 6666359"/>
              <a:gd name="connsiteY4590" fmla="*/ 2966169 h 4343113"/>
              <a:gd name="connsiteX4591" fmla="*/ 1921916 w 6666359"/>
              <a:gd name="connsiteY4591" fmla="*/ 2946821 h 4343113"/>
              <a:gd name="connsiteX4592" fmla="*/ 1931590 w 6666359"/>
              <a:gd name="connsiteY4592" fmla="*/ 2940371 h 4343113"/>
              <a:gd name="connsiteX4593" fmla="*/ 1931590 w 6666359"/>
              <a:gd name="connsiteY4593" fmla="*/ 2933922 h 4343113"/>
              <a:gd name="connsiteX4594" fmla="*/ 1931590 w 6666359"/>
              <a:gd name="connsiteY4594" fmla="*/ 2927472 h 4343113"/>
              <a:gd name="connsiteX4595" fmla="*/ 1921916 w 6666359"/>
              <a:gd name="connsiteY4595" fmla="*/ 2930697 h 4343113"/>
              <a:gd name="connsiteX4596" fmla="*/ 1912242 w 6666359"/>
              <a:gd name="connsiteY4596" fmla="*/ 2927472 h 4343113"/>
              <a:gd name="connsiteX4597" fmla="*/ 1909017 w 6666359"/>
              <a:gd name="connsiteY4597" fmla="*/ 2921023 h 4343113"/>
              <a:gd name="connsiteX4598" fmla="*/ 1912242 w 6666359"/>
              <a:gd name="connsiteY4598" fmla="*/ 2911350 h 4343113"/>
              <a:gd name="connsiteX4599" fmla="*/ 1909017 w 6666359"/>
              <a:gd name="connsiteY4599" fmla="*/ 2898450 h 4343113"/>
              <a:gd name="connsiteX4600" fmla="*/ 1909017 w 6666359"/>
              <a:gd name="connsiteY4600" fmla="*/ 2892001 h 4343113"/>
              <a:gd name="connsiteX4601" fmla="*/ 1912242 w 6666359"/>
              <a:gd name="connsiteY4601" fmla="*/ 2892001 h 4343113"/>
              <a:gd name="connsiteX4602" fmla="*/ 1918690 w 6666359"/>
              <a:gd name="connsiteY4602" fmla="*/ 2882327 h 4343113"/>
              <a:gd name="connsiteX4603" fmla="*/ 1928364 w 6666359"/>
              <a:gd name="connsiteY4603" fmla="*/ 2869428 h 4343113"/>
              <a:gd name="connsiteX4604" fmla="*/ 1925140 w 6666359"/>
              <a:gd name="connsiteY4604" fmla="*/ 2859754 h 4343113"/>
              <a:gd name="connsiteX4605" fmla="*/ 1931590 w 6666359"/>
              <a:gd name="connsiteY4605" fmla="*/ 2853304 h 4343113"/>
              <a:gd name="connsiteX4606" fmla="*/ 1941264 w 6666359"/>
              <a:gd name="connsiteY4606" fmla="*/ 2846855 h 4343113"/>
              <a:gd name="connsiteX4607" fmla="*/ 1947713 w 6666359"/>
              <a:gd name="connsiteY4607" fmla="*/ 2846855 h 4343113"/>
              <a:gd name="connsiteX4608" fmla="*/ 1954163 w 6666359"/>
              <a:gd name="connsiteY4608" fmla="*/ 2840406 h 4343113"/>
              <a:gd name="connsiteX4609" fmla="*/ 1956581 w 6666359"/>
              <a:gd name="connsiteY4609" fmla="*/ 2842019 h 4343113"/>
              <a:gd name="connsiteX4610" fmla="*/ 1954164 w 6666359"/>
              <a:gd name="connsiteY4610" fmla="*/ 2840406 h 4343113"/>
              <a:gd name="connsiteX4611" fmla="*/ 1947714 w 6666359"/>
              <a:gd name="connsiteY4611" fmla="*/ 2837182 h 4343113"/>
              <a:gd name="connsiteX4612" fmla="*/ 1954164 w 6666359"/>
              <a:gd name="connsiteY4612" fmla="*/ 2833956 h 4343113"/>
              <a:gd name="connsiteX4613" fmla="*/ 1960612 w 6666359"/>
              <a:gd name="connsiteY4613" fmla="*/ 2830732 h 4343113"/>
              <a:gd name="connsiteX4614" fmla="*/ 1957388 w 6666359"/>
              <a:gd name="connsiteY4614" fmla="*/ 2824282 h 4343113"/>
              <a:gd name="connsiteX4615" fmla="*/ 1967062 w 6666359"/>
              <a:gd name="connsiteY4615" fmla="*/ 2817833 h 4343113"/>
              <a:gd name="connsiteX4616" fmla="*/ 1976736 w 6666359"/>
              <a:gd name="connsiteY4616" fmla="*/ 2814608 h 4343113"/>
              <a:gd name="connsiteX4617" fmla="*/ 1983186 w 6666359"/>
              <a:gd name="connsiteY4617" fmla="*/ 2804935 h 4343113"/>
              <a:gd name="connsiteX4618" fmla="*/ 1986410 w 6666359"/>
              <a:gd name="connsiteY4618" fmla="*/ 2788811 h 4343113"/>
              <a:gd name="connsiteX4619" fmla="*/ 1983186 w 6666359"/>
              <a:gd name="connsiteY4619" fmla="*/ 2782361 h 4343113"/>
              <a:gd name="connsiteX4620" fmla="*/ 1989635 w 6666359"/>
              <a:gd name="connsiteY4620" fmla="*/ 2779136 h 4343113"/>
              <a:gd name="connsiteX4621" fmla="*/ 1986410 w 6666359"/>
              <a:gd name="connsiteY4621" fmla="*/ 2772687 h 4343113"/>
              <a:gd name="connsiteX4622" fmla="*/ 1986410 w 6666359"/>
              <a:gd name="connsiteY4622" fmla="*/ 2759788 h 4343113"/>
              <a:gd name="connsiteX4623" fmla="*/ 1983186 w 6666359"/>
              <a:gd name="connsiteY4623" fmla="*/ 2746890 h 4343113"/>
              <a:gd name="connsiteX4624" fmla="*/ 1983186 w 6666359"/>
              <a:gd name="connsiteY4624" fmla="*/ 2737215 h 4343113"/>
              <a:gd name="connsiteX4625" fmla="*/ 1986410 w 6666359"/>
              <a:gd name="connsiteY4625" fmla="*/ 2730767 h 4343113"/>
              <a:gd name="connsiteX4626" fmla="*/ 1986410 w 6666359"/>
              <a:gd name="connsiteY4626" fmla="*/ 2727541 h 4343113"/>
              <a:gd name="connsiteX4627" fmla="*/ 1979961 w 6666359"/>
              <a:gd name="connsiteY4627" fmla="*/ 2721092 h 4343113"/>
              <a:gd name="connsiteX4628" fmla="*/ 1979961 w 6666359"/>
              <a:gd name="connsiteY4628" fmla="*/ 2717867 h 4343113"/>
              <a:gd name="connsiteX4629" fmla="*/ 1973512 w 6666359"/>
              <a:gd name="connsiteY4629" fmla="*/ 2714643 h 4343113"/>
              <a:gd name="connsiteX4630" fmla="*/ 1970286 w 6666359"/>
              <a:gd name="connsiteY4630" fmla="*/ 2708193 h 4343113"/>
              <a:gd name="connsiteX4631" fmla="*/ 1967062 w 6666359"/>
              <a:gd name="connsiteY4631" fmla="*/ 2701744 h 4343113"/>
              <a:gd name="connsiteX4632" fmla="*/ 1967062 w 6666359"/>
              <a:gd name="connsiteY4632" fmla="*/ 2695294 h 4343113"/>
              <a:gd name="connsiteX4633" fmla="*/ 1973512 w 6666359"/>
              <a:gd name="connsiteY4633" fmla="*/ 2692070 h 4343113"/>
              <a:gd name="connsiteX4634" fmla="*/ 1970286 w 6666359"/>
              <a:gd name="connsiteY4634" fmla="*/ 2685620 h 4343113"/>
              <a:gd name="connsiteX4635" fmla="*/ 1963838 w 6666359"/>
              <a:gd name="connsiteY4635" fmla="*/ 2685620 h 4343113"/>
              <a:gd name="connsiteX4636" fmla="*/ 1960612 w 6666359"/>
              <a:gd name="connsiteY4636" fmla="*/ 2682396 h 4343113"/>
              <a:gd name="connsiteX4637" fmla="*/ 1954164 w 6666359"/>
              <a:gd name="connsiteY4637" fmla="*/ 2679171 h 4343113"/>
              <a:gd name="connsiteX4638" fmla="*/ 1950939 w 6666359"/>
              <a:gd name="connsiteY4638" fmla="*/ 2672722 h 4343113"/>
              <a:gd name="connsiteX4639" fmla="*/ 1944489 w 6666359"/>
              <a:gd name="connsiteY4639" fmla="*/ 2672722 h 4343113"/>
              <a:gd name="connsiteX4640" fmla="*/ 1938040 w 6666359"/>
              <a:gd name="connsiteY4640" fmla="*/ 2675946 h 4343113"/>
              <a:gd name="connsiteX4641" fmla="*/ 1934815 w 6666359"/>
              <a:gd name="connsiteY4641" fmla="*/ 2679171 h 4343113"/>
              <a:gd name="connsiteX4642" fmla="*/ 1931591 w 6666359"/>
              <a:gd name="connsiteY4642" fmla="*/ 2685620 h 4343113"/>
              <a:gd name="connsiteX4643" fmla="*/ 1925141 w 6666359"/>
              <a:gd name="connsiteY4643" fmla="*/ 2688846 h 4343113"/>
              <a:gd name="connsiteX4644" fmla="*/ 1918692 w 6666359"/>
              <a:gd name="connsiteY4644" fmla="*/ 2692070 h 4343113"/>
              <a:gd name="connsiteX4645" fmla="*/ 1918692 w 6666359"/>
              <a:gd name="connsiteY4645" fmla="*/ 2698520 h 4343113"/>
              <a:gd name="connsiteX4646" fmla="*/ 1928365 w 6666359"/>
              <a:gd name="connsiteY4646" fmla="*/ 2708193 h 4343113"/>
              <a:gd name="connsiteX4647" fmla="*/ 1918692 w 6666359"/>
              <a:gd name="connsiteY4647" fmla="*/ 2711418 h 4343113"/>
              <a:gd name="connsiteX4648" fmla="*/ 1909018 w 6666359"/>
              <a:gd name="connsiteY4648" fmla="*/ 2711418 h 4343113"/>
              <a:gd name="connsiteX4649" fmla="*/ 1905793 w 6666359"/>
              <a:gd name="connsiteY4649" fmla="*/ 2708193 h 4343113"/>
              <a:gd name="connsiteX4650" fmla="*/ 1905793 w 6666359"/>
              <a:gd name="connsiteY4650" fmla="*/ 2704968 h 4343113"/>
              <a:gd name="connsiteX4651" fmla="*/ 1902568 w 6666359"/>
              <a:gd name="connsiteY4651" fmla="*/ 2704968 h 4343113"/>
              <a:gd name="connsiteX4652" fmla="*/ 1896119 w 6666359"/>
              <a:gd name="connsiteY4652" fmla="*/ 2704968 h 4343113"/>
              <a:gd name="connsiteX4653" fmla="*/ 1892894 w 6666359"/>
              <a:gd name="connsiteY4653" fmla="*/ 2698520 h 4343113"/>
              <a:gd name="connsiteX4654" fmla="*/ 1879996 w 6666359"/>
              <a:gd name="connsiteY4654" fmla="*/ 2692070 h 4343113"/>
              <a:gd name="connsiteX4655" fmla="*/ 1870321 w 6666359"/>
              <a:gd name="connsiteY4655" fmla="*/ 2692070 h 4343113"/>
              <a:gd name="connsiteX4656" fmla="*/ 1867097 w 6666359"/>
              <a:gd name="connsiteY4656" fmla="*/ 2692070 h 4343113"/>
              <a:gd name="connsiteX4657" fmla="*/ 1863872 w 6666359"/>
              <a:gd name="connsiteY4657" fmla="*/ 2698520 h 4343113"/>
              <a:gd name="connsiteX4658" fmla="*/ 1857423 w 6666359"/>
              <a:gd name="connsiteY4658" fmla="*/ 2685620 h 4343113"/>
              <a:gd name="connsiteX4659" fmla="*/ 1850973 w 6666359"/>
              <a:gd name="connsiteY4659" fmla="*/ 2682396 h 4343113"/>
              <a:gd name="connsiteX4660" fmla="*/ 1854197 w 6666359"/>
              <a:gd name="connsiteY4660" fmla="*/ 2685620 h 4343113"/>
              <a:gd name="connsiteX4661" fmla="*/ 1857423 w 6666359"/>
              <a:gd name="connsiteY4661" fmla="*/ 2688846 h 4343113"/>
              <a:gd name="connsiteX4662" fmla="*/ 1847749 w 6666359"/>
              <a:gd name="connsiteY4662" fmla="*/ 2685620 h 4343113"/>
              <a:gd name="connsiteX4663" fmla="*/ 1847749 w 6666359"/>
              <a:gd name="connsiteY4663" fmla="*/ 2679171 h 4343113"/>
              <a:gd name="connsiteX4664" fmla="*/ 1841299 w 6666359"/>
              <a:gd name="connsiteY4664" fmla="*/ 2669497 h 4343113"/>
              <a:gd name="connsiteX4665" fmla="*/ 1831625 w 6666359"/>
              <a:gd name="connsiteY4665" fmla="*/ 2663047 h 4343113"/>
              <a:gd name="connsiteX4666" fmla="*/ 1828400 w 6666359"/>
              <a:gd name="connsiteY4666" fmla="*/ 2659823 h 4343113"/>
              <a:gd name="connsiteX4667" fmla="*/ 1821951 w 6666359"/>
              <a:gd name="connsiteY4667" fmla="*/ 2656599 h 4343113"/>
              <a:gd name="connsiteX4668" fmla="*/ 1815502 w 6666359"/>
              <a:gd name="connsiteY4668" fmla="*/ 2663047 h 4343113"/>
              <a:gd name="connsiteX4669" fmla="*/ 1812277 w 6666359"/>
              <a:gd name="connsiteY4669" fmla="*/ 2659823 h 4343113"/>
              <a:gd name="connsiteX4670" fmla="*/ 1799378 w 6666359"/>
              <a:gd name="connsiteY4670" fmla="*/ 2646924 h 4343113"/>
              <a:gd name="connsiteX4671" fmla="*/ 1799378 w 6666359"/>
              <a:gd name="connsiteY4671" fmla="*/ 2643699 h 4343113"/>
              <a:gd name="connsiteX4672" fmla="*/ 1802603 w 6666359"/>
              <a:gd name="connsiteY4672" fmla="*/ 2640475 h 4343113"/>
              <a:gd name="connsiteX4673" fmla="*/ 1805828 w 6666359"/>
              <a:gd name="connsiteY4673" fmla="*/ 2640475 h 4343113"/>
              <a:gd name="connsiteX4674" fmla="*/ 1802603 w 6666359"/>
              <a:gd name="connsiteY4674" fmla="*/ 2637250 h 4343113"/>
              <a:gd name="connsiteX4675" fmla="*/ 1802603 w 6666359"/>
              <a:gd name="connsiteY4675" fmla="*/ 2634025 h 4343113"/>
              <a:gd name="connsiteX4676" fmla="*/ 1802603 w 6666359"/>
              <a:gd name="connsiteY4676" fmla="*/ 2630801 h 4343113"/>
              <a:gd name="connsiteX4677" fmla="*/ 1789704 w 6666359"/>
              <a:gd name="connsiteY4677" fmla="*/ 2614678 h 4343113"/>
              <a:gd name="connsiteX4678" fmla="*/ 1773581 w 6666359"/>
              <a:gd name="connsiteY4678" fmla="*/ 2598554 h 4343113"/>
              <a:gd name="connsiteX4679" fmla="*/ 1760682 w 6666359"/>
              <a:gd name="connsiteY4679" fmla="*/ 2588879 h 4343113"/>
              <a:gd name="connsiteX4680" fmla="*/ 1760682 w 6666359"/>
              <a:gd name="connsiteY4680" fmla="*/ 2585655 h 4343113"/>
              <a:gd name="connsiteX4681" fmla="*/ 1767131 w 6666359"/>
              <a:gd name="connsiteY4681" fmla="*/ 2588879 h 4343113"/>
              <a:gd name="connsiteX4682" fmla="*/ 1767131 w 6666359"/>
              <a:gd name="connsiteY4682" fmla="*/ 2585655 h 4343113"/>
              <a:gd name="connsiteX4683" fmla="*/ 1763907 w 6666359"/>
              <a:gd name="connsiteY4683" fmla="*/ 2582431 h 4343113"/>
              <a:gd name="connsiteX4684" fmla="*/ 1757457 w 6666359"/>
              <a:gd name="connsiteY4684" fmla="*/ 2575981 h 4343113"/>
              <a:gd name="connsiteX4685" fmla="*/ 1754232 w 6666359"/>
              <a:gd name="connsiteY4685" fmla="*/ 2582431 h 4343113"/>
              <a:gd name="connsiteX4686" fmla="*/ 1747783 w 6666359"/>
              <a:gd name="connsiteY4686" fmla="*/ 2582431 h 4343113"/>
              <a:gd name="connsiteX4687" fmla="*/ 1744558 w 6666359"/>
              <a:gd name="connsiteY4687" fmla="*/ 2582431 h 4343113"/>
              <a:gd name="connsiteX4688" fmla="*/ 1734884 w 6666359"/>
              <a:gd name="connsiteY4688" fmla="*/ 2582431 h 4343113"/>
              <a:gd name="connsiteX4689" fmla="*/ 1721985 w 6666359"/>
              <a:gd name="connsiteY4689" fmla="*/ 2575981 h 4343113"/>
              <a:gd name="connsiteX4690" fmla="*/ 1705863 w 6666359"/>
              <a:gd name="connsiteY4690" fmla="*/ 2569531 h 4343113"/>
              <a:gd name="connsiteX4691" fmla="*/ 1689739 w 6666359"/>
              <a:gd name="connsiteY4691" fmla="*/ 2566307 h 4343113"/>
              <a:gd name="connsiteX4692" fmla="*/ 1676840 w 6666359"/>
              <a:gd name="connsiteY4692" fmla="*/ 2563082 h 4343113"/>
              <a:gd name="connsiteX4693" fmla="*/ 1670391 w 6666359"/>
              <a:gd name="connsiteY4693" fmla="*/ 2559857 h 4343113"/>
              <a:gd name="connsiteX4694" fmla="*/ 1660716 w 6666359"/>
              <a:gd name="connsiteY4694" fmla="*/ 2553408 h 4343113"/>
              <a:gd name="connsiteX4695" fmla="*/ 1662178 w 6666359"/>
              <a:gd name="connsiteY4695" fmla="*/ 2549024 h 4343113"/>
              <a:gd name="connsiteX4696" fmla="*/ 1662177 w 6666359"/>
              <a:gd name="connsiteY4696" fmla="*/ 2549023 h 4343113"/>
              <a:gd name="connsiteX4697" fmla="*/ 1660716 w 6666359"/>
              <a:gd name="connsiteY4697" fmla="*/ 2553408 h 4343113"/>
              <a:gd name="connsiteX4698" fmla="*/ 1638142 w 6666359"/>
              <a:gd name="connsiteY4698" fmla="*/ 2530835 h 4343113"/>
              <a:gd name="connsiteX4699" fmla="*/ 1628468 w 6666359"/>
              <a:gd name="connsiteY4699" fmla="*/ 2521161 h 4343113"/>
              <a:gd name="connsiteX4700" fmla="*/ 1615570 w 6666359"/>
              <a:gd name="connsiteY4700" fmla="*/ 2514711 h 4343113"/>
              <a:gd name="connsiteX4701" fmla="*/ 1605895 w 6666359"/>
              <a:gd name="connsiteY4701" fmla="*/ 2511487 h 4343113"/>
              <a:gd name="connsiteX4702" fmla="*/ 1602671 w 6666359"/>
              <a:gd name="connsiteY4702" fmla="*/ 2508263 h 4343113"/>
              <a:gd name="connsiteX4703" fmla="*/ 1596221 w 6666359"/>
              <a:gd name="connsiteY4703" fmla="*/ 2514711 h 4343113"/>
              <a:gd name="connsiteX4704" fmla="*/ 1586547 w 6666359"/>
              <a:gd name="connsiteY4704" fmla="*/ 2521161 h 4343113"/>
              <a:gd name="connsiteX4705" fmla="*/ 1573649 w 6666359"/>
              <a:gd name="connsiteY4705" fmla="*/ 2527610 h 4343113"/>
              <a:gd name="connsiteX4706" fmla="*/ 1551076 w 6666359"/>
              <a:gd name="connsiteY4706" fmla="*/ 2521161 h 4343113"/>
              <a:gd name="connsiteX4707" fmla="*/ 1534952 w 6666359"/>
              <a:gd name="connsiteY4707" fmla="*/ 2517937 h 4343113"/>
              <a:gd name="connsiteX4708" fmla="*/ 1525279 w 6666359"/>
              <a:gd name="connsiteY4708" fmla="*/ 2514711 h 4343113"/>
              <a:gd name="connsiteX4709" fmla="*/ 1515605 w 6666359"/>
              <a:gd name="connsiteY4709" fmla="*/ 2508263 h 4343113"/>
              <a:gd name="connsiteX4710" fmla="*/ 1499481 w 6666359"/>
              <a:gd name="connsiteY4710" fmla="*/ 2501813 h 4343113"/>
              <a:gd name="connsiteX4711" fmla="*/ 1486582 w 6666359"/>
              <a:gd name="connsiteY4711" fmla="*/ 2498588 h 4343113"/>
              <a:gd name="connsiteX4712" fmla="*/ 1473684 w 6666359"/>
              <a:gd name="connsiteY4712" fmla="*/ 2492139 h 4343113"/>
              <a:gd name="connsiteX4713" fmla="*/ 1460785 w 6666359"/>
              <a:gd name="connsiteY4713" fmla="*/ 2485689 h 4343113"/>
              <a:gd name="connsiteX4714" fmla="*/ 1451111 w 6666359"/>
              <a:gd name="connsiteY4714" fmla="*/ 2479240 h 4343113"/>
              <a:gd name="connsiteX4715" fmla="*/ 1444661 w 6666359"/>
              <a:gd name="connsiteY4715" fmla="*/ 2472790 h 4343113"/>
              <a:gd name="connsiteX4716" fmla="*/ 1441437 w 6666359"/>
              <a:gd name="connsiteY4716" fmla="*/ 2476016 h 4343113"/>
              <a:gd name="connsiteX4717" fmla="*/ 1434987 w 6666359"/>
              <a:gd name="connsiteY4717" fmla="*/ 2472790 h 4343113"/>
              <a:gd name="connsiteX4718" fmla="*/ 1422088 w 6666359"/>
              <a:gd name="connsiteY4718" fmla="*/ 2469566 h 4343113"/>
              <a:gd name="connsiteX4719" fmla="*/ 1409190 w 6666359"/>
              <a:gd name="connsiteY4719" fmla="*/ 2459892 h 4343113"/>
              <a:gd name="connsiteX4720" fmla="*/ 1399515 w 6666359"/>
              <a:gd name="connsiteY4720" fmla="*/ 2453442 h 4343113"/>
              <a:gd name="connsiteX4721" fmla="*/ 1386617 w 6666359"/>
              <a:gd name="connsiteY4721" fmla="*/ 2446993 h 4343113"/>
              <a:gd name="connsiteX4722" fmla="*/ 1373717 w 6666359"/>
              <a:gd name="connsiteY4722" fmla="*/ 2437319 h 4343113"/>
              <a:gd name="connsiteX4723" fmla="*/ 1367269 w 6666359"/>
              <a:gd name="connsiteY4723" fmla="*/ 2424420 h 4343113"/>
              <a:gd name="connsiteX4724" fmla="*/ 1364043 w 6666359"/>
              <a:gd name="connsiteY4724" fmla="*/ 2417971 h 4343113"/>
              <a:gd name="connsiteX4725" fmla="*/ 1367269 w 6666359"/>
              <a:gd name="connsiteY4725" fmla="*/ 2414746 h 4343113"/>
              <a:gd name="connsiteX4726" fmla="*/ 1370493 w 6666359"/>
              <a:gd name="connsiteY4726" fmla="*/ 2408297 h 4343113"/>
              <a:gd name="connsiteX4727" fmla="*/ 1373717 w 6666359"/>
              <a:gd name="connsiteY4727" fmla="*/ 2401848 h 4343113"/>
              <a:gd name="connsiteX4728" fmla="*/ 1373717 w 6666359"/>
              <a:gd name="connsiteY4728" fmla="*/ 2395398 h 4343113"/>
              <a:gd name="connsiteX4729" fmla="*/ 1370493 w 6666359"/>
              <a:gd name="connsiteY4729" fmla="*/ 2388948 h 4343113"/>
              <a:gd name="connsiteX4730" fmla="*/ 1367269 w 6666359"/>
              <a:gd name="connsiteY4730" fmla="*/ 2382499 h 4343113"/>
              <a:gd name="connsiteX4731" fmla="*/ 1367269 w 6666359"/>
              <a:gd name="connsiteY4731" fmla="*/ 2379274 h 4343113"/>
              <a:gd name="connsiteX4732" fmla="*/ 1357595 w 6666359"/>
              <a:gd name="connsiteY4732" fmla="*/ 2359927 h 4343113"/>
              <a:gd name="connsiteX4733" fmla="*/ 1338246 w 6666359"/>
              <a:gd name="connsiteY4733" fmla="*/ 2340578 h 4343113"/>
              <a:gd name="connsiteX4734" fmla="*/ 1328572 w 6666359"/>
              <a:gd name="connsiteY4734" fmla="*/ 2327680 h 4343113"/>
              <a:gd name="connsiteX4735" fmla="*/ 1318898 w 6666359"/>
              <a:gd name="connsiteY4735" fmla="*/ 2321230 h 4343113"/>
              <a:gd name="connsiteX4736" fmla="*/ 1309224 w 6666359"/>
              <a:gd name="connsiteY4736" fmla="*/ 2311556 h 4343113"/>
              <a:gd name="connsiteX4737" fmla="*/ 1299550 w 6666359"/>
              <a:gd name="connsiteY4737" fmla="*/ 2301882 h 4343113"/>
              <a:gd name="connsiteX4738" fmla="*/ 1289875 w 6666359"/>
              <a:gd name="connsiteY4738" fmla="*/ 2295433 h 4343113"/>
              <a:gd name="connsiteX4739" fmla="*/ 1283426 w 6666359"/>
              <a:gd name="connsiteY4739" fmla="*/ 2288983 h 4343113"/>
              <a:gd name="connsiteX4740" fmla="*/ 1286651 w 6666359"/>
              <a:gd name="connsiteY4740" fmla="*/ 2279309 h 4343113"/>
              <a:gd name="connsiteX4741" fmla="*/ 1286651 w 6666359"/>
              <a:gd name="connsiteY4741" fmla="*/ 2272859 h 4343113"/>
              <a:gd name="connsiteX4742" fmla="*/ 1283426 w 6666359"/>
              <a:gd name="connsiteY4742" fmla="*/ 2266410 h 4343113"/>
              <a:gd name="connsiteX4743" fmla="*/ 1276977 w 6666359"/>
              <a:gd name="connsiteY4743" fmla="*/ 2266410 h 4343113"/>
              <a:gd name="connsiteX4744" fmla="*/ 1273752 w 6666359"/>
              <a:gd name="connsiteY4744" fmla="*/ 2263186 h 4343113"/>
              <a:gd name="connsiteX4745" fmla="*/ 1264078 w 6666359"/>
              <a:gd name="connsiteY4745" fmla="*/ 2256736 h 4343113"/>
              <a:gd name="connsiteX4746" fmla="*/ 1257628 w 6666359"/>
              <a:gd name="connsiteY4746" fmla="*/ 2243838 h 4343113"/>
              <a:gd name="connsiteX4747" fmla="*/ 1260854 w 6666359"/>
              <a:gd name="connsiteY4747" fmla="*/ 2240612 h 4343113"/>
              <a:gd name="connsiteX4748" fmla="*/ 1254404 w 6666359"/>
              <a:gd name="connsiteY4748" fmla="*/ 2237388 h 4343113"/>
              <a:gd name="connsiteX4749" fmla="*/ 1251180 w 6666359"/>
              <a:gd name="connsiteY4749" fmla="*/ 2237388 h 4343113"/>
              <a:gd name="connsiteX4750" fmla="*/ 1247955 w 6666359"/>
              <a:gd name="connsiteY4750" fmla="*/ 2237388 h 4343113"/>
              <a:gd name="connsiteX4751" fmla="*/ 1244730 w 6666359"/>
              <a:gd name="connsiteY4751" fmla="*/ 2234163 h 4343113"/>
              <a:gd name="connsiteX4752" fmla="*/ 1231831 w 6666359"/>
              <a:gd name="connsiteY4752" fmla="*/ 2221265 h 4343113"/>
              <a:gd name="connsiteX4753" fmla="*/ 1225382 w 6666359"/>
              <a:gd name="connsiteY4753" fmla="*/ 2214815 h 4343113"/>
              <a:gd name="connsiteX4754" fmla="*/ 1222157 w 6666359"/>
              <a:gd name="connsiteY4754" fmla="*/ 2208365 h 4343113"/>
              <a:gd name="connsiteX4755" fmla="*/ 1222157 w 6666359"/>
              <a:gd name="connsiteY4755" fmla="*/ 2201917 h 4343113"/>
              <a:gd name="connsiteX4756" fmla="*/ 1215707 w 6666359"/>
              <a:gd name="connsiteY4756" fmla="*/ 2195467 h 4343113"/>
              <a:gd name="connsiteX4757" fmla="*/ 1209258 w 6666359"/>
              <a:gd name="connsiteY4757" fmla="*/ 2185793 h 4343113"/>
              <a:gd name="connsiteX4758" fmla="*/ 1206034 w 6666359"/>
              <a:gd name="connsiteY4758" fmla="*/ 2172894 h 4343113"/>
              <a:gd name="connsiteX4759" fmla="*/ 1202809 w 6666359"/>
              <a:gd name="connsiteY4759" fmla="*/ 2166444 h 4343113"/>
              <a:gd name="connsiteX4760" fmla="*/ 1199584 w 6666359"/>
              <a:gd name="connsiteY4760" fmla="*/ 2153546 h 4343113"/>
              <a:gd name="connsiteX4761" fmla="*/ 1189910 w 6666359"/>
              <a:gd name="connsiteY4761" fmla="*/ 2153546 h 4343113"/>
              <a:gd name="connsiteX4762" fmla="*/ 1183460 w 6666359"/>
              <a:gd name="connsiteY4762" fmla="*/ 2147097 h 4343113"/>
              <a:gd name="connsiteX4763" fmla="*/ 1177012 w 6666359"/>
              <a:gd name="connsiteY4763" fmla="*/ 2147097 h 4343113"/>
              <a:gd name="connsiteX4764" fmla="*/ 1164113 w 6666359"/>
              <a:gd name="connsiteY4764" fmla="*/ 2140647 h 4343113"/>
              <a:gd name="connsiteX4765" fmla="*/ 1167337 w 6666359"/>
              <a:gd name="connsiteY4765" fmla="*/ 2143871 h 4343113"/>
              <a:gd name="connsiteX4766" fmla="*/ 1164113 w 6666359"/>
              <a:gd name="connsiteY4766" fmla="*/ 2147097 h 4343113"/>
              <a:gd name="connsiteX4767" fmla="*/ 1164113 w 6666359"/>
              <a:gd name="connsiteY4767" fmla="*/ 2150321 h 4343113"/>
              <a:gd name="connsiteX4768" fmla="*/ 1167337 w 6666359"/>
              <a:gd name="connsiteY4768" fmla="*/ 2163220 h 4343113"/>
              <a:gd name="connsiteX4769" fmla="*/ 1167337 w 6666359"/>
              <a:gd name="connsiteY4769" fmla="*/ 2166444 h 4343113"/>
              <a:gd name="connsiteX4770" fmla="*/ 1170562 w 6666359"/>
              <a:gd name="connsiteY4770" fmla="*/ 2172894 h 4343113"/>
              <a:gd name="connsiteX4771" fmla="*/ 1167337 w 6666359"/>
              <a:gd name="connsiteY4771" fmla="*/ 2182568 h 4343113"/>
              <a:gd name="connsiteX4772" fmla="*/ 1170562 w 6666359"/>
              <a:gd name="connsiteY4772" fmla="*/ 2185793 h 4343113"/>
              <a:gd name="connsiteX4773" fmla="*/ 1183460 w 6666359"/>
              <a:gd name="connsiteY4773" fmla="*/ 2195467 h 4343113"/>
              <a:gd name="connsiteX4774" fmla="*/ 1193135 w 6666359"/>
              <a:gd name="connsiteY4774" fmla="*/ 2205141 h 4343113"/>
              <a:gd name="connsiteX4775" fmla="*/ 1202809 w 6666359"/>
              <a:gd name="connsiteY4775" fmla="*/ 2218039 h 4343113"/>
              <a:gd name="connsiteX4776" fmla="*/ 1209258 w 6666359"/>
              <a:gd name="connsiteY4776" fmla="*/ 2230939 h 4343113"/>
              <a:gd name="connsiteX4777" fmla="*/ 1209258 w 6666359"/>
              <a:gd name="connsiteY4777" fmla="*/ 2237388 h 4343113"/>
              <a:gd name="connsiteX4778" fmla="*/ 1212483 w 6666359"/>
              <a:gd name="connsiteY4778" fmla="*/ 2243838 h 4343113"/>
              <a:gd name="connsiteX4779" fmla="*/ 1218933 w 6666359"/>
              <a:gd name="connsiteY4779" fmla="*/ 2250286 h 4343113"/>
              <a:gd name="connsiteX4780" fmla="*/ 1222157 w 6666359"/>
              <a:gd name="connsiteY4780" fmla="*/ 2256736 h 4343113"/>
              <a:gd name="connsiteX4781" fmla="*/ 1228607 w 6666359"/>
              <a:gd name="connsiteY4781" fmla="*/ 2259961 h 4343113"/>
              <a:gd name="connsiteX4782" fmla="*/ 1231831 w 6666359"/>
              <a:gd name="connsiteY4782" fmla="*/ 2263186 h 4343113"/>
              <a:gd name="connsiteX4783" fmla="*/ 1235056 w 6666359"/>
              <a:gd name="connsiteY4783" fmla="*/ 2266410 h 4343113"/>
              <a:gd name="connsiteX4784" fmla="*/ 1238281 w 6666359"/>
              <a:gd name="connsiteY4784" fmla="*/ 2272859 h 4343113"/>
              <a:gd name="connsiteX4785" fmla="*/ 1241506 w 6666359"/>
              <a:gd name="connsiteY4785" fmla="*/ 2282533 h 4343113"/>
              <a:gd name="connsiteX4786" fmla="*/ 1241506 w 6666359"/>
              <a:gd name="connsiteY4786" fmla="*/ 2288983 h 4343113"/>
              <a:gd name="connsiteX4787" fmla="*/ 1247955 w 6666359"/>
              <a:gd name="connsiteY4787" fmla="*/ 2301882 h 4343113"/>
              <a:gd name="connsiteX4788" fmla="*/ 1251180 w 6666359"/>
              <a:gd name="connsiteY4788" fmla="*/ 2308331 h 4343113"/>
              <a:gd name="connsiteX4789" fmla="*/ 1254404 w 6666359"/>
              <a:gd name="connsiteY4789" fmla="*/ 2314780 h 4343113"/>
              <a:gd name="connsiteX4790" fmla="*/ 1254404 w 6666359"/>
              <a:gd name="connsiteY4790" fmla="*/ 2324454 h 4343113"/>
              <a:gd name="connsiteX4791" fmla="*/ 1264078 w 6666359"/>
              <a:gd name="connsiteY4791" fmla="*/ 2327680 h 4343113"/>
              <a:gd name="connsiteX4792" fmla="*/ 1264078 w 6666359"/>
              <a:gd name="connsiteY4792" fmla="*/ 2324454 h 4343113"/>
              <a:gd name="connsiteX4793" fmla="*/ 1267303 w 6666359"/>
              <a:gd name="connsiteY4793" fmla="*/ 2324454 h 4343113"/>
              <a:gd name="connsiteX4794" fmla="*/ 1276977 w 6666359"/>
              <a:gd name="connsiteY4794" fmla="*/ 2337354 h 4343113"/>
              <a:gd name="connsiteX4795" fmla="*/ 1283426 w 6666359"/>
              <a:gd name="connsiteY4795" fmla="*/ 2347027 h 4343113"/>
              <a:gd name="connsiteX4796" fmla="*/ 1276977 w 6666359"/>
              <a:gd name="connsiteY4796" fmla="*/ 2356701 h 4343113"/>
              <a:gd name="connsiteX4797" fmla="*/ 1267303 w 6666359"/>
              <a:gd name="connsiteY4797" fmla="*/ 2356701 h 4343113"/>
              <a:gd name="connsiteX4798" fmla="*/ 1267303 w 6666359"/>
              <a:gd name="connsiteY4798" fmla="*/ 2347027 h 4343113"/>
              <a:gd name="connsiteX4799" fmla="*/ 1264078 w 6666359"/>
              <a:gd name="connsiteY4799" fmla="*/ 2343803 h 4343113"/>
              <a:gd name="connsiteX4800" fmla="*/ 1257628 w 6666359"/>
              <a:gd name="connsiteY4800" fmla="*/ 2340578 h 4343113"/>
              <a:gd name="connsiteX4801" fmla="*/ 1235056 w 6666359"/>
              <a:gd name="connsiteY4801" fmla="*/ 2321230 h 4343113"/>
              <a:gd name="connsiteX4802" fmla="*/ 1228607 w 6666359"/>
              <a:gd name="connsiteY4802" fmla="*/ 2314780 h 4343113"/>
              <a:gd name="connsiteX4803" fmla="*/ 1225382 w 6666359"/>
              <a:gd name="connsiteY4803" fmla="*/ 2314780 h 4343113"/>
              <a:gd name="connsiteX4804" fmla="*/ 1222157 w 6666359"/>
              <a:gd name="connsiteY4804" fmla="*/ 2308331 h 4343113"/>
              <a:gd name="connsiteX4805" fmla="*/ 1225382 w 6666359"/>
              <a:gd name="connsiteY4805" fmla="*/ 2298657 h 4343113"/>
              <a:gd name="connsiteX4806" fmla="*/ 1218933 w 6666359"/>
              <a:gd name="connsiteY4806" fmla="*/ 2285759 h 4343113"/>
              <a:gd name="connsiteX4807" fmla="*/ 1215707 w 6666359"/>
              <a:gd name="connsiteY4807" fmla="*/ 2279309 h 4343113"/>
              <a:gd name="connsiteX4808" fmla="*/ 1212483 w 6666359"/>
              <a:gd name="connsiteY4808" fmla="*/ 2276084 h 4343113"/>
              <a:gd name="connsiteX4809" fmla="*/ 1199584 w 6666359"/>
              <a:gd name="connsiteY4809" fmla="*/ 2269635 h 4343113"/>
              <a:gd name="connsiteX4810" fmla="*/ 1193135 w 6666359"/>
              <a:gd name="connsiteY4810" fmla="*/ 2266410 h 4343113"/>
              <a:gd name="connsiteX4811" fmla="*/ 1189910 w 6666359"/>
              <a:gd name="connsiteY4811" fmla="*/ 2263186 h 4343113"/>
              <a:gd name="connsiteX4812" fmla="*/ 1164113 w 6666359"/>
              <a:gd name="connsiteY4812" fmla="*/ 2243838 h 4343113"/>
              <a:gd name="connsiteX4813" fmla="*/ 1180236 w 6666359"/>
              <a:gd name="connsiteY4813" fmla="*/ 2237388 h 4343113"/>
              <a:gd name="connsiteX4814" fmla="*/ 1180236 w 6666359"/>
              <a:gd name="connsiteY4814" fmla="*/ 2227714 h 4343113"/>
              <a:gd name="connsiteX4815" fmla="*/ 1180236 w 6666359"/>
              <a:gd name="connsiteY4815" fmla="*/ 2221265 h 4343113"/>
              <a:gd name="connsiteX4816" fmla="*/ 1170562 w 6666359"/>
              <a:gd name="connsiteY4816" fmla="*/ 2211591 h 4343113"/>
              <a:gd name="connsiteX4817" fmla="*/ 1157663 w 6666359"/>
              <a:gd name="connsiteY4817" fmla="*/ 2201917 h 4343113"/>
              <a:gd name="connsiteX4818" fmla="*/ 1147989 w 6666359"/>
              <a:gd name="connsiteY4818" fmla="*/ 2195467 h 4343113"/>
              <a:gd name="connsiteX4819" fmla="*/ 1144765 w 6666359"/>
              <a:gd name="connsiteY4819" fmla="*/ 2182568 h 4343113"/>
              <a:gd name="connsiteX4820" fmla="*/ 1141540 w 6666359"/>
              <a:gd name="connsiteY4820" fmla="*/ 2179344 h 4343113"/>
              <a:gd name="connsiteX4821" fmla="*/ 1141540 w 6666359"/>
              <a:gd name="connsiteY4821" fmla="*/ 2176118 h 4343113"/>
              <a:gd name="connsiteX4822" fmla="*/ 1138315 w 6666359"/>
              <a:gd name="connsiteY4822" fmla="*/ 2166444 h 4343113"/>
              <a:gd name="connsiteX4823" fmla="*/ 1128641 w 6666359"/>
              <a:gd name="connsiteY4823" fmla="*/ 2153546 h 4343113"/>
              <a:gd name="connsiteX4824" fmla="*/ 1125417 w 6666359"/>
              <a:gd name="connsiteY4824" fmla="*/ 2143871 h 4343113"/>
              <a:gd name="connsiteX4825" fmla="*/ 1115742 w 6666359"/>
              <a:gd name="connsiteY4825" fmla="*/ 2121299 h 4343113"/>
              <a:gd name="connsiteX4826" fmla="*/ 1115743 w 6666359"/>
              <a:gd name="connsiteY4826" fmla="*/ 2121299 h 4343113"/>
              <a:gd name="connsiteX4827" fmla="*/ 1102845 w 6666359"/>
              <a:gd name="connsiteY4827" fmla="*/ 2098726 h 4343113"/>
              <a:gd name="connsiteX4828" fmla="*/ 1093170 w 6666359"/>
              <a:gd name="connsiteY4828" fmla="*/ 2089052 h 4343113"/>
              <a:gd name="connsiteX4829" fmla="*/ 1083496 w 6666359"/>
              <a:gd name="connsiteY4829" fmla="*/ 2082603 h 4343113"/>
              <a:gd name="connsiteX4830" fmla="*/ 1054474 w 6666359"/>
              <a:gd name="connsiteY4830" fmla="*/ 2072929 h 4343113"/>
              <a:gd name="connsiteX4831" fmla="*/ 1041575 w 6666359"/>
              <a:gd name="connsiteY4831" fmla="*/ 2069703 h 4343113"/>
              <a:gd name="connsiteX4832" fmla="*/ 1038351 w 6666359"/>
              <a:gd name="connsiteY4832" fmla="*/ 2060029 h 4343113"/>
              <a:gd name="connsiteX4833" fmla="*/ 1022227 w 6666359"/>
              <a:gd name="connsiteY4833" fmla="*/ 2037457 h 4343113"/>
              <a:gd name="connsiteX4834" fmla="*/ 1009328 w 6666359"/>
              <a:gd name="connsiteY4834" fmla="*/ 2021334 h 4343113"/>
              <a:gd name="connsiteX4835" fmla="*/ 1009328 w 6666359"/>
              <a:gd name="connsiteY4835" fmla="*/ 2014884 h 4343113"/>
              <a:gd name="connsiteX4836" fmla="*/ 1012554 w 6666359"/>
              <a:gd name="connsiteY4836" fmla="*/ 2011659 h 4343113"/>
              <a:gd name="connsiteX4837" fmla="*/ 1009328 w 6666359"/>
              <a:gd name="connsiteY4837" fmla="*/ 2005210 h 4343113"/>
              <a:gd name="connsiteX4838" fmla="*/ 1006104 w 6666359"/>
              <a:gd name="connsiteY4838" fmla="*/ 2005210 h 4343113"/>
              <a:gd name="connsiteX4839" fmla="*/ 999654 w 6666359"/>
              <a:gd name="connsiteY4839" fmla="*/ 1998761 h 4343113"/>
              <a:gd name="connsiteX4840" fmla="*/ 996430 w 6666359"/>
              <a:gd name="connsiteY4840" fmla="*/ 1985861 h 4343113"/>
              <a:gd name="connsiteX4841" fmla="*/ 996430 w 6666359"/>
              <a:gd name="connsiteY4841" fmla="*/ 1979413 h 4343113"/>
              <a:gd name="connsiteX4842" fmla="*/ 989980 w 6666359"/>
              <a:gd name="connsiteY4842" fmla="*/ 1976188 h 4343113"/>
              <a:gd name="connsiteX4843" fmla="*/ 983531 w 6666359"/>
              <a:gd name="connsiteY4843" fmla="*/ 1963289 h 4343113"/>
              <a:gd name="connsiteX4844" fmla="*/ 977081 w 6666359"/>
              <a:gd name="connsiteY4844" fmla="*/ 1956840 h 4343113"/>
              <a:gd name="connsiteX4845" fmla="*/ 970632 w 6666359"/>
              <a:gd name="connsiteY4845" fmla="*/ 1950390 h 4343113"/>
              <a:gd name="connsiteX4846" fmla="*/ 967407 w 6666359"/>
              <a:gd name="connsiteY4846" fmla="*/ 1937491 h 4343113"/>
              <a:gd name="connsiteX4847" fmla="*/ 970632 w 6666359"/>
              <a:gd name="connsiteY4847" fmla="*/ 1931042 h 4343113"/>
              <a:gd name="connsiteX4848" fmla="*/ 967407 w 6666359"/>
              <a:gd name="connsiteY4848" fmla="*/ 1924593 h 4343113"/>
              <a:gd name="connsiteX4849" fmla="*/ 960957 w 6666359"/>
              <a:gd name="connsiteY4849" fmla="*/ 1914919 h 4343113"/>
              <a:gd name="connsiteX4850" fmla="*/ 954509 w 6666359"/>
              <a:gd name="connsiteY4850" fmla="*/ 1902020 h 4343113"/>
              <a:gd name="connsiteX4851" fmla="*/ 960957 w 6666359"/>
              <a:gd name="connsiteY4851" fmla="*/ 1895570 h 4343113"/>
              <a:gd name="connsiteX4852" fmla="*/ 960957 w 6666359"/>
              <a:gd name="connsiteY4852" fmla="*/ 1889121 h 4343113"/>
              <a:gd name="connsiteX4853" fmla="*/ 960957 w 6666359"/>
              <a:gd name="connsiteY4853" fmla="*/ 1872998 h 4343113"/>
              <a:gd name="connsiteX4854" fmla="*/ 957733 w 6666359"/>
              <a:gd name="connsiteY4854" fmla="*/ 1863323 h 4343113"/>
              <a:gd name="connsiteX4855" fmla="*/ 957733 w 6666359"/>
              <a:gd name="connsiteY4855" fmla="*/ 1856874 h 4343113"/>
              <a:gd name="connsiteX4856" fmla="*/ 954509 w 6666359"/>
              <a:gd name="connsiteY4856" fmla="*/ 1848812 h 4343113"/>
              <a:gd name="connsiteX4857" fmla="*/ 954509 w 6666359"/>
              <a:gd name="connsiteY4857" fmla="*/ 1839138 h 4343113"/>
              <a:gd name="connsiteX4858" fmla="*/ 954509 w 6666359"/>
              <a:gd name="connsiteY4858" fmla="*/ 1829463 h 4343113"/>
              <a:gd name="connsiteX4859" fmla="*/ 957733 w 6666359"/>
              <a:gd name="connsiteY4859" fmla="*/ 1823015 h 4343113"/>
              <a:gd name="connsiteX4860" fmla="*/ 960957 w 6666359"/>
              <a:gd name="connsiteY4860" fmla="*/ 1806891 h 4343113"/>
              <a:gd name="connsiteX4861" fmla="*/ 960957 w 6666359"/>
              <a:gd name="connsiteY4861" fmla="*/ 1781094 h 4343113"/>
              <a:gd name="connsiteX4862" fmla="*/ 964183 w 6666359"/>
              <a:gd name="connsiteY4862" fmla="*/ 1774644 h 4343113"/>
              <a:gd name="connsiteX4863" fmla="*/ 964183 w 6666359"/>
              <a:gd name="connsiteY4863" fmla="*/ 1768194 h 4343113"/>
              <a:gd name="connsiteX4864" fmla="*/ 964183 w 6666359"/>
              <a:gd name="connsiteY4864" fmla="*/ 1748847 h 4343113"/>
              <a:gd name="connsiteX4865" fmla="*/ 964183 w 6666359"/>
              <a:gd name="connsiteY4865" fmla="*/ 1739172 h 4343113"/>
              <a:gd name="connsiteX4866" fmla="*/ 964183 w 6666359"/>
              <a:gd name="connsiteY4866" fmla="*/ 1729498 h 4343113"/>
              <a:gd name="connsiteX4867" fmla="*/ 970632 w 6666359"/>
              <a:gd name="connsiteY4867" fmla="*/ 1719824 h 4343113"/>
              <a:gd name="connsiteX4868" fmla="*/ 967407 w 6666359"/>
              <a:gd name="connsiteY4868" fmla="*/ 1710150 h 4343113"/>
              <a:gd name="connsiteX4869" fmla="*/ 964183 w 6666359"/>
              <a:gd name="connsiteY4869" fmla="*/ 1703700 h 4343113"/>
              <a:gd name="connsiteX4870" fmla="*/ 957733 w 6666359"/>
              <a:gd name="connsiteY4870" fmla="*/ 1697251 h 4343113"/>
              <a:gd name="connsiteX4871" fmla="*/ 954509 w 6666359"/>
              <a:gd name="connsiteY4871" fmla="*/ 1687577 h 4343113"/>
              <a:gd name="connsiteX4872" fmla="*/ 954509 w 6666359"/>
              <a:gd name="connsiteY4872" fmla="*/ 1681127 h 4343113"/>
              <a:gd name="connsiteX4873" fmla="*/ 948059 w 6666359"/>
              <a:gd name="connsiteY4873" fmla="*/ 1677903 h 4343113"/>
              <a:gd name="connsiteX4874" fmla="*/ 948059 w 6666359"/>
              <a:gd name="connsiteY4874" fmla="*/ 1665004 h 4343113"/>
              <a:gd name="connsiteX4875" fmla="*/ 964183 w 6666359"/>
              <a:gd name="connsiteY4875" fmla="*/ 1671453 h 4343113"/>
              <a:gd name="connsiteX4876" fmla="*/ 983531 w 6666359"/>
              <a:gd name="connsiteY4876" fmla="*/ 1674679 h 4343113"/>
              <a:gd name="connsiteX4877" fmla="*/ 989980 w 6666359"/>
              <a:gd name="connsiteY4877" fmla="*/ 1674679 h 4343113"/>
              <a:gd name="connsiteX4878" fmla="*/ 996430 w 6666359"/>
              <a:gd name="connsiteY4878" fmla="*/ 1684353 h 4343113"/>
              <a:gd name="connsiteX4879" fmla="*/ 996430 w 6666359"/>
              <a:gd name="connsiteY4879" fmla="*/ 1697251 h 4343113"/>
              <a:gd name="connsiteX4880" fmla="*/ 993206 w 6666359"/>
              <a:gd name="connsiteY4880" fmla="*/ 1700476 h 4343113"/>
              <a:gd name="connsiteX4881" fmla="*/ 983531 w 6666359"/>
              <a:gd name="connsiteY4881" fmla="*/ 1703700 h 4343113"/>
              <a:gd name="connsiteX4882" fmla="*/ 986755 w 6666359"/>
              <a:gd name="connsiteY4882" fmla="*/ 1706926 h 4343113"/>
              <a:gd name="connsiteX4883" fmla="*/ 989980 w 6666359"/>
              <a:gd name="connsiteY4883" fmla="*/ 1706926 h 4343113"/>
              <a:gd name="connsiteX4884" fmla="*/ 999654 w 6666359"/>
              <a:gd name="connsiteY4884" fmla="*/ 1700476 h 4343113"/>
              <a:gd name="connsiteX4885" fmla="*/ 999654 w 6666359"/>
              <a:gd name="connsiteY4885" fmla="*/ 1697251 h 4343113"/>
              <a:gd name="connsiteX4886" fmla="*/ 999654 w 6666359"/>
              <a:gd name="connsiteY4886" fmla="*/ 1694027 h 4343113"/>
              <a:gd name="connsiteX4887" fmla="*/ 1002880 w 6666359"/>
              <a:gd name="connsiteY4887" fmla="*/ 1677903 h 4343113"/>
              <a:gd name="connsiteX4888" fmla="*/ 999654 w 6666359"/>
              <a:gd name="connsiteY4888" fmla="*/ 1668229 h 4343113"/>
              <a:gd name="connsiteX4889" fmla="*/ 996430 w 6666359"/>
              <a:gd name="connsiteY4889" fmla="*/ 1665004 h 4343113"/>
              <a:gd name="connsiteX4890" fmla="*/ 993206 w 6666359"/>
              <a:gd name="connsiteY4890" fmla="*/ 1658555 h 4343113"/>
              <a:gd name="connsiteX4891" fmla="*/ 993206 w 6666359"/>
              <a:gd name="connsiteY4891" fmla="*/ 1652106 h 4343113"/>
              <a:gd name="connsiteX4892" fmla="*/ 989980 w 6666359"/>
              <a:gd name="connsiteY4892" fmla="*/ 1645656 h 4343113"/>
              <a:gd name="connsiteX4893" fmla="*/ 983531 w 6666359"/>
              <a:gd name="connsiteY4893" fmla="*/ 1645656 h 4343113"/>
              <a:gd name="connsiteX4894" fmla="*/ 983531 w 6666359"/>
              <a:gd name="connsiteY4894" fmla="*/ 1639206 h 4343113"/>
              <a:gd name="connsiteX4895" fmla="*/ 973857 w 6666359"/>
              <a:gd name="connsiteY4895" fmla="*/ 1629532 h 4343113"/>
              <a:gd name="connsiteX4896" fmla="*/ 970632 w 6666359"/>
              <a:gd name="connsiteY4896" fmla="*/ 1626308 h 4343113"/>
              <a:gd name="connsiteX4897" fmla="*/ 967407 w 6666359"/>
              <a:gd name="connsiteY4897" fmla="*/ 1623083 h 4343113"/>
              <a:gd name="connsiteX4898" fmla="*/ 964183 w 6666359"/>
              <a:gd name="connsiteY4898" fmla="*/ 1623083 h 4343113"/>
              <a:gd name="connsiteX4899" fmla="*/ 951284 w 6666359"/>
              <a:gd name="connsiteY4899" fmla="*/ 1616634 h 4343113"/>
              <a:gd name="connsiteX4900" fmla="*/ 944834 w 6666359"/>
              <a:gd name="connsiteY4900" fmla="*/ 1610185 h 4343113"/>
              <a:gd name="connsiteX4901" fmla="*/ 951284 w 6666359"/>
              <a:gd name="connsiteY4901" fmla="*/ 1603735 h 4343113"/>
              <a:gd name="connsiteX4902" fmla="*/ 951284 w 6666359"/>
              <a:gd name="connsiteY4902" fmla="*/ 1594061 h 4343113"/>
              <a:gd name="connsiteX4903" fmla="*/ 944834 w 6666359"/>
              <a:gd name="connsiteY4903" fmla="*/ 1587611 h 4343113"/>
              <a:gd name="connsiteX4904" fmla="*/ 938385 w 6666359"/>
              <a:gd name="connsiteY4904" fmla="*/ 1597285 h 4343113"/>
              <a:gd name="connsiteX4905" fmla="*/ 925486 w 6666359"/>
              <a:gd name="connsiteY4905" fmla="*/ 1597285 h 4343113"/>
              <a:gd name="connsiteX4906" fmla="*/ 915816 w 6666359"/>
              <a:gd name="connsiteY4906" fmla="*/ 1594062 h 4343113"/>
              <a:gd name="connsiteX4907" fmla="*/ 922262 w 6666359"/>
              <a:gd name="connsiteY4907" fmla="*/ 1597284 h 4343113"/>
              <a:gd name="connsiteX4908" fmla="*/ 931936 w 6666359"/>
              <a:gd name="connsiteY4908" fmla="*/ 1600510 h 4343113"/>
              <a:gd name="connsiteX4909" fmla="*/ 935160 w 6666359"/>
              <a:gd name="connsiteY4909" fmla="*/ 1606958 h 4343113"/>
              <a:gd name="connsiteX4910" fmla="*/ 938385 w 6666359"/>
              <a:gd name="connsiteY4910" fmla="*/ 1613408 h 4343113"/>
              <a:gd name="connsiteX4911" fmla="*/ 948059 w 6666359"/>
              <a:gd name="connsiteY4911" fmla="*/ 1629531 h 4343113"/>
              <a:gd name="connsiteX4912" fmla="*/ 970632 w 6666359"/>
              <a:gd name="connsiteY4912" fmla="*/ 1645655 h 4343113"/>
              <a:gd name="connsiteX4913" fmla="*/ 977081 w 6666359"/>
              <a:gd name="connsiteY4913" fmla="*/ 1658554 h 4343113"/>
              <a:gd name="connsiteX4914" fmla="*/ 973857 w 6666359"/>
              <a:gd name="connsiteY4914" fmla="*/ 1668228 h 4343113"/>
              <a:gd name="connsiteX4915" fmla="*/ 970632 w 6666359"/>
              <a:gd name="connsiteY4915" fmla="*/ 1668228 h 4343113"/>
              <a:gd name="connsiteX4916" fmla="*/ 941610 w 6666359"/>
              <a:gd name="connsiteY4916" fmla="*/ 1655329 h 4343113"/>
              <a:gd name="connsiteX4917" fmla="*/ 928710 w 6666359"/>
              <a:gd name="connsiteY4917" fmla="*/ 1645655 h 4343113"/>
              <a:gd name="connsiteX4918" fmla="*/ 925486 w 6666359"/>
              <a:gd name="connsiteY4918" fmla="*/ 1642431 h 4343113"/>
              <a:gd name="connsiteX4919" fmla="*/ 922262 w 6666359"/>
              <a:gd name="connsiteY4919" fmla="*/ 1632757 h 4343113"/>
              <a:gd name="connsiteX4920" fmla="*/ 919036 w 6666359"/>
              <a:gd name="connsiteY4920" fmla="*/ 1629531 h 4343113"/>
              <a:gd name="connsiteX4921" fmla="*/ 912588 w 6666359"/>
              <a:gd name="connsiteY4921" fmla="*/ 1632757 h 4343113"/>
              <a:gd name="connsiteX4922" fmla="*/ 906138 w 6666359"/>
              <a:gd name="connsiteY4922" fmla="*/ 1632757 h 4343113"/>
              <a:gd name="connsiteX4923" fmla="*/ 906138 w 6666359"/>
              <a:gd name="connsiteY4923" fmla="*/ 1626307 h 4343113"/>
              <a:gd name="connsiteX4924" fmla="*/ 893239 w 6666359"/>
              <a:gd name="connsiteY4924" fmla="*/ 1613408 h 4343113"/>
              <a:gd name="connsiteX4925" fmla="*/ 883565 w 6666359"/>
              <a:gd name="connsiteY4925" fmla="*/ 1606958 h 4343113"/>
              <a:gd name="connsiteX4926" fmla="*/ 880341 w 6666359"/>
              <a:gd name="connsiteY4926" fmla="*/ 1606958 h 4343113"/>
              <a:gd name="connsiteX4927" fmla="*/ 877116 w 6666359"/>
              <a:gd name="connsiteY4927" fmla="*/ 1600510 h 4343113"/>
              <a:gd name="connsiteX4928" fmla="*/ 870666 w 6666359"/>
              <a:gd name="connsiteY4928" fmla="*/ 1594060 h 4343113"/>
              <a:gd name="connsiteX4929" fmla="*/ 867442 w 6666359"/>
              <a:gd name="connsiteY4929" fmla="*/ 1584386 h 4343113"/>
              <a:gd name="connsiteX4930" fmla="*/ 873891 w 6666359"/>
              <a:gd name="connsiteY4930" fmla="*/ 1581161 h 4343113"/>
              <a:gd name="connsiteX4931" fmla="*/ 883565 w 6666359"/>
              <a:gd name="connsiteY4931" fmla="*/ 1581161 h 4343113"/>
              <a:gd name="connsiteX4932" fmla="*/ 890015 w 6666359"/>
              <a:gd name="connsiteY4932" fmla="*/ 1587610 h 4343113"/>
              <a:gd name="connsiteX4933" fmla="*/ 909364 w 6666359"/>
              <a:gd name="connsiteY4933" fmla="*/ 1594060 h 4343113"/>
              <a:gd name="connsiteX4934" fmla="*/ 915812 w 6666359"/>
              <a:gd name="connsiteY4934" fmla="*/ 1594060 h 4343113"/>
              <a:gd name="connsiteX4935" fmla="*/ 915812 w 6666359"/>
              <a:gd name="connsiteY4935" fmla="*/ 1577937 h 4343113"/>
              <a:gd name="connsiteX4936" fmla="*/ 906138 w 6666359"/>
              <a:gd name="connsiteY4936" fmla="*/ 1581162 h 4343113"/>
              <a:gd name="connsiteX4937" fmla="*/ 896464 w 6666359"/>
              <a:gd name="connsiteY4937" fmla="*/ 1581162 h 4343113"/>
              <a:gd name="connsiteX4938" fmla="*/ 880341 w 6666359"/>
              <a:gd name="connsiteY4938" fmla="*/ 1571487 h 4343113"/>
              <a:gd name="connsiteX4939" fmla="*/ 880341 w 6666359"/>
              <a:gd name="connsiteY4939" fmla="*/ 1565037 h 4343113"/>
              <a:gd name="connsiteX4940" fmla="*/ 880341 w 6666359"/>
              <a:gd name="connsiteY4940" fmla="*/ 1558589 h 4343113"/>
              <a:gd name="connsiteX4941" fmla="*/ 877116 w 6666359"/>
              <a:gd name="connsiteY4941" fmla="*/ 1545689 h 4343113"/>
              <a:gd name="connsiteX4942" fmla="*/ 880341 w 6666359"/>
              <a:gd name="connsiteY4942" fmla="*/ 1532791 h 4343113"/>
              <a:gd name="connsiteX4943" fmla="*/ 880341 w 6666359"/>
              <a:gd name="connsiteY4943" fmla="*/ 1526342 h 4343113"/>
              <a:gd name="connsiteX4944" fmla="*/ 873891 w 6666359"/>
              <a:gd name="connsiteY4944" fmla="*/ 1516668 h 4343113"/>
              <a:gd name="connsiteX4945" fmla="*/ 873891 w 6666359"/>
              <a:gd name="connsiteY4945" fmla="*/ 1510218 h 4343113"/>
              <a:gd name="connsiteX4946" fmla="*/ 870666 w 6666359"/>
              <a:gd name="connsiteY4946" fmla="*/ 1513442 h 4343113"/>
              <a:gd name="connsiteX4947" fmla="*/ 857768 w 6666359"/>
              <a:gd name="connsiteY4947" fmla="*/ 1497319 h 4343113"/>
              <a:gd name="connsiteX4948" fmla="*/ 854543 w 6666359"/>
              <a:gd name="connsiteY4948" fmla="*/ 1490869 h 4343113"/>
              <a:gd name="connsiteX4949" fmla="*/ 857768 w 6666359"/>
              <a:gd name="connsiteY4949" fmla="*/ 1484421 h 4343113"/>
              <a:gd name="connsiteX4950" fmla="*/ 857768 w 6666359"/>
              <a:gd name="connsiteY4950" fmla="*/ 1481195 h 4343113"/>
              <a:gd name="connsiteX4951" fmla="*/ 857768 w 6666359"/>
              <a:gd name="connsiteY4951" fmla="*/ 1477971 h 4343113"/>
              <a:gd name="connsiteX4952" fmla="*/ 860992 w 6666359"/>
              <a:gd name="connsiteY4952" fmla="*/ 1474746 h 4343113"/>
              <a:gd name="connsiteX4953" fmla="*/ 857768 w 6666359"/>
              <a:gd name="connsiteY4953" fmla="*/ 1471522 h 4343113"/>
              <a:gd name="connsiteX4954" fmla="*/ 851318 w 6666359"/>
              <a:gd name="connsiteY4954" fmla="*/ 1481195 h 4343113"/>
              <a:gd name="connsiteX4955" fmla="*/ 848094 w 6666359"/>
              <a:gd name="connsiteY4955" fmla="*/ 1481195 h 4343113"/>
              <a:gd name="connsiteX4956" fmla="*/ 848094 w 6666359"/>
              <a:gd name="connsiteY4956" fmla="*/ 1490869 h 4343113"/>
              <a:gd name="connsiteX4957" fmla="*/ 841644 w 6666359"/>
              <a:gd name="connsiteY4957" fmla="*/ 1484421 h 4343113"/>
              <a:gd name="connsiteX4958" fmla="*/ 831970 w 6666359"/>
              <a:gd name="connsiteY4958" fmla="*/ 1471522 h 4343113"/>
              <a:gd name="connsiteX4959" fmla="*/ 828746 w 6666359"/>
              <a:gd name="connsiteY4959" fmla="*/ 1465072 h 4343113"/>
              <a:gd name="connsiteX4960" fmla="*/ 828746 w 6666359"/>
              <a:gd name="connsiteY4960" fmla="*/ 1461848 h 4343113"/>
              <a:gd name="connsiteX4961" fmla="*/ 825521 w 6666359"/>
              <a:gd name="connsiteY4961" fmla="*/ 1461848 h 4343113"/>
              <a:gd name="connsiteX4962" fmla="*/ 825521 w 6666359"/>
              <a:gd name="connsiteY4962" fmla="*/ 1458623 h 4343113"/>
              <a:gd name="connsiteX4963" fmla="*/ 822296 w 6666359"/>
              <a:gd name="connsiteY4963" fmla="*/ 1455398 h 4343113"/>
              <a:gd name="connsiteX4964" fmla="*/ 825521 w 6666359"/>
              <a:gd name="connsiteY4964" fmla="*/ 1442500 h 4343113"/>
              <a:gd name="connsiteX4965" fmla="*/ 828746 w 6666359"/>
              <a:gd name="connsiteY4965" fmla="*/ 1436050 h 4343113"/>
              <a:gd name="connsiteX4966" fmla="*/ 828746 w 6666359"/>
              <a:gd name="connsiteY4966" fmla="*/ 1426377 h 4343113"/>
              <a:gd name="connsiteX4967" fmla="*/ 819071 w 6666359"/>
              <a:gd name="connsiteY4967" fmla="*/ 1439276 h 4343113"/>
              <a:gd name="connsiteX4968" fmla="*/ 809397 w 6666359"/>
              <a:gd name="connsiteY4968" fmla="*/ 1432826 h 4343113"/>
              <a:gd name="connsiteX4969" fmla="*/ 809397 w 6666359"/>
              <a:gd name="connsiteY4969" fmla="*/ 1423152 h 4343113"/>
              <a:gd name="connsiteX4970" fmla="*/ 812621 w 6666359"/>
              <a:gd name="connsiteY4970" fmla="*/ 1419928 h 4343113"/>
              <a:gd name="connsiteX4971" fmla="*/ 812621 w 6666359"/>
              <a:gd name="connsiteY4971" fmla="*/ 1407029 h 4343113"/>
              <a:gd name="connsiteX4972" fmla="*/ 809397 w 6666359"/>
              <a:gd name="connsiteY4972" fmla="*/ 1397355 h 4343113"/>
              <a:gd name="connsiteX4973" fmla="*/ 802948 w 6666359"/>
              <a:gd name="connsiteY4973" fmla="*/ 1394130 h 4343113"/>
              <a:gd name="connsiteX4974" fmla="*/ 796499 w 6666359"/>
              <a:gd name="connsiteY4974" fmla="*/ 1394130 h 4343113"/>
              <a:gd name="connsiteX4975" fmla="*/ 790049 w 6666359"/>
              <a:gd name="connsiteY4975" fmla="*/ 1410254 h 4343113"/>
              <a:gd name="connsiteX4976" fmla="*/ 783600 w 6666359"/>
              <a:gd name="connsiteY4976" fmla="*/ 1403804 h 4343113"/>
              <a:gd name="connsiteX4977" fmla="*/ 786825 w 6666359"/>
              <a:gd name="connsiteY4977" fmla="*/ 1397355 h 4343113"/>
              <a:gd name="connsiteX4978" fmla="*/ 790049 w 6666359"/>
              <a:gd name="connsiteY4978" fmla="*/ 1384455 h 4343113"/>
              <a:gd name="connsiteX4979" fmla="*/ 780376 w 6666359"/>
              <a:gd name="connsiteY4979" fmla="*/ 1371557 h 4343113"/>
              <a:gd name="connsiteX4980" fmla="*/ 777150 w 6666359"/>
              <a:gd name="connsiteY4980" fmla="*/ 1368333 h 4343113"/>
              <a:gd name="connsiteX4981" fmla="*/ 773926 w 6666359"/>
              <a:gd name="connsiteY4981" fmla="*/ 1365108 h 4343113"/>
              <a:gd name="connsiteX4982" fmla="*/ 761027 w 6666359"/>
              <a:gd name="connsiteY4982" fmla="*/ 1348984 h 4343113"/>
              <a:gd name="connsiteX4983" fmla="*/ 757802 w 6666359"/>
              <a:gd name="connsiteY4983" fmla="*/ 1342534 h 4343113"/>
              <a:gd name="connsiteX4984" fmla="*/ 754577 w 6666359"/>
              <a:gd name="connsiteY4984" fmla="*/ 1329636 h 4343113"/>
              <a:gd name="connsiteX4985" fmla="*/ 744903 w 6666359"/>
              <a:gd name="connsiteY4985" fmla="*/ 1310287 h 4343113"/>
              <a:gd name="connsiteX4986" fmla="*/ 741679 w 6666359"/>
              <a:gd name="connsiteY4986" fmla="*/ 1303839 h 4343113"/>
              <a:gd name="connsiteX4987" fmla="*/ 738455 w 6666359"/>
              <a:gd name="connsiteY4987" fmla="*/ 1303839 h 4343113"/>
              <a:gd name="connsiteX4988" fmla="*/ 725555 w 6666359"/>
              <a:gd name="connsiteY4988" fmla="*/ 1290940 h 4343113"/>
              <a:gd name="connsiteX4989" fmla="*/ 719106 w 6666359"/>
              <a:gd name="connsiteY4989" fmla="*/ 1265142 h 4343113"/>
              <a:gd name="connsiteX4990" fmla="*/ 715881 w 6666359"/>
              <a:gd name="connsiteY4990" fmla="*/ 1252243 h 4343113"/>
              <a:gd name="connsiteX4991" fmla="*/ 709432 w 6666359"/>
              <a:gd name="connsiteY4991" fmla="*/ 1261918 h 4343113"/>
              <a:gd name="connsiteX4992" fmla="*/ 715881 w 6666359"/>
              <a:gd name="connsiteY4992" fmla="*/ 1274816 h 4343113"/>
              <a:gd name="connsiteX4993" fmla="*/ 719106 w 6666359"/>
              <a:gd name="connsiteY4993" fmla="*/ 1284490 h 4343113"/>
              <a:gd name="connsiteX4994" fmla="*/ 722331 w 6666359"/>
              <a:gd name="connsiteY4994" fmla="*/ 1300613 h 4343113"/>
              <a:gd name="connsiteX4995" fmla="*/ 709432 w 6666359"/>
              <a:gd name="connsiteY4995" fmla="*/ 1297389 h 4343113"/>
              <a:gd name="connsiteX4996" fmla="*/ 702982 w 6666359"/>
              <a:gd name="connsiteY4996" fmla="*/ 1290940 h 4343113"/>
              <a:gd name="connsiteX4997" fmla="*/ 699758 w 6666359"/>
              <a:gd name="connsiteY4997" fmla="*/ 1278041 h 4343113"/>
              <a:gd name="connsiteX4998" fmla="*/ 693308 w 6666359"/>
              <a:gd name="connsiteY4998" fmla="*/ 1281266 h 4343113"/>
              <a:gd name="connsiteX4999" fmla="*/ 699758 w 6666359"/>
              <a:gd name="connsiteY4999" fmla="*/ 1287715 h 4343113"/>
              <a:gd name="connsiteX5000" fmla="*/ 699758 w 6666359"/>
              <a:gd name="connsiteY5000" fmla="*/ 1297389 h 4343113"/>
              <a:gd name="connsiteX5001" fmla="*/ 693308 w 6666359"/>
              <a:gd name="connsiteY5001" fmla="*/ 1300613 h 4343113"/>
              <a:gd name="connsiteX5002" fmla="*/ 686859 w 6666359"/>
              <a:gd name="connsiteY5002" fmla="*/ 1300613 h 4343113"/>
              <a:gd name="connsiteX5003" fmla="*/ 664287 w 6666359"/>
              <a:gd name="connsiteY5003" fmla="*/ 1284490 h 4343113"/>
              <a:gd name="connsiteX5004" fmla="*/ 651387 w 6666359"/>
              <a:gd name="connsiteY5004" fmla="*/ 1268367 h 4343113"/>
              <a:gd name="connsiteX5005" fmla="*/ 648163 w 6666359"/>
              <a:gd name="connsiteY5005" fmla="*/ 1261918 h 4343113"/>
              <a:gd name="connsiteX5006" fmla="*/ 641713 w 6666359"/>
              <a:gd name="connsiteY5006" fmla="*/ 1261918 h 4343113"/>
              <a:gd name="connsiteX5007" fmla="*/ 615916 w 6666359"/>
              <a:gd name="connsiteY5007" fmla="*/ 1245794 h 4343113"/>
              <a:gd name="connsiteX5008" fmla="*/ 628814 w 6666359"/>
              <a:gd name="connsiteY5008" fmla="*/ 1242569 h 4343113"/>
              <a:gd name="connsiteX5009" fmla="*/ 628814 w 6666359"/>
              <a:gd name="connsiteY5009" fmla="*/ 1232895 h 4343113"/>
              <a:gd name="connsiteX5010" fmla="*/ 622365 w 6666359"/>
              <a:gd name="connsiteY5010" fmla="*/ 1223221 h 4343113"/>
              <a:gd name="connsiteX5011" fmla="*/ 615916 w 6666359"/>
              <a:gd name="connsiteY5011" fmla="*/ 1236119 h 4343113"/>
              <a:gd name="connsiteX5012" fmla="*/ 603017 w 6666359"/>
              <a:gd name="connsiteY5012" fmla="*/ 1239345 h 4343113"/>
              <a:gd name="connsiteX5013" fmla="*/ 590119 w 6666359"/>
              <a:gd name="connsiteY5013" fmla="*/ 1236119 h 4343113"/>
              <a:gd name="connsiteX5014" fmla="*/ 577220 w 6666359"/>
              <a:gd name="connsiteY5014" fmla="*/ 1229671 h 4343113"/>
              <a:gd name="connsiteX5015" fmla="*/ 564321 w 6666359"/>
              <a:gd name="connsiteY5015" fmla="*/ 1223221 h 4343113"/>
              <a:gd name="connsiteX5016" fmla="*/ 551422 w 6666359"/>
              <a:gd name="connsiteY5016" fmla="*/ 1223221 h 4343113"/>
              <a:gd name="connsiteX5017" fmla="*/ 538523 w 6666359"/>
              <a:gd name="connsiteY5017" fmla="*/ 1223221 h 4343113"/>
              <a:gd name="connsiteX5018" fmla="*/ 522399 w 6666359"/>
              <a:gd name="connsiteY5018" fmla="*/ 1226446 h 4343113"/>
              <a:gd name="connsiteX5019" fmla="*/ 496602 w 6666359"/>
              <a:gd name="connsiteY5019" fmla="*/ 1210322 h 4343113"/>
              <a:gd name="connsiteX5020" fmla="*/ 490153 w 6666359"/>
              <a:gd name="connsiteY5020" fmla="*/ 1207098 h 4343113"/>
              <a:gd name="connsiteX5021" fmla="*/ 486928 w 6666359"/>
              <a:gd name="connsiteY5021" fmla="*/ 1200648 h 4343113"/>
              <a:gd name="connsiteX5022" fmla="*/ 474030 w 6666359"/>
              <a:gd name="connsiteY5022" fmla="*/ 1197424 h 4343113"/>
              <a:gd name="connsiteX5023" fmla="*/ 467580 w 6666359"/>
              <a:gd name="connsiteY5023" fmla="*/ 1197424 h 4343113"/>
              <a:gd name="connsiteX5024" fmla="*/ 464356 w 6666359"/>
              <a:gd name="connsiteY5024" fmla="*/ 1184525 h 4343113"/>
              <a:gd name="connsiteX5025" fmla="*/ 461131 w 6666359"/>
              <a:gd name="connsiteY5025" fmla="*/ 1181300 h 4343113"/>
              <a:gd name="connsiteX5026" fmla="*/ 451457 w 6666359"/>
              <a:gd name="connsiteY5026" fmla="*/ 1187750 h 4343113"/>
              <a:gd name="connsiteX5027" fmla="*/ 435333 w 6666359"/>
              <a:gd name="connsiteY5027" fmla="*/ 1184525 h 4343113"/>
              <a:gd name="connsiteX5028" fmla="*/ 435333 w 6666359"/>
              <a:gd name="connsiteY5028" fmla="*/ 1200648 h 4343113"/>
              <a:gd name="connsiteX5029" fmla="*/ 438558 w 6666359"/>
              <a:gd name="connsiteY5029" fmla="*/ 1203874 h 4343113"/>
              <a:gd name="connsiteX5030" fmla="*/ 438558 w 6666359"/>
              <a:gd name="connsiteY5030" fmla="*/ 1207098 h 4343113"/>
              <a:gd name="connsiteX5031" fmla="*/ 432109 w 6666359"/>
              <a:gd name="connsiteY5031" fmla="*/ 1219997 h 4343113"/>
              <a:gd name="connsiteX5032" fmla="*/ 425659 w 6666359"/>
              <a:gd name="connsiteY5032" fmla="*/ 1229671 h 4343113"/>
              <a:gd name="connsiteX5033" fmla="*/ 409536 w 6666359"/>
              <a:gd name="connsiteY5033" fmla="*/ 1229671 h 4343113"/>
              <a:gd name="connsiteX5034" fmla="*/ 393412 w 6666359"/>
              <a:gd name="connsiteY5034" fmla="*/ 1242569 h 4343113"/>
              <a:gd name="connsiteX5035" fmla="*/ 380513 w 6666359"/>
              <a:gd name="connsiteY5035" fmla="*/ 1252243 h 4343113"/>
              <a:gd name="connsiteX5036" fmla="*/ 367615 w 6666359"/>
              <a:gd name="connsiteY5036" fmla="*/ 1261918 h 4343113"/>
              <a:gd name="connsiteX5037" fmla="*/ 354716 w 6666359"/>
              <a:gd name="connsiteY5037" fmla="*/ 1261918 h 4343113"/>
              <a:gd name="connsiteX5038" fmla="*/ 351491 w 6666359"/>
              <a:gd name="connsiteY5038" fmla="*/ 1258693 h 4343113"/>
              <a:gd name="connsiteX5039" fmla="*/ 351491 w 6666359"/>
              <a:gd name="connsiteY5039" fmla="*/ 1252243 h 4343113"/>
              <a:gd name="connsiteX5040" fmla="*/ 354716 w 6666359"/>
              <a:gd name="connsiteY5040" fmla="*/ 1226446 h 4343113"/>
              <a:gd name="connsiteX5041" fmla="*/ 361165 w 6666359"/>
              <a:gd name="connsiteY5041" fmla="*/ 1216772 h 4343113"/>
              <a:gd name="connsiteX5042" fmla="*/ 364391 w 6666359"/>
              <a:gd name="connsiteY5042" fmla="*/ 1203874 h 4343113"/>
              <a:gd name="connsiteX5043" fmla="*/ 361165 w 6666359"/>
              <a:gd name="connsiteY5043" fmla="*/ 1197424 h 4343113"/>
              <a:gd name="connsiteX5044" fmla="*/ 374065 w 6666359"/>
              <a:gd name="connsiteY5044" fmla="*/ 1187750 h 4343113"/>
              <a:gd name="connsiteX5045" fmla="*/ 386963 w 6666359"/>
              <a:gd name="connsiteY5045" fmla="*/ 1181300 h 4343113"/>
              <a:gd name="connsiteX5046" fmla="*/ 386963 w 6666359"/>
              <a:gd name="connsiteY5046" fmla="*/ 1174851 h 4343113"/>
              <a:gd name="connsiteX5047" fmla="*/ 383738 w 6666359"/>
              <a:gd name="connsiteY5047" fmla="*/ 1171626 h 4343113"/>
              <a:gd name="connsiteX5048" fmla="*/ 380513 w 6666359"/>
              <a:gd name="connsiteY5048" fmla="*/ 1168401 h 4343113"/>
              <a:gd name="connsiteX5049" fmla="*/ 374065 w 6666359"/>
              <a:gd name="connsiteY5049" fmla="*/ 1174851 h 4343113"/>
              <a:gd name="connsiteX5050" fmla="*/ 367615 w 6666359"/>
              <a:gd name="connsiteY5050" fmla="*/ 1181300 h 4343113"/>
              <a:gd name="connsiteX5051" fmla="*/ 354716 w 6666359"/>
              <a:gd name="connsiteY5051" fmla="*/ 1190974 h 4343113"/>
              <a:gd name="connsiteX5052" fmla="*/ 345042 w 6666359"/>
              <a:gd name="connsiteY5052" fmla="*/ 1207098 h 4343113"/>
              <a:gd name="connsiteX5053" fmla="*/ 338593 w 6666359"/>
              <a:gd name="connsiteY5053" fmla="*/ 1223221 h 4343113"/>
              <a:gd name="connsiteX5054" fmla="*/ 328918 w 6666359"/>
              <a:gd name="connsiteY5054" fmla="*/ 1236119 h 4343113"/>
              <a:gd name="connsiteX5055" fmla="*/ 325694 w 6666359"/>
              <a:gd name="connsiteY5055" fmla="*/ 1239345 h 4343113"/>
              <a:gd name="connsiteX5056" fmla="*/ 325694 w 6666359"/>
              <a:gd name="connsiteY5056" fmla="*/ 1242569 h 4343113"/>
              <a:gd name="connsiteX5057" fmla="*/ 319244 w 6666359"/>
              <a:gd name="connsiteY5057" fmla="*/ 1245794 h 4343113"/>
              <a:gd name="connsiteX5058" fmla="*/ 303121 w 6666359"/>
              <a:gd name="connsiteY5058" fmla="*/ 1255468 h 4343113"/>
              <a:gd name="connsiteX5059" fmla="*/ 303121 w 6666359"/>
              <a:gd name="connsiteY5059" fmla="*/ 1268367 h 4343113"/>
              <a:gd name="connsiteX5060" fmla="*/ 306345 w 6666359"/>
              <a:gd name="connsiteY5060" fmla="*/ 1268367 h 4343113"/>
              <a:gd name="connsiteX5061" fmla="*/ 322469 w 6666359"/>
              <a:gd name="connsiteY5061" fmla="*/ 1274816 h 4343113"/>
              <a:gd name="connsiteX5062" fmla="*/ 299895 w 6666359"/>
              <a:gd name="connsiteY5062" fmla="*/ 1307063 h 4343113"/>
              <a:gd name="connsiteX5063" fmla="*/ 280548 w 6666359"/>
              <a:gd name="connsiteY5063" fmla="*/ 1313513 h 4343113"/>
              <a:gd name="connsiteX5064" fmla="*/ 280548 w 6666359"/>
              <a:gd name="connsiteY5064" fmla="*/ 1316737 h 4343113"/>
              <a:gd name="connsiteX5065" fmla="*/ 277323 w 6666359"/>
              <a:gd name="connsiteY5065" fmla="*/ 1319962 h 4343113"/>
              <a:gd name="connsiteX5066" fmla="*/ 274098 w 6666359"/>
              <a:gd name="connsiteY5066" fmla="*/ 1323187 h 4343113"/>
              <a:gd name="connsiteX5067" fmla="*/ 270874 w 6666359"/>
              <a:gd name="connsiteY5067" fmla="*/ 1323187 h 4343113"/>
              <a:gd name="connsiteX5068" fmla="*/ 267650 w 6666359"/>
              <a:gd name="connsiteY5068" fmla="*/ 1326411 h 4343113"/>
              <a:gd name="connsiteX5069" fmla="*/ 267650 w 6666359"/>
              <a:gd name="connsiteY5069" fmla="*/ 1329636 h 4343113"/>
              <a:gd name="connsiteX5070" fmla="*/ 261200 w 6666359"/>
              <a:gd name="connsiteY5070" fmla="*/ 1332861 h 4343113"/>
              <a:gd name="connsiteX5071" fmla="*/ 251526 w 6666359"/>
              <a:gd name="connsiteY5071" fmla="*/ 1339310 h 4343113"/>
              <a:gd name="connsiteX5072" fmla="*/ 254750 w 6666359"/>
              <a:gd name="connsiteY5072" fmla="*/ 1345760 h 4343113"/>
              <a:gd name="connsiteX5073" fmla="*/ 248301 w 6666359"/>
              <a:gd name="connsiteY5073" fmla="*/ 1352209 h 4343113"/>
              <a:gd name="connsiteX5074" fmla="*/ 232177 w 6666359"/>
              <a:gd name="connsiteY5074" fmla="*/ 1358658 h 4343113"/>
              <a:gd name="connsiteX5075" fmla="*/ 222504 w 6666359"/>
              <a:gd name="connsiteY5075" fmla="*/ 1365108 h 4343113"/>
              <a:gd name="connsiteX5076" fmla="*/ 209604 w 6666359"/>
              <a:gd name="connsiteY5076" fmla="*/ 1374782 h 4343113"/>
              <a:gd name="connsiteX5077" fmla="*/ 212829 w 6666359"/>
              <a:gd name="connsiteY5077" fmla="*/ 1381231 h 4343113"/>
              <a:gd name="connsiteX5078" fmla="*/ 216053 w 6666359"/>
              <a:gd name="connsiteY5078" fmla="*/ 1384455 h 4343113"/>
              <a:gd name="connsiteX5079" fmla="*/ 206379 w 6666359"/>
              <a:gd name="connsiteY5079" fmla="*/ 1390905 h 4343113"/>
              <a:gd name="connsiteX5080" fmla="*/ 190256 w 6666359"/>
              <a:gd name="connsiteY5080" fmla="*/ 1397355 h 4343113"/>
              <a:gd name="connsiteX5081" fmla="*/ 183806 w 6666359"/>
              <a:gd name="connsiteY5081" fmla="*/ 1397355 h 4343113"/>
              <a:gd name="connsiteX5082" fmla="*/ 180582 w 6666359"/>
              <a:gd name="connsiteY5082" fmla="*/ 1397355 h 4343113"/>
              <a:gd name="connsiteX5083" fmla="*/ 167683 w 6666359"/>
              <a:gd name="connsiteY5083" fmla="*/ 1403804 h 4343113"/>
              <a:gd name="connsiteX5084" fmla="*/ 164459 w 6666359"/>
              <a:gd name="connsiteY5084" fmla="*/ 1410254 h 4343113"/>
              <a:gd name="connsiteX5085" fmla="*/ 158009 w 6666359"/>
              <a:gd name="connsiteY5085" fmla="*/ 1413478 h 4343113"/>
              <a:gd name="connsiteX5086" fmla="*/ 145111 w 6666359"/>
              <a:gd name="connsiteY5086" fmla="*/ 1416702 h 4343113"/>
              <a:gd name="connsiteX5087" fmla="*/ 138661 w 6666359"/>
              <a:gd name="connsiteY5087" fmla="*/ 1416702 h 4343113"/>
              <a:gd name="connsiteX5088" fmla="*/ 135437 w 6666359"/>
              <a:gd name="connsiteY5088" fmla="*/ 1413478 h 4343113"/>
              <a:gd name="connsiteX5089" fmla="*/ 132212 w 6666359"/>
              <a:gd name="connsiteY5089" fmla="*/ 1423152 h 4343113"/>
              <a:gd name="connsiteX5090" fmla="*/ 128987 w 6666359"/>
              <a:gd name="connsiteY5090" fmla="*/ 1426377 h 4343113"/>
              <a:gd name="connsiteX5091" fmla="*/ 116089 w 6666359"/>
              <a:gd name="connsiteY5091" fmla="*/ 1432826 h 4343113"/>
              <a:gd name="connsiteX5092" fmla="*/ 106414 w 6666359"/>
              <a:gd name="connsiteY5092" fmla="*/ 1432826 h 4343113"/>
              <a:gd name="connsiteX5093" fmla="*/ 103190 w 6666359"/>
              <a:gd name="connsiteY5093" fmla="*/ 1426377 h 4343113"/>
              <a:gd name="connsiteX5094" fmla="*/ 116089 w 6666359"/>
              <a:gd name="connsiteY5094" fmla="*/ 1416702 h 4343113"/>
              <a:gd name="connsiteX5095" fmla="*/ 119313 w 6666359"/>
              <a:gd name="connsiteY5095" fmla="*/ 1413478 h 4343113"/>
              <a:gd name="connsiteX5096" fmla="*/ 125763 w 6666359"/>
              <a:gd name="connsiteY5096" fmla="*/ 1403804 h 4343113"/>
              <a:gd name="connsiteX5097" fmla="*/ 148335 w 6666359"/>
              <a:gd name="connsiteY5097" fmla="*/ 1394130 h 4343113"/>
              <a:gd name="connsiteX5098" fmla="*/ 154785 w 6666359"/>
              <a:gd name="connsiteY5098" fmla="*/ 1394130 h 4343113"/>
              <a:gd name="connsiteX5099" fmla="*/ 161234 w 6666359"/>
              <a:gd name="connsiteY5099" fmla="*/ 1390905 h 4343113"/>
              <a:gd name="connsiteX5100" fmla="*/ 170908 w 6666359"/>
              <a:gd name="connsiteY5100" fmla="*/ 1378007 h 4343113"/>
              <a:gd name="connsiteX5101" fmla="*/ 183806 w 6666359"/>
              <a:gd name="connsiteY5101" fmla="*/ 1368333 h 4343113"/>
              <a:gd name="connsiteX5102" fmla="*/ 196706 w 6666359"/>
              <a:gd name="connsiteY5102" fmla="*/ 1358658 h 4343113"/>
              <a:gd name="connsiteX5103" fmla="*/ 203155 w 6666359"/>
              <a:gd name="connsiteY5103" fmla="*/ 1352209 h 4343113"/>
              <a:gd name="connsiteX5104" fmla="*/ 209604 w 6666359"/>
              <a:gd name="connsiteY5104" fmla="*/ 1342534 h 4343113"/>
              <a:gd name="connsiteX5105" fmla="*/ 216053 w 6666359"/>
              <a:gd name="connsiteY5105" fmla="*/ 1336086 h 4343113"/>
              <a:gd name="connsiteX5106" fmla="*/ 225729 w 6666359"/>
              <a:gd name="connsiteY5106" fmla="*/ 1326411 h 4343113"/>
              <a:gd name="connsiteX5107" fmla="*/ 225729 w 6666359"/>
              <a:gd name="connsiteY5107" fmla="*/ 1323187 h 4343113"/>
              <a:gd name="connsiteX5108" fmla="*/ 225729 w 6666359"/>
              <a:gd name="connsiteY5108" fmla="*/ 1313513 h 4343113"/>
              <a:gd name="connsiteX5109" fmla="*/ 228953 w 6666359"/>
              <a:gd name="connsiteY5109" fmla="*/ 1303839 h 4343113"/>
              <a:gd name="connsiteX5110" fmla="*/ 228953 w 6666359"/>
              <a:gd name="connsiteY5110" fmla="*/ 1297389 h 4343113"/>
              <a:gd name="connsiteX5111" fmla="*/ 241852 w 6666359"/>
              <a:gd name="connsiteY5111" fmla="*/ 1281266 h 4343113"/>
              <a:gd name="connsiteX5112" fmla="*/ 238627 w 6666359"/>
              <a:gd name="connsiteY5112" fmla="*/ 1274816 h 4343113"/>
              <a:gd name="connsiteX5113" fmla="*/ 235402 w 6666359"/>
              <a:gd name="connsiteY5113" fmla="*/ 1274816 h 4343113"/>
              <a:gd name="connsiteX5114" fmla="*/ 232177 w 6666359"/>
              <a:gd name="connsiteY5114" fmla="*/ 1278041 h 4343113"/>
              <a:gd name="connsiteX5115" fmla="*/ 216053 w 6666359"/>
              <a:gd name="connsiteY5115" fmla="*/ 1284490 h 4343113"/>
              <a:gd name="connsiteX5116" fmla="*/ 212829 w 6666359"/>
              <a:gd name="connsiteY5116" fmla="*/ 1284490 h 4343113"/>
              <a:gd name="connsiteX5117" fmla="*/ 206379 w 6666359"/>
              <a:gd name="connsiteY5117" fmla="*/ 1287715 h 4343113"/>
              <a:gd name="connsiteX5118" fmla="*/ 203155 w 6666359"/>
              <a:gd name="connsiteY5118" fmla="*/ 1290940 h 4343113"/>
              <a:gd name="connsiteX5119" fmla="*/ 193482 w 6666359"/>
              <a:gd name="connsiteY5119" fmla="*/ 1287715 h 4343113"/>
              <a:gd name="connsiteX5120" fmla="*/ 180582 w 6666359"/>
              <a:gd name="connsiteY5120" fmla="*/ 1274816 h 4343113"/>
              <a:gd name="connsiteX5121" fmla="*/ 174132 w 6666359"/>
              <a:gd name="connsiteY5121" fmla="*/ 1271592 h 4343113"/>
              <a:gd name="connsiteX5122" fmla="*/ 167683 w 6666359"/>
              <a:gd name="connsiteY5122" fmla="*/ 1271592 h 4343113"/>
              <a:gd name="connsiteX5123" fmla="*/ 154785 w 6666359"/>
              <a:gd name="connsiteY5123" fmla="*/ 1274816 h 4343113"/>
              <a:gd name="connsiteX5124" fmla="*/ 145111 w 6666359"/>
              <a:gd name="connsiteY5124" fmla="*/ 1278041 h 4343113"/>
              <a:gd name="connsiteX5125" fmla="*/ 145111 w 6666359"/>
              <a:gd name="connsiteY5125" fmla="*/ 1284490 h 4343113"/>
              <a:gd name="connsiteX5126" fmla="*/ 141887 w 6666359"/>
              <a:gd name="connsiteY5126" fmla="*/ 1284490 h 4343113"/>
              <a:gd name="connsiteX5127" fmla="*/ 132212 w 6666359"/>
              <a:gd name="connsiteY5127" fmla="*/ 1284490 h 4343113"/>
              <a:gd name="connsiteX5128" fmla="*/ 135437 w 6666359"/>
              <a:gd name="connsiteY5128" fmla="*/ 1278041 h 4343113"/>
              <a:gd name="connsiteX5129" fmla="*/ 138661 w 6666359"/>
              <a:gd name="connsiteY5129" fmla="*/ 1268367 h 4343113"/>
              <a:gd name="connsiteX5130" fmla="*/ 132212 w 6666359"/>
              <a:gd name="connsiteY5130" fmla="*/ 1265142 h 4343113"/>
              <a:gd name="connsiteX5131" fmla="*/ 132212 w 6666359"/>
              <a:gd name="connsiteY5131" fmla="*/ 1255468 h 4343113"/>
              <a:gd name="connsiteX5132" fmla="*/ 135437 w 6666359"/>
              <a:gd name="connsiteY5132" fmla="*/ 1249019 h 4343113"/>
              <a:gd name="connsiteX5133" fmla="*/ 135437 w 6666359"/>
              <a:gd name="connsiteY5133" fmla="*/ 1242569 h 4343113"/>
              <a:gd name="connsiteX5134" fmla="*/ 125763 w 6666359"/>
              <a:gd name="connsiteY5134" fmla="*/ 1223221 h 4343113"/>
              <a:gd name="connsiteX5135" fmla="*/ 112864 w 6666359"/>
              <a:gd name="connsiteY5135" fmla="*/ 1229671 h 4343113"/>
              <a:gd name="connsiteX5136" fmla="*/ 93516 w 6666359"/>
              <a:gd name="connsiteY5136" fmla="*/ 1236119 h 4343113"/>
              <a:gd name="connsiteX5137" fmla="*/ 83841 w 6666359"/>
              <a:gd name="connsiteY5137" fmla="*/ 1232895 h 4343113"/>
              <a:gd name="connsiteX5138" fmla="*/ 70943 w 6666359"/>
              <a:gd name="connsiteY5138" fmla="*/ 1213547 h 4343113"/>
              <a:gd name="connsiteX5139" fmla="*/ 61269 w 6666359"/>
              <a:gd name="connsiteY5139" fmla="*/ 1207098 h 4343113"/>
              <a:gd name="connsiteX5140" fmla="*/ 58044 w 6666359"/>
              <a:gd name="connsiteY5140" fmla="*/ 1203874 h 4343113"/>
              <a:gd name="connsiteX5141" fmla="*/ 61269 w 6666359"/>
              <a:gd name="connsiteY5141" fmla="*/ 1197424 h 4343113"/>
              <a:gd name="connsiteX5142" fmla="*/ 67717 w 6666359"/>
              <a:gd name="connsiteY5142" fmla="*/ 1187750 h 4343113"/>
              <a:gd name="connsiteX5143" fmla="*/ 58044 w 6666359"/>
              <a:gd name="connsiteY5143" fmla="*/ 1178075 h 4343113"/>
              <a:gd name="connsiteX5144" fmla="*/ 51594 w 6666359"/>
              <a:gd name="connsiteY5144" fmla="*/ 1178075 h 4343113"/>
              <a:gd name="connsiteX5145" fmla="*/ 41920 w 6666359"/>
              <a:gd name="connsiteY5145" fmla="*/ 1161952 h 4343113"/>
              <a:gd name="connsiteX5146" fmla="*/ 41920 w 6666359"/>
              <a:gd name="connsiteY5146" fmla="*/ 1145829 h 4343113"/>
              <a:gd name="connsiteX5147" fmla="*/ 48370 w 6666359"/>
              <a:gd name="connsiteY5147" fmla="*/ 1129705 h 4343113"/>
              <a:gd name="connsiteX5148" fmla="*/ 58044 w 6666359"/>
              <a:gd name="connsiteY5148" fmla="*/ 1116806 h 4343113"/>
              <a:gd name="connsiteX5149" fmla="*/ 64493 w 6666359"/>
              <a:gd name="connsiteY5149" fmla="*/ 1110357 h 4343113"/>
              <a:gd name="connsiteX5150" fmla="*/ 77391 w 6666359"/>
              <a:gd name="connsiteY5150" fmla="*/ 1100683 h 4343113"/>
              <a:gd name="connsiteX5151" fmla="*/ 70943 w 6666359"/>
              <a:gd name="connsiteY5151" fmla="*/ 1100683 h 4343113"/>
              <a:gd name="connsiteX5152" fmla="*/ 80617 w 6666359"/>
              <a:gd name="connsiteY5152" fmla="*/ 1087784 h 4343113"/>
              <a:gd name="connsiteX5153" fmla="*/ 74167 w 6666359"/>
              <a:gd name="connsiteY5153" fmla="*/ 1081335 h 4343113"/>
              <a:gd name="connsiteX5154" fmla="*/ 80617 w 6666359"/>
              <a:gd name="connsiteY5154" fmla="*/ 1078110 h 4343113"/>
              <a:gd name="connsiteX5155" fmla="*/ 90291 w 6666359"/>
              <a:gd name="connsiteY5155" fmla="*/ 1078110 h 4343113"/>
              <a:gd name="connsiteX5156" fmla="*/ 93516 w 6666359"/>
              <a:gd name="connsiteY5156" fmla="*/ 1078110 h 4343113"/>
              <a:gd name="connsiteX5157" fmla="*/ 90291 w 6666359"/>
              <a:gd name="connsiteY5157" fmla="*/ 1091009 h 4343113"/>
              <a:gd name="connsiteX5158" fmla="*/ 99964 w 6666359"/>
              <a:gd name="connsiteY5158" fmla="*/ 1084559 h 4343113"/>
              <a:gd name="connsiteX5159" fmla="*/ 112864 w 6666359"/>
              <a:gd name="connsiteY5159" fmla="*/ 1081335 h 4343113"/>
              <a:gd name="connsiteX5160" fmla="*/ 112864 w 6666359"/>
              <a:gd name="connsiteY5160" fmla="*/ 1078110 h 4343113"/>
              <a:gd name="connsiteX5161" fmla="*/ 116089 w 6666359"/>
              <a:gd name="connsiteY5161" fmla="*/ 1078110 h 4343113"/>
              <a:gd name="connsiteX5162" fmla="*/ 119313 w 6666359"/>
              <a:gd name="connsiteY5162" fmla="*/ 1071661 h 4343113"/>
              <a:gd name="connsiteX5163" fmla="*/ 125763 w 6666359"/>
              <a:gd name="connsiteY5163" fmla="*/ 1065211 h 4343113"/>
              <a:gd name="connsiteX5164" fmla="*/ 132212 w 6666359"/>
              <a:gd name="connsiteY5164" fmla="*/ 1068436 h 4343113"/>
              <a:gd name="connsiteX5165" fmla="*/ 145111 w 6666359"/>
              <a:gd name="connsiteY5165" fmla="*/ 1065211 h 4343113"/>
              <a:gd name="connsiteX5166" fmla="*/ 154785 w 6666359"/>
              <a:gd name="connsiteY5166" fmla="*/ 1055538 h 4343113"/>
              <a:gd name="connsiteX5167" fmla="*/ 154785 w 6666359"/>
              <a:gd name="connsiteY5167" fmla="*/ 1036189 h 4343113"/>
              <a:gd name="connsiteX5168" fmla="*/ 151561 w 6666359"/>
              <a:gd name="connsiteY5168" fmla="*/ 1023290 h 4343113"/>
              <a:gd name="connsiteX5169" fmla="*/ 151561 w 6666359"/>
              <a:gd name="connsiteY5169" fmla="*/ 1007167 h 4343113"/>
              <a:gd name="connsiteX5170" fmla="*/ 148335 w 6666359"/>
              <a:gd name="connsiteY5170" fmla="*/ 991043 h 4343113"/>
              <a:gd name="connsiteX5171" fmla="*/ 132212 w 6666359"/>
              <a:gd name="connsiteY5171" fmla="*/ 1000717 h 4343113"/>
              <a:gd name="connsiteX5172" fmla="*/ 119313 w 6666359"/>
              <a:gd name="connsiteY5172" fmla="*/ 1013616 h 4343113"/>
              <a:gd name="connsiteX5173" fmla="*/ 112864 w 6666359"/>
              <a:gd name="connsiteY5173" fmla="*/ 1010391 h 4343113"/>
              <a:gd name="connsiteX5174" fmla="*/ 106414 w 6666359"/>
              <a:gd name="connsiteY5174" fmla="*/ 1007167 h 4343113"/>
              <a:gd name="connsiteX5175" fmla="*/ 93516 w 6666359"/>
              <a:gd name="connsiteY5175" fmla="*/ 1010391 h 4343113"/>
              <a:gd name="connsiteX5176" fmla="*/ 80617 w 6666359"/>
              <a:gd name="connsiteY5176" fmla="*/ 1010391 h 4343113"/>
              <a:gd name="connsiteX5177" fmla="*/ 67717 w 6666359"/>
              <a:gd name="connsiteY5177" fmla="*/ 1016841 h 4343113"/>
              <a:gd name="connsiteX5178" fmla="*/ 54819 w 6666359"/>
              <a:gd name="connsiteY5178" fmla="*/ 1013616 h 4343113"/>
              <a:gd name="connsiteX5179" fmla="*/ 32247 w 6666359"/>
              <a:gd name="connsiteY5179" fmla="*/ 1000717 h 4343113"/>
              <a:gd name="connsiteX5180" fmla="*/ 29022 w 6666359"/>
              <a:gd name="connsiteY5180" fmla="*/ 991043 h 4343113"/>
              <a:gd name="connsiteX5181" fmla="*/ 22572 w 6666359"/>
              <a:gd name="connsiteY5181" fmla="*/ 984594 h 4343113"/>
              <a:gd name="connsiteX5182" fmla="*/ 12898 w 6666359"/>
              <a:gd name="connsiteY5182" fmla="*/ 968470 h 4343113"/>
              <a:gd name="connsiteX5183" fmla="*/ 0 w 6666359"/>
              <a:gd name="connsiteY5183" fmla="*/ 958796 h 4343113"/>
              <a:gd name="connsiteX5184" fmla="*/ 0 w 6666359"/>
              <a:gd name="connsiteY5184" fmla="*/ 949122 h 4343113"/>
              <a:gd name="connsiteX5185" fmla="*/ 25798 w 6666359"/>
              <a:gd name="connsiteY5185" fmla="*/ 932999 h 4343113"/>
              <a:gd name="connsiteX5186" fmla="*/ 58044 w 6666359"/>
              <a:gd name="connsiteY5186" fmla="*/ 913650 h 4343113"/>
              <a:gd name="connsiteX5187" fmla="*/ 77391 w 6666359"/>
              <a:gd name="connsiteY5187" fmla="*/ 903976 h 4343113"/>
              <a:gd name="connsiteX5188" fmla="*/ 96739 w 6666359"/>
              <a:gd name="connsiteY5188" fmla="*/ 907201 h 4343113"/>
              <a:gd name="connsiteX5189" fmla="*/ 83841 w 6666359"/>
              <a:gd name="connsiteY5189" fmla="*/ 926549 h 4343113"/>
              <a:gd name="connsiteX5190" fmla="*/ 116089 w 6666359"/>
              <a:gd name="connsiteY5190" fmla="*/ 936223 h 4343113"/>
              <a:gd name="connsiteX5191" fmla="*/ 135437 w 6666359"/>
              <a:gd name="connsiteY5191" fmla="*/ 932999 h 4343113"/>
              <a:gd name="connsiteX5192" fmla="*/ 141887 w 6666359"/>
              <a:gd name="connsiteY5192" fmla="*/ 923325 h 4343113"/>
              <a:gd name="connsiteX5193" fmla="*/ 148335 w 6666359"/>
              <a:gd name="connsiteY5193" fmla="*/ 923325 h 4343113"/>
              <a:gd name="connsiteX5194" fmla="*/ 145111 w 6666359"/>
              <a:gd name="connsiteY5194" fmla="*/ 916875 h 4343113"/>
              <a:gd name="connsiteX5195" fmla="*/ 141887 w 6666359"/>
              <a:gd name="connsiteY5195" fmla="*/ 913650 h 4343113"/>
              <a:gd name="connsiteX5196" fmla="*/ 128987 w 6666359"/>
              <a:gd name="connsiteY5196" fmla="*/ 900752 h 4343113"/>
              <a:gd name="connsiteX5197" fmla="*/ 112864 w 6666359"/>
              <a:gd name="connsiteY5197" fmla="*/ 884628 h 4343113"/>
              <a:gd name="connsiteX5198" fmla="*/ 103190 w 6666359"/>
              <a:gd name="connsiteY5198" fmla="*/ 878179 h 4343113"/>
              <a:gd name="connsiteX5199" fmla="*/ 96739 w 6666359"/>
              <a:gd name="connsiteY5199" fmla="*/ 878179 h 4343113"/>
              <a:gd name="connsiteX5200" fmla="*/ 93516 w 6666359"/>
              <a:gd name="connsiteY5200" fmla="*/ 874954 h 4343113"/>
              <a:gd name="connsiteX5201" fmla="*/ 90291 w 6666359"/>
              <a:gd name="connsiteY5201" fmla="*/ 858831 h 4343113"/>
              <a:gd name="connsiteX5202" fmla="*/ 70943 w 6666359"/>
              <a:gd name="connsiteY5202" fmla="*/ 833034 h 4343113"/>
              <a:gd name="connsiteX5203" fmla="*/ 70943 w 6666359"/>
              <a:gd name="connsiteY5203" fmla="*/ 836258 h 4343113"/>
              <a:gd name="connsiteX5204" fmla="*/ 29022 w 6666359"/>
              <a:gd name="connsiteY5204" fmla="*/ 804011 h 4343113"/>
              <a:gd name="connsiteX5205" fmla="*/ 32247 w 6666359"/>
              <a:gd name="connsiteY5205" fmla="*/ 800786 h 4343113"/>
              <a:gd name="connsiteX5206" fmla="*/ 38696 w 6666359"/>
              <a:gd name="connsiteY5206" fmla="*/ 791113 h 4343113"/>
              <a:gd name="connsiteX5207" fmla="*/ 38696 w 6666359"/>
              <a:gd name="connsiteY5207" fmla="*/ 778213 h 4343113"/>
              <a:gd name="connsiteX5208" fmla="*/ 45145 w 6666359"/>
              <a:gd name="connsiteY5208" fmla="*/ 774989 h 4343113"/>
              <a:gd name="connsiteX5209" fmla="*/ 74167 w 6666359"/>
              <a:gd name="connsiteY5209" fmla="*/ 768540 h 4343113"/>
              <a:gd name="connsiteX5210" fmla="*/ 99964 w 6666359"/>
              <a:gd name="connsiteY5210" fmla="*/ 752416 h 4343113"/>
              <a:gd name="connsiteX5211" fmla="*/ 106414 w 6666359"/>
              <a:gd name="connsiteY5211" fmla="*/ 729843 h 4343113"/>
              <a:gd name="connsiteX5212" fmla="*/ 112864 w 6666359"/>
              <a:gd name="connsiteY5212" fmla="*/ 710495 h 4343113"/>
              <a:gd name="connsiteX5213" fmla="*/ 128987 w 6666359"/>
              <a:gd name="connsiteY5213" fmla="*/ 687922 h 4343113"/>
              <a:gd name="connsiteX5214" fmla="*/ 132212 w 6666359"/>
              <a:gd name="connsiteY5214" fmla="*/ 681472 h 4343113"/>
              <a:gd name="connsiteX5215" fmla="*/ 138661 w 6666359"/>
              <a:gd name="connsiteY5215" fmla="*/ 684698 h 4343113"/>
              <a:gd name="connsiteX5216" fmla="*/ 145111 w 6666359"/>
              <a:gd name="connsiteY5216" fmla="*/ 684698 h 4343113"/>
              <a:gd name="connsiteX5217" fmla="*/ 154785 w 6666359"/>
              <a:gd name="connsiteY5217" fmla="*/ 678248 h 4343113"/>
              <a:gd name="connsiteX5218" fmla="*/ 193482 w 6666359"/>
              <a:gd name="connsiteY5218" fmla="*/ 642777 h 4343113"/>
              <a:gd name="connsiteX5219" fmla="*/ 193482 w 6666359"/>
              <a:gd name="connsiteY5219" fmla="*/ 652451 h 4343113"/>
              <a:gd name="connsiteX5220" fmla="*/ 219279 w 6666359"/>
              <a:gd name="connsiteY5220" fmla="*/ 646001 h 4343113"/>
              <a:gd name="connsiteX5221" fmla="*/ 245076 w 6666359"/>
              <a:gd name="connsiteY5221" fmla="*/ 620204 h 4343113"/>
              <a:gd name="connsiteX5222" fmla="*/ 270874 w 6666359"/>
              <a:gd name="connsiteY5222" fmla="*/ 626653 h 4343113"/>
              <a:gd name="connsiteX5223" fmla="*/ 280548 w 6666359"/>
              <a:gd name="connsiteY5223" fmla="*/ 629877 h 4343113"/>
              <a:gd name="connsiteX5224" fmla="*/ 283773 w 6666359"/>
              <a:gd name="connsiteY5224" fmla="*/ 626653 h 4343113"/>
              <a:gd name="connsiteX5225" fmla="*/ 290222 w 6666359"/>
              <a:gd name="connsiteY5225" fmla="*/ 633102 h 4343113"/>
              <a:gd name="connsiteX5226" fmla="*/ 290222 w 6666359"/>
              <a:gd name="connsiteY5226" fmla="*/ 639551 h 4343113"/>
              <a:gd name="connsiteX5227" fmla="*/ 303121 w 6666359"/>
              <a:gd name="connsiteY5227" fmla="*/ 649225 h 4343113"/>
              <a:gd name="connsiteX5228" fmla="*/ 309570 w 6666359"/>
              <a:gd name="connsiteY5228" fmla="*/ 642777 h 4343113"/>
              <a:gd name="connsiteX5229" fmla="*/ 316020 w 6666359"/>
              <a:gd name="connsiteY5229" fmla="*/ 642777 h 4343113"/>
              <a:gd name="connsiteX5230" fmla="*/ 332144 w 6666359"/>
              <a:gd name="connsiteY5230" fmla="*/ 642777 h 4343113"/>
              <a:gd name="connsiteX5231" fmla="*/ 345042 w 6666359"/>
              <a:gd name="connsiteY5231" fmla="*/ 649225 h 4343113"/>
              <a:gd name="connsiteX5232" fmla="*/ 335368 w 6666359"/>
              <a:gd name="connsiteY5232" fmla="*/ 665349 h 4343113"/>
              <a:gd name="connsiteX5233" fmla="*/ 341817 w 6666359"/>
              <a:gd name="connsiteY5233" fmla="*/ 668574 h 4343113"/>
              <a:gd name="connsiteX5234" fmla="*/ 351491 w 6666359"/>
              <a:gd name="connsiteY5234" fmla="*/ 671798 h 4343113"/>
              <a:gd name="connsiteX5235" fmla="*/ 364391 w 6666359"/>
              <a:gd name="connsiteY5235" fmla="*/ 675023 h 4343113"/>
              <a:gd name="connsiteX5236" fmla="*/ 377289 w 6666359"/>
              <a:gd name="connsiteY5236" fmla="*/ 671798 h 4343113"/>
              <a:gd name="connsiteX5237" fmla="*/ 390187 w 6666359"/>
              <a:gd name="connsiteY5237" fmla="*/ 668574 h 4343113"/>
              <a:gd name="connsiteX5238" fmla="*/ 406312 w 6666359"/>
              <a:gd name="connsiteY5238" fmla="*/ 668574 h 4343113"/>
              <a:gd name="connsiteX5239" fmla="*/ 432109 w 6666359"/>
              <a:gd name="connsiteY5239" fmla="*/ 678248 h 4343113"/>
              <a:gd name="connsiteX5240" fmla="*/ 438558 w 6666359"/>
              <a:gd name="connsiteY5240" fmla="*/ 681472 h 4343113"/>
              <a:gd name="connsiteX5241" fmla="*/ 445007 w 6666359"/>
              <a:gd name="connsiteY5241" fmla="*/ 687922 h 4343113"/>
              <a:gd name="connsiteX5242" fmla="*/ 457906 w 6666359"/>
              <a:gd name="connsiteY5242" fmla="*/ 691146 h 4343113"/>
              <a:gd name="connsiteX5243" fmla="*/ 470805 w 6666359"/>
              <a:gd name="connsiteY5243" fmla="*/ 687922 h 4343113"/>
              <a:gd name="connsiteX5244" fmla="*/ 486928 w 6666359"/>
              <a:gd name="connsiteY5244" fmla="*/ 694371 h 4343113"/>
              <a:gd name="connsiteX5245" fmla="*/ 509501 w 6666359"/>
              <a:gd name="connsiteY5245" fmla="*/ 704045 h 4343113"/>
              <a:gd name="connsiteX5246" fmla="*/ 519175 w 6666359"/>
              <a:gd name="connsiteY5246" fmla="*/ 697596 h 4343113"/>
              <a:gd name="connsiteX5247" fmla="*/ 535299 w 6666359"/>
              <a:gd name="connsiteY5247" fmla="*/ 694371 h 4343113"/>
              <a:gd name="connsiteX5248" fmla="*/ 551422 w 6666359"/>
              <a:gd name="connsiteY5248" fmla="*/ 697596 h 4343113"/>
              <a:gd name="connsiteX5249" fmla="*/ 561097 w 6666359"/>
              <a:gd name="connsiteY5249" fmla="*/ 710495 h 4343113"/>
              <a:gd name="connsiteX5250" fmla="*/ 567546 w 6666359"/>
              <a:gd name="connsiteY5250" fmla="*/ 716945 h 4343113"/>
              <a:gd name="connsiteX5251" fmla="*/ 570770 w 6666359"/>
              <a:gd name="connsiteY5251" fmla="*/ 713719 h 4343113"/>
              <a:gd name="connsiteX5252" fmla="*/ 573995 w 6666359"/>
              <a:gd name="connsiteY5252" fmla="*/ 716945 h 4343113"/>
              <a:gd name="connsiteX5253" fmla="*/ 590119 w 6666359"/>
              <a:gd name="connsiteY5253" fmla="*/ 723393 h 4343113"/>
              <a:gd name="connsiteX5254" fmla="*/ 590119 w 6666359"/>
              <a:gd name="connsiteY5254" fmla="*/ 723392 h 4343113"/>
              <a:gd name="connsiteX5255" fmla="*/ 619140 w 6666359"/>
              <a:gd name="connsiteY5255" fmla="*/ 726618 h 4343113"/>
              <a:gd name="connsiteX5256" fmla="*/ 641713 w 6666359"/>
              <a:gd name="connsiteY5256" fmla="*/ 745965 h 4343113"/>
              <a:gd name="connsiteX5257" fmla="*/ 648163 w 6666359"/>
              <a:gd name="connsiteY5257" fmla="*/ 749190 h 4343113"/>
              <a:gd name="connsiteX5258" fmla="*/ 651387 w 6666359"/>
              <a:gd name="connsiteY5258" fmla="*/ 755639 h 4343113"/>
              <a:gd name="connsiteX5259" fmla="*/ 664287 w 6666359"/>
              <a:gd name="connsiteY5259" fmla="*/ 762089 h 4343113"/>
              <a:gd name="connsiteX5260" fmla="*/ 673960 w 6666359"/>
              <a:gd name="connsiteY5260" fmla="*/ 768538 h 4343113"/>
              <a:gd name="connsiteX5261" fmla="*/ 683634 w 6666359"/>
              <a:gd name="connsiteY5261" fmla="*/ 771763 h 4343113"/>
              <a:gd name="connsiteX5262" fmla="*/ 690084 w 6666359"/>
              <a:gd name="connsiteY5262" fmla="*/ 771763 h 4343113"/>
              <a:gd name="connsiteX5263" fmla="*/ 702982 w 6666359"/>
              <a:gd name="connsiteY5263" fmla="*/ 771763 h 4343113"/>
              <a:gd name="connsiteX5264" fmla="*/ 712657 w 6666359"/>
              <a:gd name="connsiteY5264" fmla="*/ 771763 h 4343113"/>
              <a:gd name="connsiteX5265" fmla="*/ 725555 w 6666359"/>
              <a:gd name="connsiteY5265" fmla="*/ 762089 h 4343113"/>
              <a:gd name="connsiteX5266" fmla="*/ 748128 w 6666359"/>
              <a:gd name="connsiteY5266" fmla="*/ 742741 h 4343113"/>
              <a:gd name="connsiteX5267" fmla="*/ 761027 w 6666359"/>
              <a:gd name="connsiteY5267" fmla="*/ 739516 h 4343113"/>
              <a:gd name="connsiteX5268" fmla="*/ 767476 w 6666359"/>
              <a:gd name="connsiteY5268" fmla="*/ 723392 h 4343113"/>
              <a:gd name="connsiteX5269" fmla="*/ 793275 w 6666359"/>
              <a:gd name="connsiteY5269" fmla="*/ 713718 h 4343113"/>
              <a:gd name="connsiteX5270" fmla="*/ 809397 w 6666359"/>
              <a:gd name="connsiteY5270" fmla="*/ 700820 h 4343113"/>
              <a:gd name="connsiteX5271" fmla="*/ 819071 w 6666359"/>
              <a:gd name="connsiteY5271" fmla="*/ 691145 h 4343113"/>
              <a:gd name="connsiteX5272" fmla="*/ 838420 w 6666359"/>
              <a:gd name="connsiteY5272" fmla="*/ 684697 h 4343113"/>
              <a:gd name="connsiteX5273" fmla="*/ 848094 w 6666359"/>
              <a:gd name="connsiteY5273" fmla="*/ 697595 h 4343113"/>
              <a:gd name="connsiteX5274" fmla="*/ 854543 w 6666359"/>
              <a:gd name="connsiteY5274" fmla="*/ 704044 h 4343113"/>
              <a:gd name="connsiteX5275" fmla="*/ 860992 w 6666359"/>
              <a:gd name="connsiteY5275" fmla="*/ 700820 h 4343113"/>
              <a:gd name="connsiteX5276" fmla="*/ 867442 w 6666359"/>
              <a:gd name="connsiteY5276" fmla="*/ 694370 h 4343113"/>
              <a:gd name="connsiteX5277" fmla="*/ 870666 w 6666359"/>
              <a:gd name="connsiteY5277" fmla="*/ 675022 h 4343113"/>
              <a:gd name="connsiteX5278" fmla="*/ 877116 w 6666359"/>
              <a:gd name="connsiteY5278" fmla="*/ 665348 h 4343113"/>
              <a:gd name="connsiteX5279" fmla="*/ 886791 w 6666359"/>
              <a:gd name="connsiteY5279" fmla="*/ 675022 h 4343113"/>
              <a:gd name="connsiteX5280" fmla="*/ 896464 w 6666359"/>
              <a:gd name="connsiteY5280" fmla="*/ 687921 h 4343113"/>
              <a:gd name="connsiteX5281" fmla="*/ 899689 w 6666359"/>
              <a:gd name="connsiteY5281" fmla="*/ 697595 h 4343113"/>
              <a:gd name="connsiteX5282" fmla="*/ 902914 w 6666359"/>
              <a:gd name="connsiteY5282" fmla="*/ 704044 h 4343113"/>
              <a:gd name="connsiteX5283" fmla="*/ 902914 w 6666359"/>
              <a:gd name="connsiteY5283" fmla="*/ 707269 h 4343113"/>
              <a:gd name="connsiteX5284" fmla="*/ 909364 w 6666359"/>
              <a:gd name="connsiteY5284" fmla="*/ 723392 h 4343113"/>
              <a:gd name="connsiteX5285" fmla="*/ 919036 w 6666359"/>
              <a:gd name="connsiteY5285" fmla="*/ 739516 h 4343113"/>
              <a:gd name="connsiteX5286" fmla="*/ 931936 w 6666359"/>
              <a:gd name="connsiteY5286" fmla="*/ 745965 h 4343113"/>
              <a:gd name="connsiteX5287" fmla="*/ 938385 w 6666359"/>
              <a:gd name="connsiteY5287" fmla="*/ 736291 h 4343113"/>
              <a:gd name="connsiteX5288" fmla="*/ 931936 w 6666359"/>
              <a:gd name="connsiteY5288" fmla="*/ 736291 h 4343113"/>
              <a:gd name="connsiteX5289" fmla="*/ 935160 w 6666359"/>
              <a:gd name="connsiteY5289" fmla="*/ 716944 h 4343113"/>
              <a:gd name="connsiteX5290" fmla="*/ 938385 w 6666359"/>
              <a:gd name="connsiteY5290" fmla="*/ 700820 h 4343113"/>
              <a:gd name="connsiteX5291" fmla="*/ 951284 w 6666359"/>
              <a:gd name="connsiteY5291" fmla="*/ 691145 h 4343113"/>
              <a:gd name="connsiteX5292" fmla="*/ 957733 w 6666359"/>
              <a:gd name="connsiteY5292" fmla="*/ 700820 h 4343113"/>
              <a:gd name="connsiteX5293" fmla="*/ 960957 w 6666359"/>
              <a:gd name="connsiteY5293" fmla="*/ 720168 h 4343113"/>
              <a:gd name="connsiteX5294" fmla="*/ 957733 w 6666359"/>
              <a:gd name="connsiteY5294" fmla="*/ 726618 h 4343113"/>
              <a:gd name="connsiteX5295" fmla="*/ 951284 w 6666359"/>
              <a:gd name="connsiteY5295" fmla="*/ 739516 h 4343113"/>
              <a:gd name="connsiteX5296" fmla="*/ 964183 w 6666359"/>
              <a:gd name="connsiteY5296" fmla="*/ 742741 h 4343113"/>
              <a:gd name="connsiteX5297" fmla="*/ 977081 w 6666359"/>
              <a:gd name="connsiteY5297" fmla="*/ 739516 h 4343113"/>
              <a:gd name="connsiteX5298" fmla="*/ 983531 w 6666359"/>
              <a:gd name="connsiteY5298" fmla="*/ 729842 h 4343113"/>
              <a:gd name="connsiteX5299" fmla="*/ 983531 w 6666359"/>
              <a:gd name="connsiteY5299" fmla="*/ 716944 h 4343113"/>
              <a:gd name="connsiteX5300" fmla="*/ 989980 w 6666359"/>
              <a:gd name="connsiteY5300" fmla="*/ 713718 h 4343113"/>
              <a:gd name="connsiteX5301" fmla="*/ 996430 w 6666359"/>
              <a:gd name="connsiteY5301" fmla="*/ 713718 h 4343113"/>
              <a:gd name="connsiteX5302" fmla="*/ 1022227 w 6666359"/>
              <a:gd name="connsiteY5302" fmla="*/ 716944 h 4343113"/>
              <a:gd name="connsiteX5303" fmla="*/ 1035125 w 6666359"/>
              <a:gd name="connsiteY5303" fmla="*/ 729842 h 4343113"/>
              <a:gd name="connsiteX5304" fmla="*/ 1048025 w 6666359"/>
              <a:gd name="connsiteY5304" fmla="*/ 739516 h 4343113"/>
              <a:gd name="connsiteX5305" fmla="*/ 1067373 w 6666359"/>
              <a:gd name="connsiteY5305" fmla="*/ 745965 h 4343113"/>
              <a:gd name="connsiteX5306" fmla="*/ 1080272 w 6666359"/>
              <a:gd name="connsiteY5306" fmla="*/ 749190 h 4343113"/>
              <a:gd name="connsiteX5307" fmla="*/ 1086721 w 6666359"/>
              <a:gd name="connsiteY5307" fmla="*/ 758864 h 4343113"/>
              <a:gd name="connsiteX5308" fmla="*/ 1109295 w 6666359"/>
              <a:gd name="connsiteY5308" fmla="*/ 768538 h 4343113"/>
              <a:gd name="connsiteX5309" fmla="*/ 1122193 w 6666359"/>
              <a:gd name="connsiteY5309" fmla="*/ 771763 h 4343113"/>
              <a:gd name="connsiteX5310" fmla="*/ 1131868 w 6666359"/>
              <a:gd name="connsiteY5310" fmla="*/ 768538 h 4343113"/>
              <a:gd name="connsiteX5311" fmla="*/ 1141541 w 6666359"/>
              <a:gd name="connsiteY5311" fmla="*/ 765313 h 4343113"/>
              <a:gd name="connsiteX5312" fmla="*/ 1157664 w 6666359"/>
              <a:gd name="connsiteY5312" fmla="*/ 771763 h 4343113"/>
              <a:gd name="connsiteX5313" fmla="*/ 1183462 w 6666359"/>
              <a:gd name="connsiteY5313" fmla="*/ 797560 h 4343113"/>
              <a:gd name="connsiteX5314" fmla="*/ 1183462 w 6666359"/>
              <a:gd name="connsiteY5314" fmla="*/ 810459 h 4343113"/>
              <a:gd name="connsiteX5315" fmla="*/ 1177013 w 6666359"/>
              <a:gd name="connsiteY5315" fmla="*/ 810459 h 4343113"/>
              <a:gd name="connsiteX5316" fmla="*/ 1164114 w 6666359"/>
              <a:gd name="connsiteY5316" fmla="*/ 807235 h 4343113"/>
              <a:gd name="connsiteX5317" fmla="*/ 1151214 w 6666359"/>
              <a:gd name="connsiteY5317" fmla="*/ 826583 h 4343113"/>
              <a:gd name="connsiteX5318" fmla="*/ 1147990 w 6666359"/>
              <a:gd name="connsiteY5318" fmla="*/ 829807 h 4343113"/>
              <a:gd name="connsiteX5319" fmla="*/ 1157664 w 6666359"/>
              <a:gd name="connsiteY5319" fmla="*/ 833033 h 4343113"/>
              <a:gd name="connsiteX5320" fmla="*/ 1170563 w 6666359"/>
              <a:gd name="connsiteY5320" fmla="*/ 836257 h 4343113"/>
              <a:gd name="connsiteX5321" fmla="*/ 1177013 w 6666359"/>
              <a:gd name="connsiteY5321" fmla="*/ 839481 h 4343113"/>
              <a:gd name="connsiteX5322" fmla="*/ 1183462 w 6666359"/>
              <a:gd name="connsiteY5322" fmla="*/ 842706 h 4343113"/>
              <a:gd name="connsiteX5323" fmla="*/ 1212484 w 6666359"/>
              <a:gd name="connsiteY5323" fmla="*/ 842706 h 4343113"/>
              <a:gd name="connsiteX5324" fmla="*/ 1222159 w 6666359"/>
              <a:gd name="connsiteY5324" fmla="*/ 839481 h 4343113"/>
              <a:gd name="connsiteX5325" fmla="*/ 1238282 w 6666359"/>
              <a:gd name="connsiteY5325" fmla="*/ 839481 h 4343113"/>
              <a:gd name="connsiteX5326" fmla="*/ 1251181 w 6666359"/>
              <a:gd name="connsiteY5326" fmla="*/ 833033 h 4343113"/>
              <a:gd name="connsiteX5327" fmla="*/ 1264079 w 6666359"/>
              <a:gd name="connsiteY5327" fmla="*/ 826583 h 4343113"/>
              <a:gd name="connsiteX5328" fmla="*/ 1270529 w 6666359"/>
              <a:gd name="connsiteY5328" fmla="*/ 826583 h 4343113"/>
              <a:gd name="connsiteX5329" fmla="*/ 1273753 w 6666359"/>
              <a:gd name="connsiteY5329" fmla="*/ 833033 h 4343113"/>
              <a:gd name="connsiteX5330" fmla="*/ 1280203 w 6666359"/>
              <a:gd name="connsiteY5330" fmla="*/ 836257 h 4343113"/>
              <a:gd name="connsiteX5331" fmla="*/ 1289877 w 6666359"/>
              <a:gd name="connsiteY5331" fmla="*/ 842706 h 4343113"/>
              <a:gd name="connsiteX5332" fmla="*/ 1302776 w 6666359"/>
              <a:gd name="connsiteY5332" fmla="*/ 852380 h 4343113"/>
              <a:gd name="connsiteX5333" fmla="*/ 1312450 w 6666359"/>
              <a:gd name="connsiteY5333" fmla="*/ 865279 h 4343113"/>
              <a:gd name="connsiteX5334" fmla="*/ 1315674 w 6666359"/>
              <a:gd name="connsiteY5334" fmla="*/ 871728 h 4343113"/>
              <a:gd name="connsiteX5335" fmla="*/ 1322124 w 6666359"/>
              <a:gd name="connsiteY5335" fmla="*/ 887852 h 4343113"/>
              <a:gd name="connsiteX5336" fmla="*/ 1331799 w 6666359"/>
              <a:gd name="connsiteY5336" fmla="*/ 891077 h 4343113"/>
              <a:gd name="connsiteX5337" fmla="*/ 1328573 w 6666359"/>
              <a:gd name="connsiteY5337" fmla="*/ 874954 h 4343113"/>
              <a:gd name="connsiteX5338" fmla="*/ 1325349 w 6666359"/>
              <a:gd name="connsiteY5338" fmla="*/ 871728 h 4343113"/>
              <a:gd name="connsiteX5339" fmla="*/ 1315674 w 6666359"/>
              <a:gd name="connsiteY5339" fmla="*/ 842706 h 4343113"/>
              <a:gd name="connsiteX5340" fmla="*/ 1309225 w 6666359"/>
              <a:gd name="connsiteY5340" fmla="*/ 816909 h 4343113"/>
              <a:gd name="connsiteX5341" fmla="*/ 1302776 w 6666359"/>
              <a:gd name="connsiteY5341" fmla="*/ 810459 h 4343113"/>
              <a:gd name="connsiteX5342" fmla="*/ 1296326 w 6666359"/>
              <a:gd name="connsiteY5342" fmla="*/ 807235 h 4343113"/>
              <a:gd name="connsiteX5343" fmla="*/ 1306000 w 6666359"/>
              <a:gd name="connsiteY5343" fmla="*/ 787886 h 4343113"/>
              <a:gd name="connsiteX5344" fmla="*/ 1318899 w 6666359"/>
              <a:gd name="connsiteY5344" fmla="*/ 784662 h 4343113"/>
              <a:gd name="connsiteX5345" fmla="*/ 1344697 w 6666359"/>
              <a:gd name="connsiteY5345" fmla="*/ 774988 h 4343113"/>
              <a:gd name="connsiteX5346" fmla="*/ 1354371 w 6666359"/>
              <a:gd name="connsiteY5346" fmla="*/ 768538 h 4343113"/>
              <a:gd name="connsiteX5347" fmla="*/ 1367270 w 6666359"/>
              <a:gd name="connsiteY5347" fmla="*/ 778212 h 4343113"/>
              <a:gd name="connsiteX5348" fmla="*/ 1370494 w 6666359"/>
              <a:gd name="connsiteY5348" fmla="*/ 791112 h 4343113"/>
              <a:gd name="connsiteX5349" fmla="*/ 1373718 w 6666359"/>
              <a:gd name="connsiteY5349" fmla="*/ 800785 h 4343113"/>
              <a:gd name="connsiteX5350" fmla="*/ 1373718 w 6666359"/>
              <a:gd name="connsiteY5350" fmla="*/ 804010 h 4343113"/>
              <a:gd name="connsiteX5351" fmla="*/ 1376944 w 6666359"/>
              <a:gd name="connsiteY5351" fmla="*/ 807235 h 4343113"/>
              <a:gd name="connsiteX5352" fmla="*/ 1380168 w 6666359"/>
              <a:gd name="connsiteY5352" fmla="*/ 810459 h 4343113"/>
              <a:gd name="connsiteX5353" fmla="*/ 1380168 w 6666359"/>
              <a:gd name="connsiteY5353" fmla="*/ 807235 h 4343113"/>
              <a:gd name="connsiteX5354" fmla="*/ 1389842 w 6666359"/>
              <a:gd name="connsiteY5354" fmla="*/ 810459 h 4343113"/>
              <a:gd name="connsiteX5355" fmla="*/ 1389842 w 6666359"/>
              <a:gd name="connsiteY5355" fmla="*/ 813684 h 4343113"/>
              <a:gd name="connsiteX5356" fmla="*/ 1389842 w 6666359"/>
              <a:gd name="connsiteY5356" fmla="*/ 820133 h 4343113"/>
              <a:gd name="connsiteX5357" fmla="*/ 1402741 w 6666359"/>
              <a:gd name="connsiteY5357" fmla="*/ 823358 h 4343113"/>
              <a:gd name="connsiteX5358" fmla="*/ 1441438 w 6666359"/>
              <a:gd name="connsiteY5358" fmla="*/ 842706 h 4343113"/>
              <a:gd name="connsiteX5359" fmla="*/ 1451112 w 6666359"/>
              <a:gd name="connsiteY5359" fmla="*/ 842706 h 4343113"/>
              <a:gd name="connsiteX5360" fmla="*/ 1457561 w 6666359"/>
              <a:gd name="connsiteY5360" fmla="*/ 842706 h 4343113"/>
              <a:gd name="connsiteX5361" fmla="*/ 1470460 w 6666359"/>
              <a:gd name="connsiteY5361" fmla="*/ 839481 h 4343113"/>
              <a:gd name="connsiteX5362" fmla="*/ 1476909 w 6666359"/>
              <a:gd name="connsiteY5362" fmla="*/ 836257 h 4343113"/>
              <a:gd name="connsiteX5363" fmla="*/ 1480133 w 6666359"/>
              <a:gd name="connsiteY5363" fmla="*/ 833033 h 4343113"/>
              <a:gd name="connsiteX5364" fmla="*/ 1493033 w 6666359"/>
              <a:gd name="connsiteY5364" fmla="*/ 833033 h 4343113"/>
              <a:gd name="connsiteX5365" fmla="*/ 1502706 w 6666359"/>
              <a:gd name="connsiteY5365" fmla="*/ 836257 h 4343113"/>
              <a:gd name="connsiteX5366" fmla="*/ 1512380 w 6666359"/>
              <a:gd name="connsiteY5366" fmla="*/ 839481 h 4343113"/>
              <a:gd name="connsiteX5367" fmla="*/ 1525280 w 6666359"/>
              <a:gd name="connsiteY5367" fmla="*/ 836257 h 4343113"/>
              <a:gd name="connsiteX5368" fmla="*/ 1515605 w 6666359"/>
              <a:gd name="connsiteY5368" fmla="*/ 823358 h 4343113"/>
              <a:gd name="connsiteX5369" fmla="*/ 1518830 w 6666359"/>
              <a:gd name="connsiteY5369" fmla="*/ 800785 h 4343113"/>
              <a:gd name="connsiteX5370" fmla="*/ 1538178 w 6666359"/>
              <a:gd name="connsiteY5370" fmla="*/ 791112 h 4343113"/>
              <a:gd name="connsiteX5371" fmla="*/ 1551077 w 6666359"/>
              <a:gd name="connsiteY5371" fmla="*/ 797560 h 4343113"/>
              <a:gd name="connsiteX5372" fmla="*/ 1554302 w 6666359"/>
              <a:gd name="connsiteY5372" fmla="*/ 807235 h 4343113"/>
              <a:gd name="connsiteX5373" fmla="*/ 1557527 w 6666359"/>
              <a:gd name="connsiteY5373" fmla="*/ 807235 h 4343113"/>
              <a:gd name="connsiteX5374" fmla="*/ 1570425 w 6666359"/>
              <a:gd name="connsiteY5374" fmla="*/ 807235 h 4343113"/>
              <a:gd name="connsiteX5375" fmla="*/ 1580100 w 6666359"/>
              <a:gd name="connsiteY5375" fmla="*/ 807235 h 4343113"/>
              <a:gd name="connsiteX5376" fmla="*/ 1576874 w 6666359"/>
              <a:gd name="connsiteY5376" fmla="*/ 810459 h 4343113"/>
              <a:gd name="connsiteX5377" fmla="*/ 1576874 w 6666359"/>
              <a:gd name="connsiteY5377" fmla="*/ 823358 h 4343113"/>
              <a:gd name="connsiteX5378" fmla="*/ 1570425 w 6666359"/>
              <a:gd name="connsiteY5378" fmla="*/ 842706 h 4343113"/>
              <a:gd name="connsiteX5379" fmla="*/ 1570425 w 6666359"/>
              <a:gd name="connsiteY5379" fmla="*/ 855605 h 4343113"/>
              <a:gd name="connsiteX5380" fmla="*/ 1576874 w 6666359"/>
              <a:gd name="connsiteY5380" fmla="*/ 868504 h 4343113"/>
              <a:gd name="connsiteX5381" fmla="*/ 1586548 w 6666359"/>
              <a:gd name="connsiteY5381" fmla="*/ 858830 h 4343113"/>
              <a:gd name="connsiteX5382" fmla="*/ 1592998 w 6666359"/>
              <a:gd name="connsiteY5382" fmla="*/ 874954 h 4343113"/>
              <a:gd name="connsiteX5383" fmla="*/ 1589774 w 6666359"/>
              <a:gd name="connsiteY5383" fmla="*/ 836257 h 4343113"/>
              <a:gd name="connsiteX5384" fmla="*/ 1599448 w 6666359"/>
              <a:gd name="connsiteY5384" fmla="*/ 820133 h 4343113"/>
              <a:gd name="connsiteX5385" fmla="*/ 1609121 w 6666359"/>
              <a:gd name="connsiteY5385" fmla="*/ 816909 h 4343113"/>
              <a:gd name="connsiteX5386" fmla="*/ 1615571 w 6666359"/>
              <a:gd name="connsiteY5386" fmla="*/ 810459 h 4343113"/>
              <a:gd name="connsiteX5387" fmla="*/ 1631695 w 6666359"/>
              <a:gd name="connsiteY5387" fmla="*/ 791112 h 4343113"/>
              <a:gd name="connsiteX5388" fmla="*/ 1628469 w 6666359"/>
              <a:gd name="connsiteY5388" fmla="*/ 778212 h 4343113"/>
              <a:gd name="connsiteX5389" fmla="*/ 1615571 w 6666359"/>
              <a:gd name="connsiteY5389" fmla="*/ 778212 h 4343113"/>
              <a:gd name="connsiteX5390" fmla="*/ 1612346 w 6666359"/>
              <a:gd name="connsiteY5390" fmla="*/ 781437 h 4343113"/>
              <a:gd name="connsiteX5391" fmla="*/ 1609121 w 6666359"/>
              <a:gd name="connsiteY5391" fmla="*/ 774988 h 4343113"/>
              <a:gd name="connsiteX5392" fmla="*/ 1609121 w 6666359"/>
              <a:gd name="connsiteY5392" fmla="*/ 765313 h 4343113"/>
              <a:gd name="connsiteX5393" fmla="*/ 1612346 w 6666359"/>
              <a:gd name="connsiteY5393" fmla="*/ 765313 h 4343113"/>
              <a:gd name="connsiteX5394" fmla="*/ 1618795 w 6666359"/>
              <a:gd name="connsiteY5394" fmla="*/ 762089 h 4343113"/>
              <a:gd name="connsiteX5395" fmla="*/ 1622020 w 6666359"/>
              <a:gd name="connsiteY5395" fmla="*/ 755639 h 4343113"/>
              <a:gd name="connsiteX5396" fmla="*/ 1634919 w 6666359"/>
              <a:gd name="connsiteY5396" fmla="*/ 742741 h 4343113"/>
              <a:gd name="connsiteX5397" fmla="*/ 1625245 w 6666359"/>
              <a:gd name="connsiteY5397" fmla="*/ 733067 h 4343113"/>
              <a:gd name="connsiteX5398" fmla="*/ 1622020 w 6666359"/>
              <a:gd name="connsiteY5398" fmla="*/ 736291 h 4343113"/>
              <a:gd name="connsiteX5399" fmla="*/ 1612346 w 6666359"/>
              <a:gd name="connsiteY5399" fmla="*/ 729842 h 4343113"/>
              <a:gd name="connsiteX5400" fmla="*/ 1599448 w 6666359"/>
              <a:gd name="connsiteY5400" fmla="*/ 726618 h 4343113"/>
              <a:gd name="connsiteX5401" fmla="*/ 1586548 w 6666359"/>
              <a:gd name="connsiteY5401" fmla="*/ 716944 h 4343113"/>
              <a:gd name="connsiteX5402" fmla="*/ 1573650 w 6666359"/>
              <a:gd name="connsiteY5402" fmla="*/ 704044 h 4343113"/>
              <a:gd name="connsiteX5403" fmla="*/ 1563975 w 6666359"/>
              <a:gd name="connsiteY5403" fmla="*/ 687921 h 4343113"/>
              <a:gd name="connsiteX5404" fmla="*/ 1570425 w 6666359"/>
              <a:gd name="connsiteY5404" fmla="*/ 665348 h 4343113"/>
              <a:gd name="connsiteX5405" fmla="*/ 1563975 w 6666359"/>
              <a:gd name="connsiteY5405" fmla="*/ 652449 h 4343113"/>
              <a:gd name="connsiteX5406" fmla="*/ 1563975 w 6666359"/>
              <a:gd name="connsiteY5406" fmla="*/ 642776 h 4343113"/>
              <a:gd name="connsiteX5407" fmla="*/ 1567201 w 6666359"/>
              <a:gd name="connsiteY5407" fmla="*/ 629876 h 4343113"/>
              <a:gd name="connsiteX5408" fmla="*/ 1563975 w 6666359"/>
              <a:gd name="connsiteY5408" fmla="*/ 626652 h 4343113"/>
              <a:gd name="connsiteX5409" fmla="*/ 1570425 w 6666359"/>
              <a:gd name="connsiteY5409" fmla="*/ 613753 h 4343113"/>
              <a:gd name="connsiteX5410" fmla="*/ 1586548 w 6666359"/>
              <a:gd name="connsiteY5410" fmla="*/ 587955 h 4343113"/>
              <a:gd name="connsiteX5411" fmla="*/ 6473575 w 6666359"/>
              <a:gd name="connsiteY5411" fmla="*/ 523461 h 4343113"/>
              <a:gd name="connsiteX5412" fmla="*/ 6486473 w 6666359"/>
              <a:gd name="connsiteY5412" fmla="*/ 523461 h 4343113"/>
              <a:gd name="connsiteX5413" fmla="*/ 6499371 w 6666359"/>
              <a:gd name="connsiteY5413" fmla="*/ 526686 h 4343113"/>
              <a:gd name="connsiteX5414" fmla="*/ 6515495 w 6666359"/>
              <a:gd name="connsiteY5414" fmla="*/ 533135 h 4343113"/>
              <a:gd name="connsiteX5415" fmla="*/ 6518719 w 6666359"/>
              <a:gd name="connsiteY5415" fmla="*/ 542809 h 4343113"/>
              <a:gd name="connsiteX5416" fmla="*/ 6518719 w 6666359"/>
              <a:gd name="connsiteY5416" fmla="*/ 558933 h 4343113"/>
              <a:gd name="connsiteX5417" fmla="*/ 6505821 w 6666359"/>
              <a:gd name="connsiteY5417" fmla="*/ 562158 h 4343113"/>
              <a:gd name="connsiteX5418" fmla="*/ 6496147 w 6666359"/>
              <a:gd name="connsiteY5418" fmla="*/ 555708 h 4343113"/>
              <a:gd name="connsiteX5419" fmla="*/ 6476799 w 6666359"/>
              <a:gd name="connsiteY5419" fmla="*/ 536361 h 4343113"/>
              <a:gd name="connsiteX5420" fmla="*/ 6457451 w 6666359"/>
              <a:gd name="connsiteY5420" fmla="*/ 536361 h 4343113"/>
              <a:gd name="connsiteX5421" fmla="*/ 6457451 w 6666359"/>
              <a:gd name="connsiteY5421" fmla="*/ 529911 h 4343113"/>
              <a:gd name="connsiteX5422" fmla="*/ 6463901 w 6666359"/>
              <a:gd name="connsiteY5422" fmla="*/ 529911 h 4343113"/>
              <a:gd name="connsiteX5423" fmla="*/ 5380404 w 6666359"/>
              <a:gd name="connsiteY5423" fmla="*/ 517011 h 4343113"/>
              <a:gd name="connsiteX5424" fmla="*/ 5390078 w 6666359"/>
              <a:gd name="connsiteY5424" fmla="*/ 520236 h 4343113"/>
              <a:gd name="connsiteX5425" fmla="*/ 5399752 w 6666359"/>
              <a:gd name="connsiteY5425" fmla="*/ 526685 h 4343113"/>
              <a:gd name="connsiteX5426" fmla="*/ 5393302 w 6666359"/>
              <a:gd name="connsiteY5426" fmla="*/ 536359 h 4343113"/>
              <a:gd name="connsiteX5427" fmla="*/ 5383628 w 6666359"/>
              <a:gd name="connsiteY5427" fmla="*/ 542808 h 4343113"/>
              <a:gd name="connsiteX5428" fmla="*/ 5367505 w 6666359"/>
              <a:gd name="connsiteY5428" fmla="*/ 539584 h 4343113"/>
              <a:gd name="connsiteX5429" fmla="*/ 3147302 w 6666359"/>
              <a:gd name="connsiteY5429" fmla="*/ 504113 h 4343113"/>
              <a:gd name="connsiteX5430" fmla="*/ 3150527 w 6666359"/>
              <a:gd name="connsiteY5430" fmla="*/ 504113 h 4343113"/>
              <a:gd name="connsiteX5431" fmla="*/ 3163426 w 6666359"/>
              <a:gd name="connsiteY5431" fmla="*/ 507337 h 4343113"/>
              <a:gd name="connsiteX5432" fmla="*/ 3176325 w 6666359"/>
              <a:gd name="connsiteY5432" fmla="*/ 507337 h 4343113"/>
              <a:gd name="connsiteX5433" fmla="*/ 3189224 w 6666359"/>
              <a:gd name="connsiteY5433" fmla="*/ 523460 h 4343113"/>
              <a:gd name="connsiteX5434" fmla="*/ 3202122 w 6666359"/>
              <a:gd name="connsiteY5434" fmla="*/ 533135 h 4343113"/>
              <a:gd name="connsiteX5435" fmla="*/ 3198898 w 6666359"/>
              <a:gd name="connsiteY5435" fmla="*/ 539584 h 4343113"/>
              <a:gd name="connsiteX5436" fmla="*/ 3195673 w 6666359"/>
              <a:gd name="connsiteY5436" fmla="*/ 555707 h 4343113"/>
              <a:gd name="connsiteX5437" fmla="*/ 3185999 w 6666359"/>
              <a:gd name="connsiteY5437" fmla="*/ 555707 h 4343113"/>
              <a:gd name="connsiteX5438" fmla="*/ 3173101 w 6666359"/>
              <a:gd name="connsiteY5438" fmla="*/ 546034 h 4343113"/>
              <a:gd name="connsiteX5439" fmla="*/ 3156977 w 6666359"/>
              <a:gd name="connsiteY5439" fmla="*/ 533135 h 4343113"/>
              <a:gd name="connsiteX5440" fmla="*/ 3147302 w 6666359"/>
              <a:gd name="connsiteY5440" fmla="*/ 520236 h 4343113"/>
              <a:gd name="connsiteX5441" fmla="*/ 5419099 w 6666359"/>
              <a:gd name="connsiteY5441" fmla="*/ 487989 h 4343113"/>
              <a:gd name="connsiteX5442" fmla="*/ 5425549 w 6666359"/>
              <a:gd name="connsiteY5442" fmla="*/ 500887 h 4343113"/>
              <a:gd name="connsiteX5443" fmla="*/ 5425549 w 6666359"/>
              <a:gd name="connsiteY5443" fmla="*/ 513786 h 4343113"/>
              <a:gd name="connsiteX5444" fmla="*/ 5419099 w 6666359"/>
              <a:gd name="connsiteY5444" fmla="*/ 517011 h 4343113"/>
              <a:gd name="connsiteX5445" fmla="*/ 5409426 w 6666359"/>
              <a:gd name="connsiteY5445" fmla="*/ 513786 h 4343113"/>
              <a:gd name="connsiteX5446" fmla="*/ 5402976 w 6666359"/>
              <a:gd name="connsiteY5446" fmla="*/ 507337 h 4343113"/>
              <a:gd name="connsiteX5447" fmla="*/ 5406201 w 6666359"/>
              <a:gd name="connsiteY5447" fmla="*/ 500887 h 4343113"/>
              <a:gd name="connsiteX5448" fmla="*/ 5315910 w 6666359"/>
              <a:gd name="connsiteY5448" fmla="*/ 484764 h 4343113"/>
              <a:gd name="connsiteX5449" fmla="*/ 5322359 w 6666359"/>
              <a:gd name="connsiteY5449" fmla="*/ 487989 h 4343113"/>
              <a:gd name="connsiteX5450" fmla="*/ 5325584 w 6666359"/>
              <a:gd name="connsiteY5450" fmla="*/ 491213 h 4343113"/>
              <a:gd name="connsiteX5451" fmla="*/ 5315910 w 6666359"/>
              <a:gd name="connsiteY5451" fmla="*/ 504113 h 4343113"/>
              <a:gd name="connsiteX5452" fmla="*/ 5306236 w 6666359"/>
              <a:gd name="connsiteY5452" fmla="*/ 491213 h 4343113"/>
              <a:gd name="connsiteX5453" fmla="*/ 1560752 w 6666359"/>
              <a:gd name="connsiteY5453" fmla="*/ 481540 h 4343113"/>
              <a:gd name="connsiteX5454" fmla="*/ 1563977 w 6666359"/>
              <a:gd name="connsiteY5454" fmla="*/ 497664 h 4343113"/>
              <a:gd name="connsiteX5455" fmla="*/ 1554302 w 6666359"/>
              <a:gd name="connsiteY5455" fmla="*/ 497664 h 4343113"/>
              <a:gd name="connsiteX5456" fmla="*/ 1170564 w 6666359"/>
              <a:gd name="connsiteY5456" fmla="*/ 465417 h 4343113"/>
              <a:gd name="connsiteX5457" fmla="*/ 1183463 w 6666359"/>
              <a:gd name="connsiteY5457" fmla="*/ 484765 h 4343113"/>
              <a:gd name="connsiteX5458" fmla="*/ 1202811 w 6666359"/>
              <a:gd name="connsiteY5458" fmla="*/ 494440 h 4343113"/>
              <a:gd name="connsiteX5459" fmla="*/ 1209261 w 6666359"/>
              <a:gd name="connsiteY5459" fmla="*/ 494440 h 4343113"/>
              <a:gd name="connsiteX5460" fmla="*/ 1218935 w 6666359"/>
              <a:gd name="connsiteY5460" fmla="*/ 497664 h 4343113"/>
              <a:gd name="connsiteX5461" fmla="*/ 1235058 w 6666359"/>
              <a:gd name="connsiteY5461" fmla="*/ 507338 h 4343113"/>
              <a:gd name="connsiteX5462" fmla="*/ 1241507 w 6666359"/>
              <a:gd name="connsiteY5462" fmla="*/ 513787 h 4343113"/>
              <a:gd name="connsiteX5463" fmla="*/ 1244732 w 6666359"/>
              <a:gd name="connsiteY5463" fmla="*/ 536361 h 4343113"/>
              <a:gd name="connsiteX5464" fmla="*/ 1251181 w 6666359"/>
              <a:gd name="connsiteY5464" fmla="*/ 533135 h 4343113"/>
              <a:gd name="connsiteX5465" fmla="*/ 1260856 w 6666359"/>
              <a:gd name="connsiteY5465" fmla="*/ 526687 h 4343113"/>
              <a:gd name="connsiteX5466" fmla="*/ 1267304 w 6666359"/>
              <a:gd name="connsiteY5466" fmla="*/ 529911 h 4343113"/>
              <a:gd name="connsiteX5467" fmla="*/ 1273754 w 6666359"/>
              <a:gd name="connsiteY5467" fmla="*/ 536361 h 4343113"/>
              <a:gd name="connsiteX5468" fmla="*/ 1273754 w 6666359"/>
              <a:gd name="connsiteY5468" fmla="*/ 533135 h 4343113"/>
              <a:gd name="connsiteX5469" fmla="*/ 1270530 w 6666359"/>
              <a:gd name="connsiteY5469" fmla="*/ 513787 h 4343113"/>
              <a:gd name="connsiteX5470" fmla="*/ 1257631 w 6666359"/>
              <a:gd name="connsiteY5470" fmla="*/ 504114 h 4343113"/>
              <a:gd name="connsiteX5471" fmla="*/ 1254406 w 6666359"/>
              <a:gd name="connsiteY5471" fmla="*/ 494440 h 4343113"/>
              <a:gd name="connsiteX5472" fmla="*/ 1257631 w 6666359"/>
              <a:gd name="connsiteY5472" fmla="*/ 494440 h 4343113"/>
              <a:gd name="connsiteX5473" fmla="*/ 1270530 w 6666359"/>
              <a:gd name="connsiteY5473" fmla="*/ 497664 h 4343113"/>
              <a:gd name="connsiteX5474" fmla="*/ 1299551 w 6666359"/>
              <a:gd name="connsiteY5474" fmla="*/ 529911 h 4343113"/>
              <a:gd name="connsiteX5475" fmla="*/ 1306001 w 6666359"/>
              <a:gd name="connsiteY5475" fmla="*/ 558933 h 4343113"/>
              <a:gd name="connsiteX5476" fmla="*/ 1309225 w 6666359"/>
              <a:gd name="connsiteY5476" fmla="*/ 581506 h 4343113"/>
              <a:gd name="connsiteX5477" fmla="*/ 1312451 w 6666359"/>
              <a:gd name="connsiteY5477" fmla="*/ 591180 h 4343113"/>
              <a:gd name="connsiteX5478" fmla="*/ 1318900 w 6666359"/>
              <a:gd name="connsiteY5478" fmla="*/ 594405 h 4343113"/>
              <a:gd name="connsiteX5479" fmla="*/ 1322125 w 6666359"/>
              <a:gd name="connsiteY5479" fmla="*/ 584731 h 4343113"/>
              <a:gd name="connsiteX5480" fmla="*/ 1322125 w 6666359"/>
              <a:gd name="connsiteY5480" fmla="*/ 565382 h 4343113"/>
              <a:gd name="connsiteX5481" fmla="*/ 1318900 w 6666359"/>
              <a:gd name="connsiteY5481" fmla="*/ 539585 h 4343113"/>
              <a:gd name="connsiteX5482" fmla="*/ 1309225 w 6666359"/>
              <a:gd name="connsiteY5482" fmla="*/ 500888 h 4343113"/>
              <a:gd name="connsiteX5483" fmla="*/ 1312451 w 6666359"/>
              <a:gd name="connsiteY5483" fmla="*/ 471866 h 4343113"/>
              <a:gd name="connsiteX5484" fmla="*/ 1322125 w 6666359"/>
              <a:gd name="connsiteY5484" fmla="*/ 468641 h 4343113"/>
              <a:gd name="connsiteX5485" fmla="*/ 1338248 w 6666359"/>
              <a:gd name="connsiteY5485" fmla="*/ 471866 h 4343113"/>
              <a:gd name="connsiteX5486" fmla="*/ 1344698 w 6666359"/>
              <a:gd name="connsiteY5486" fmla="*/ 475091 h 4343113"/>
              <a:gd name="connsiteX5487" fmla="*/ 1360821 w 6666359"/>
              <a:gd name="connsiteY5487" fmla="*/ 491214 h 4343113"/>
              <a:gd name="connsiteX5488" fmla="*/ 1367271 w 6666359"/>
              <a:gd name="connsiteY5488" fmla="*/ 504114 h 4343113"/>
              <a:gd name="connsiteX5489" fmla="*/ 1373719 w 6666359"/>
              <a:gd name="connsiteY5489" fmla="*/ 529911 h 4343113"/>
              <a:gd name="connsiteX5490" fmla="*/ 1383393 w 6666359"/>
              <a:gd name="connsiteY5490" fmla="*/ 558933 h 4343113"/>
              <a:gd name="connsiteX5491" fmla="*/ 1389843 w 6666359"/>
              <a:gd name="connsiteY5491" fmla="*/ 581506 h 4343113"/>
              <a:gd name="connsiteX5492" fmla="*/ 1396292 w 6666359"/>
              <a:gd name="connsiteY5492" fmla="*/ 607303 h 4343113"/>
              <a:gd name="connsiteX5493" fmla="*/ 1389843 w 6666359"/>
              <a:gd name="connsiteY5493" fmla="*/ 626652 h 4343113"/>
              <a:gd name="connsiteX5494" fmla="*/ 1399518 w 6666359"/>
              <a:gd name="connsiteY5494" fmla="*/ 646000 h 4343113"/>
              <a:gd name="connsiteX5495" fmla="*/ 1412416 w 6666359"/>
              <a:gd name="connsiteY5495" fmla="*/ 662123 h 4343113"/>
              <a:gd name="connsiteX5496" fmla="*/ 1418866 w 6666359"/>
              <a:gd name="connsiteY5496" fmla="*/ 665348 h 4343113"/>
              <a:gd name="connsiteX5497" fmla="*/ 1425315 w 6666359"/>
              <a:gd name="connsiteY5497" fmla="*/ 665348 h 4343113"/>
              <a:gd name="connsiteX5498" fmla="*/ 1438213 w 6666359"/>
              <a:gd name="connsiteY5498" fmla="*/ 675022 h 4343113"/>
              <a:gd name="connsiteX5499" fmla="*/ 1454338 w 6666359"/>
              <a:gd name="connsiteY5499" fmla="*/ 687921 h 4343113"/>
              <a:gd name="connsiteX5500" fmla="*/ 1467236 w 6666359"/>
              <a:gd name="connsiteY5500" fmla="*/ 687921 h 4343113"/>
              <a:gd name="connsiteX5501" fmla="*/ 1470460 w 6666359"/>
              <a:gd name="connsiteY5501" fmla="*/ 713718 h 4343113"/>
              <a:gd name="connsiteX5502" fmla="*/ 1460787 w 6666359"/>
              <a:gd name="connsiteY5502" fmla="*/ 723392 h 4343113"/>
              <a:gd name="connsiteX5503" fmla="*/ 1451113 w 6666359"/>
              <a:gd name="connsiteY5503" fmla="*/ 720168 h 4343113"/>
              <a:gd name="connsiteX5504" fmla="*/ 1438213 w 6666359"/>
              <a:gd name="connsiteY5504" fmla="*/ 720168 h 4343113"/>
              <a:gd name="connsiteX5505" fmla="*/ 1428540 w 6666359"/>
              <a:gd name="connsiteY5505" fmla="*/ 726618 h 4343113"/>
              <a:gd name="connsiteX5506" fmla="*/ 1425315 w 6666359"/>
              <a:gd name="connsiteY5506" fmla="*/ 729842 h 4343113"/>
              <a:gd name="connsiteX5507" fmla="*/ 1425315 w 6666359"/>
              <a:gd name="connsiteY5507" fmla="*/ 742741 h 4343113"/>
              <a:gd name="connsiteX5508" fmla="*/ 1438213 w 6666359"/>
              <a:gd name="connsiteY5508" fmla="*/ 733067 h 4343113"/>
              <a:gd name="connsiteX5509" fmla="*/ 1447888 w 6666359"/>
              <a:gd name="connsiteY5509" fmla="*/ 739516 h 4343113"/>
              <a:gd name="connsiteX5510" fmla="*/ 1447888 w 6666359"/>
              <a:gd name="connsiteY5510" fmla="*/ 765313 h 4343113"/>
              <a:gd name="connsiteX5511" fmla="*/ 1434989 w 6666359"/>
              <a:gd name="connsiteY5511" fmla="*/ 771763 h 4343113"/>
              <a:gd name="connsiteX5512" fmla="*/ 1409192 w 6666359"/>
              <a:gd name="connsiteY5512" fmla="*/ 774988 h 4343113"/>
              <a:gd name="connsiteX5513" fmla="*/ 1376945 w 6666359"/>
              <a:gd name="connsiteY5513" fmla="*/ 771763 h 4343113"/>
              <a:gd name="connsiteX5514" fmla="*/ 1367271 w 6666359"/>
              <a:gd name="connsiteY5514" fmla="*/ 755639 h 4343113"/>
              <a:gd name="connsiteX5515" fmla="*/ 1364045 w 6666359"/>
              <a:gd name="connsiteY5515" fmla="*/ 752415 h 4343113"/>
              <a:gd name="connsiteX5516" fmla="*/ 1354372 w 6666359"/>
              <a:gd name="connsiteY5516" fmla="*/ 749190 h 4343113"/>
              <a:gd name="connsiteX5517" fmla="*/ 1351147 w 6666359"/>
              <a:gd name="connsiteY5517" fmla="*/ 742741 h 4343113"/>
              <a:gd name="connsiteX5518" fmla="*/ 1347922 w 6666359"/>
              <a:gd name="connsiteY5518" fmla="*/ 733067 h 4343113"/>
              <a:gd name="connsiteX5519" fmla="*/ 1338248 w 6666359"/>
              <a:gd name="connsiteY5519" fmla="*/ 745965 h 4343113"/>
              <a:gd name="connsiteX5520" fmla="*/ 1322125 w 6666359"/>
              <a:gd name="connsiteY5520" fmla="*/ 765313 h 4343113"/>
              <a:gd name="connsiteX5521" fmla="*/ 1309225 w 6666359"/>
              <a:gd name="connsiteY5521" fmla="*/ 768538 h 4343113"/>
              <a:gd name="connsiteX5522" fmla="*/ 1302777 w 6666359"/>
              <a:gd name="connsiteY5522" fmla="*/ 768538 h 4343113"/>
              <a:gd name="connsiteX5523" fmla="*/ 1296327 w 6666359"/>
              <a:gd name="connsiteY5523" fmla="*/ 778212 h 4343113"/>
              <a:gd name="connsiteX5524" fmla="*/ 1283428 w 6666359"/>
              <a:gd name="connsiteY5524" fmla="*/ 784662 h 4343113"/>
              <a:gd name="connsiteX5525" fmla="*/ 1257631 w 6666359"/>
              <a:gd name="connsiteY5525" fmla="*/ 787886 h 4343113"/>
              <a:gd name="connsiteX5526" fmla="*/ 1225385 w 6666359"/>
              <a:gd name="connsiteY5526" fmla="*/ 794336 h 4343113"/>
              <a:gd name="connsiteX5527" fmla="*/ 1199586 w 6666359"/>
              <a:gd name="connsiteY5527" fmla="*/ 797560 h 4343113"/>
              <a:gd name="connsiteX5528" fmla="*/ 1189912 w 6666359"/>
              <a:gd name="connsiteY5528" fmla="*/ 774988 h 4343113"/>
              <a:gd name="connsiteX5529" fmla="*/ 1189912 w 6666359"/>
              <a:gd name="connsiteY5529" fmla="*/ 762089 h 4343113"/>
              <a:gd name="connsiteX5530" fmla="*/ 1186688 w 6666359"/>
              <a:gd name="connsiteY5530" fmla="*/ 749190 h 4343113"/>
              <a:gd name="connsiteX5531" fmla="*/ 1173789 w 6666359"/>
              <a:gd name="connsiteY5531" fmla="*/ 745965 h 4343113"/>
              <a:gd name="connsiteX5532" fmla="*/ 1164115 w 6666359"/>
              <a:gd name="connsiteY5532" fmla="*/ 749190 h 4343113"/>
              <a:gd name="connsiteX5533" fmla="*/ 1138317 w 6666359"/>
              <a:gd name="connsiteY5533" fmla="*/ 745965 h 4343113"/>
              <a:gd name="connsiteX5534" fmla="*/ 1122194 w 6666359"/>
              <a:gd name="connsiteY5534" fmla="*/ 733067 h 4343113"/>
              <a:gd name="connsiteX5535" fmla="*/ 1109296 w 6666359"/>
              <a:gd name="connsiteY5535" fmla="*/ 713718 h 4343113"/>
              <a:gd name="connsiteX5536" fmla="*/ 1106070 w 6666359"/>
              <a:gd name="connsiteY5536" fmla="*/ 700820 h 4343113"/>
              <a:gd name="connsiteX5537" fmla="*/ 1112520 w 6666359"/>
              <a:gd name="connsiteY5537" fmla="*/ 697595 h 4343113"/>
              <a:gd name="connsiteX5538" fmla="*/ 1125418 w 6666359"/>
              <a:gd name="connsiteY5538" fmla="*/ 691145 h 4343113"/>
              <a:gd name="connsiteX5539" fmla="*/ 1151216 w 6666359"/>
              <a:gd name="connsiteY5539" fmla="*/ 684697 h 4343113"/>
              <a:gd name="connsiteX5540" fmla="*/ 1209261 w 6666359"/>
              <a:gd name="connsiteY5540" fmla="*/ 687921 h 4343113"/>
              <a:gd name="connsiteX5541" fmla="*/ 1225385 w 6666359"/>
              <a:gd name="connsiteY5541" fmla="*/ 687921 h 4343113"/>
              <a:gd name="connsiteX5542" fmla="*/ 1238283 w 6666359"/>
              <a:gd name="connsiteY5542" fmla="*/ 681471 h 4343113"/>
              <a:gd name="connsiteX5543" fmla="*/ 1225385 w 6666359"/>
              <a:gd name="connsiteY5543" fmla="*/ 675022 h 4343113"/>
              <a:gd name="connsiteX5544" fmla="*/ 1215710 w 6666359"/>
              <a:gd name="connsiteY5544" fmla="*/ 668573 h 4343113"/>
              <a:gd name="connsiteX5545" fmla="*/ 1183463 w 6666359"/>
              <a:gd name="connsiteY5545" fmla="*/ 655674 h 4343113"/>
              <a:gd name="connsiteX5546" fmla="*/ 1170564 w 6666359"/>
              <a:gd name="connsiteY5546" fmla="*/ 662123 h 4343113"/>
              <a:gd name="connsiteX5547" fmla="*/ 1157665 w 6666359"/>
              <a:gd name="connsiteY5547" fmla="*/ 662123 h 4343113"/>
              <a:gd name="connsiteX5548" fmla="*/ 1125418 w 6666359"/>
              <a:gd name="connsiteY5548" fmla="*/ 662123 h 4343113"/>
              <a:gd name="connsiteX5549" fmla="*/ 1112520 w 6666359"/>
              <a:gd name="connsiteY5549" fmla="*/ 662123 h 4343113"/>
              <a:gd name="connsiteX5550" fmla="*/ 1106070 w 6666359"/>
              <a:gd name="connsiteY5550" fmla="*/ 662123 h 4343113"/>
              <a:gd name="connsiteX5551" fmla="*/ 1096396 w 6666359"/>
              <a:gd name="connsiteY5551" fmla="*/ 652449 h 4343113"/>
              <a:gd name="connsiteX5552" fmla="*/ 1086723 w 6666359"/>
              <a:gd name="connsiteY5552" fmla="*/ 639550 h 4343113"/>
              <a:gd name="connsiteX5553" fmla="*/ 1077048 w 6666359"/>
              <a:gd name="connsiteY5553" fmla="*/ 597629 h 4343113"/>
              <a:gd name="connsiteX5554" fmla="*/ 1070599 w 6666359"/>
              <a:gd name="connsiteY5554" fmla="*/ 581506 h 4343113"/>
              <a:gd name="connsiteX5555" fmla="*/ 1073823 w 6666359"/>
              <a:gd name="connsiteY5555" fmla="*/ 568608 h 4343113"/>
              <a:gd name="connsiteX5556" fmla="*/ 1080273 w 6666359"/>
              <a:gd name="connsiteY5556" fmla="*/ 546034 h 4343113"/>
              <a:gd name="connsiteX5557" fmla="*/ 1086723 w 6666359"/>
              <a:gd name="connsiteY5557" fmla="*/ 526687 h 4343113"/>
              <a:gd name="connsiteX5558" fmla="*/ 1102846 w 6666359"/>
              <a:gd name="connsiteY5558" fmla="*/ 510563 h 4343113"/>
              <a:gd name="connsiteX5559" fmla="*/ 1160891 w 6666359"/>
              <a:gd name="connsiteY5559" fmla="*/ 468641 h 4343113"/>
              <a:gd name="connsiteX5560" fmla="*/ 4883801 w 6666359"/>
              <a:gd name="connsiteY5560" fmla="*/ 465416 h 4343113"/>
              <a:gd name="connsiteX5561" fmla="*/ 4893475 w 6666359"/>
              <a:gd name="connsiteY5561" fmla="*/ 471865 h 4343113"/>
              <a:gd name="connsiteX5562" fmla="*/ 4912823 w 6666359"/>
              <a:gd name="connsiteY5562" fmla="*/ 478315 h 4343113"/>
              <a:gd name="connsiteX5563" fmla="*/ 4919272 w 6666359"/>
              <a:gd name="connsiteY5563" fmla="*/ 491214 h 4343113"/>
              <a:gd name="connsiteX5564" fmla="*/ 4909599 w 6666359"/>
              <a:gd name="connsiteY5564" fmla="*/ 500888 h 4343113"/>
              <a:gd name="connsiteX5565" fmla="*/ 4906373 w 6666359"/>
              <a:gd name="connsiteY5565" fmla="*/ 513786 h 4343113"/>
              <a:gd name="connsiteX5566" fmla="*/ 4899925 w 6666359"/>
              <a:gd name="connsiteY5566" fmla="*/ 536359 h 4343113"/>
              <a:gd name="connsiteX5567" fmla="*/ 4896699 w 6666359"/>
              <a:gd name="connsiteY5567" fmla="*/ 552483 h 4343113"/>
              <a:gd name="connsiteX5568" fmla="*/ 4893475 w 6666359"/>
              <a:gd name="connsiteY5568" fmla="*/ 568607 h 4343113"/>
              <a:gd name="connsiteX5569" fmla="*/ 4903149 w 6666359"/>
              <a:gd name="connsiteY5569" fmla="*/ 604078 h 4343113"/>
              <a:gd name="connsiteX5570" fmla="*/ 4916048 w 6666359"/>
              <a:gd name="connsiteY5570" fmla="*/ 629875 h 4343113"/>
              <a:gd name="connsiteX5571" fmla="*/ 4928946 w 6666359"/>
              <a:gd name="connsiteY5571" fmla="*/ 645999 h 4343113"/>
              <a:gd name="connsiteX5572" fmla="*/ 4945070 w 6666359"/>
              <a:gd name="connsiteY5572" fmla="*/ 658898 h 4343113"/>
              <a:gd name="connsiteX5573" fmla="*/ 4935396 w 6666359"/>
              <a:gd name="connsiteY5573" fmla="*/ 668572 h 4343113"/>
              <a:gd name="connsiteX5574" fmla="*/ 4925722 w 6666359"/>
              <a:gd name="connsiteY5574" fmla="*/ 665348 h 4343113"/>
              <a:gd name="connsiteX5575" fmla="*/ 4916048 w 6666359"/>
              <a:gd name="connsiteY5575" fmla="*/ 662122 h 4343113"/>
              <a:gd name="connsiteX5576" fmla="*/ 4909599 w 6666359"/>
              <a:gd name="connsiteY5576" fmla="*/ 665348 h 4343113"/>
              <a:gd name="connsiteX5577" fmla="*/ 4899925 w 6666359"/>
              <a:gd name="connsiteY5577" fmla="*/ 665348 h 4343113"/>
              <a:gd name="connsiteX5578" fmla="*/ 4893475 w 6666359"/>
              <a:gd name="connsiteY5578" fmla="*/ 665348 h 4343113"/>
              <a:gd name="connsiteX5579" fmla="*/ 4893475 w 6666359"/>
              <a:gd name="connsiteY5579" fmla="*/ 668572 h 4343113"/>
              <a:gd name="connsiteX5580" fmla="*/ 4890250 w 6666359"/>
              <a:gd name="connsiteY5580" fmla="*/ 668572 h 4343113"/>
              <a:gd name="connsiteX5581" fmla="*/ 4887025 w 6666359"/>
              <a:gd name="connsiteY5581" fmla="*/ 668572 h 4343113"/>
              <a:gd name="connsiteX5582" fmla="*/ 4877351 w 6666359"/>
              <a:gd name="connsiteY5582" fmla="*/ 652449 h 4343113"/>
              <a:gd name="connsiteX5583" fmla="*/ 4864452 w 6666359"/>
              <a:gd name="connsiteY5583" fmla="*/ 655673 h 4343113"/>
              <a:gd name="connsiteX5584" fmla="*/ 4851554 w 6666359"/>
              <a:gd name="connsiteY5584" fmla="*/ 649224 h 4343113"/>
              <a:gd name="connsiteX5585" fmla="*/ 4858004 w 6666359"/>
              <a:gd name="connsiteY5585" fmla="*/ 645999 h 4343113"/>
              <a:gd name="connsiteX5586" fmla="*/ 4854778 w 6666359"/>
              <a:gd name="connsiteY5586" fmla="*/ 633101 h 4343113"/>
              <a:gd name="connsiteX5587" fmla="*/ 4841880 w 6666359"/>
              <a:gd name="connsiteY5587" fmla="*/ 616977 h 4343113"/>
              <a:gd name="connsiteX5588" fmla="*/ 4838655 w 6666359"/>
              <a:gd name="connsiteY5588" fmla="*/ 610528 h 4343113"/>
              <a:gd name="connsiteX5589" fmla="*/ 4835431 w 6666359"/>
              <a:gd name="connsiteY5589" fmla="*/ 607303 h 4343113"/>
              <a:gd name="connsiteX5590" fmla="*/ 4832205 w 6666359"/>
              <a:gd name="connsiteY5590" fmla="*/ 600854 h 4343113"/>
              <a:gd name="connsiteX5591" fmla="*/ 4822531 w 6666359"/>
              <a:gd name="connsiteY5591" fmla="*/ 607303 h 4343113"/>
              <a:gd name="connsiteX5592" fmla="*/ 4812857 w 6666359"/>
              <a:gd name="connsiteY5592" fmla="*/ 604078 h 4343113"/>
              <a:gd name="connsiteX5593" fmla="*/ 4806408 w 6666359"/>
              <a:gd name="connsiteY5593" fmla="*/ 584730 h 4343113"/>
              <a:gd name="connsiteX5594" fmla="*/ 4819307 w 6666359"/>
              <a:gd name="connsiteY5594" fmla="*/ 558933 h 4343113"/>
              <a:gd name="connsiteX5595" fmla="*/ 4825757 w 6666359"/>
              <a:gd name="connsiteY5595" fmla="*/ 562157 h 4343113"/>
              <a:gd name="connsiteX5596" fmla="*/ 4828981 w 6666359"/>
              <a:gd name="connsiteY5596" fmla="*/ 562157 h 4343113"/>
              <a:gd name="connsiteX5597" fmla="*/ 4832205 w 6666359"/>
              <a:gd name="connsiteY5597" fmla="*/ 549259 h 4343113"/>
              <a:gd name="connsiteX5598" fmla="*/ 4835431 w 6666359"/>
              <a:gd name="connsiteY5598" fmla="*/ 536359 h 4343113"/>
              <a:gd name="connsiteX5599" fmla="*/ 4828981 w 6666359"/>
              <a:gd name="connsiteY5599" fmla="*/ 523460 h 4343113"/>
              <a:gd name="connsiteX5600" fmla="*/ 4828981 w 6666359"/>
              <a:gd name="connsiteY5600" fmla="*/ 513786 h 4343113"/>
              <a:gd name="connsiteX5601" fmla="*/ 4838655 w 6666359"/>
              <a:gd name="connsiteY5601" fmla="*/ 507337 h 4343113"/>
              <a:gd name="connsiteX5602" fmla="*/ 4845104 w 6666359"/>
              <a:gd name="connsiteY5602" fmla="*/ 500888 h 4343113"/>
              <a:gd name="connsiteX5603" fmla="*/ 4845104 w 6666359"/>
              <a:gd name="connsiteY5603" fmla="*/ 487989 h 4343113"/>
              <a:gd name="connsiteX5604" fmla="*/ 4854778 w 6666359"/>
              <a:gd name="connsiteY5604" fmla="*/ 478315 h 4343113"/>
              <a:gd name="connsiteX5605" fmla="*/ 3131179 w 6666359"/>
              <a:gd name="connsiteY5605" fmla="*/ 462192 h 4343113"/>
              <a:gd name="connsiteX5606" fmla="*/ 3147302 w 6666359"/>
              <a:gd name="connsiteY5606" fmla="*/ 462192 h 4343113"/>
              <a:gd name="connsiteX5607" fmla="*/ 3169875 w 6666359"/>
              <a:gd name="connsiteY5607" fmla="*/ 475091 h 4343113"/>
              <a:gd name="connsiteX5608" fmla="*/ 3176325 w 6666359"/>
              <a:gd name="connsiteY5608" fmla="*/ 478315 h 4343113"/>
              <a:gd name="connsiteX5609" fmla="*/ 3176325 w 6666359"/>
              <a:gd name="connsiteY5609" fmla="*/ 487989 h 4343113"/>
              <a:gd name="connsiteX5610" fmla="*/ 3163426 w 6666359"/>
              <a:gd name="connsiteY5610" fmla="*/ 491214 h 4343113"/>
              <a:gd name="connsiteX5611" fmla="*/ 3140854 w 6666359"/>
              <a:gd name="connsiteY5611" fmla="*/ 487989 h 4343113"/>
              <a:gd name="connsiteX5612" fmla="*/ 3118280 w 6666359"/>
              <a:gd name="connsiteY5612" fmla="*/ 481539 h 4343113"/>
              <a:gd name="connsiteX5613" fmla="*/ 3124730 w 6666359"/>
              <a:gd name="connsiteY5613" fmla="*/ 468641 h 4343113"/>
              <a:gd name="connsiteX5614" fmla="*/ 5225618 w 6666359"/>
              <a:gd name="connsiteY5614" fmla="*/ 455742 h 4343113"/>
              <a:gd name="connsiteX5615" fmla="*/ 5238517 w 6666359"/>
              <a:gd name="connsiteY5615" fmla="*/ 455742 h 4343113"/>
              <a:gd name="connsiteX5616" fmla="*/ 5251416 w 6666359"/>
              <a:gd name="connsiteY5616" fmla="*/ 471865 h 4343113"/>
              <a:gd name="connsiteX5617" fmla="*/ 5248191 w 6666359"/>
              <a:gd name="connsiteY5617" fmla="*/ 481539 h 4343113"/>
              <a:gd name="connsiteX5618" fmla="*/ 5232068 w 6666359"/>
              <a:gd name="connsiteY5618" fmla="*/ 487989 h 4343113"/>
              <a:gd name="connsiteX5619" fmla="*/ 5212719 w 6666359"/>
              <a:gd name="connsiteY5619" fmla="*/ 491213 h 4343113"/>
              <a:gd name="connsiteX5620" fmla="*/ 5215944 w 6666359"/>
              <a:gd name="connsiteY5620" fmla="*/ 462192 h 4343113"/>
              <a:gd name="connsiteX5621" fmla="*/ 6467125 w 6666359"/>
              <a:gd name="connsiteY5621" fmla="*/ 442844 h 4343113"/>
              <a:gd name="connsiteX5622" fmla="*/ 6492922 w 6666359"/>
              <a:gd name="connsiteY5622" fmla="*/ 455743 h 4343113"/>
              <a:gd name="connsiteX5623" fmla="*/ 6509045 w 6666359"/>
              <a:gd name="connsiteY5623" fmla="*/ 471866 h 4343113"/>
              <a:gd name="connsiteX5624" fmla="*/ 6505821 w 6666359"/>
              <a:gd name="connsiteY5624" fmla="*/ 484765 h 4343113"/>
              <a:gd name="connsiteX5625" fmla="*/ 6476799 w 6666359"/>
              <a:gd name="connsiteY5625" fmla="*/ 504114 h 4343113"/>
              <a:gd name="connsiteX5626" fmla="*/ 6463901 w 6666359"/>
              <a:gd name="connsiteY5626" fmla="*/ 513787 h 4343113"/>
              <a:gd name="connsiteX5627" fmla="*/ 6454227 w 6666359"/>
              <a:gd name="connsiteY5627" fmla="*/ 526686 h 4343113"/>
              <a:gd name="connsiteX5628" fmla="*/ 6447777 w 6666359"/>
              <a:gd name="connsiteY5628" fmla="*/ 520237 h 4343113"/>
              <a:gd name="connsiteX5629" fmla="*/ 6451001 w 6666359"/>
              <a:gd name="connsiteY5629" fmla="*/ 481540 h 4343113"/>
              <a:gd name="connsiteX5630" fmla="*/ 6454227 w 6666359"/>
              <a:gd name="connsiteY5630" fmla="*/ 458967 h 4343113"/>
              <a:gd name="connsiteX5631" fmla="*/ 6457451 w 6666359"/>
              <a:gd name="connsiteY5631" fmla="*/ 449293 h 4343113"/>
              <a:gd name="connsiteX5632" fmla="*/ 1912243 w 6666359"/>
              <a:gd name="connsiteY5632" fmla="*/ 436395 h 4343113"/>
              <a:gd name="connsiteX5633" fmla="*/ 1938041 w 6666359"/>
              <a:gd name="connsiteY5633" fmla="*/ 446069 h 4343113"/>
              <a:gd name="connsiteX5634" fmla="*/ 1960614 w 6666359"/>
              <a:gd name="connsiteY5634" fmla="*/ 442844 h 4343113"/>
              <a:gd name="connsiteX5635" fmla="*/ 1989636 w 6666359"/>
              <a:gd name="connsiteY5635" fmla="*/ 455743 h 4343113"/>
              <a:gd name="connsiteX5636" fmla="*/ 2012209 w 6666359"/>
              <a:gd name="connsiteY5636" fmla="*/ 497664 h 4343113"/>
              <a:gd name="connsiteX5637" fmla="*/ 2005760 w 6666359"/>
              <a:gd name="connsiteY5637" fmla="*/ 507338 h 4343113"/>
              <a:gd name="connsiteX5638" fmla="*/ 1992861 w 6666359"/>
              <a:gd name="connsiteY5638" fmla="*/ 507338 h 4343113"/>
              <a:gd name="connsiteX5639" fmla="*/ 1979962 w 6666359"/>
              <a:gd name="connsiteY5639" fmla="*/ 500888 h 4343113"/>
              <a:gd name="connsiteX5640" fmla="*/ 1967063 w 6666359"/>
              <a:gd name="connsiteY5640" fmla="*/ 500888 h 4343113"/>
              <a:gd name="connsiteX5641" fmla="*/ 1941266 w 6666359"/>
              <a:gd name="connsiteY5641" fmla="*/ 513787 h 4343113"/>
              <a:gd name="connsiteX5642" fmla="*/ 1918693 w 6666359"/>
              <a:gd name="connsiteY5642" fmla="*/ 484765 h 4343113"/>
              <a:gd name="connsiteX5643" fmla="*/ 1909019 w 6666359"/>
              <a:gd name="connsiteY5643" fmla="*/ 468641 h 4343113"/>
              <a:gd name="connsiteX5644" fmla="*/ 1909019 w 6666359"/>
              <a:gd name="connsiteY5644" fmla="*/ 449293 h 4343113"/>
              <a:gd name="connsiteX5645" fmla="*/ 1367271 w 6666359"/>
              <a:gd name="connsiteY5645" fmla="*/ 436395 h 4343113"/>
              <a:gd name="connsiteX5646" fmla="*/ 1380169 w 6666359"/>
              <a:gd name="connsiteY5646" fmla="*/ 439619 h 4343113"/>
              <a:gd name="connsiteX5647" fmla="*/ 1393068 w 6666359"/>
              <a:gd name="connsiteY5647" fmla="*/ 452518 h 4343113"/>
              <a:gd name="connsiteX5648" fmla="*/ 1376945 w 6666359"/>
              <a:gd name="connsiteY5648" fmla="*/ 497664 h 4343113"/>
              <a:gd name="connsiteX5649" fmla="*/ 1367271 w 6666359"/>
              <a:gd name="connsiteY5649" fmla="*/ 494440 h 4343113"/>
              <a:gd name="connsiteX5650" fmla="*/ 1347922 w 6666359"/>
              <a:gd name="connsiteY5650" fmla="*/ 465417 h 4343113"/>
              <a:gd name="connsiteX5651" fmla="*/ 1335024 w 6666359"/>
              <a:gd name="connsiteY5651" fmla="*/ 458967 h 4343113"/>
              <a:gd name="connsiteX5652" fmla="*/ 1347922 w 6666359"/>
              <a:gd name="connsiteY5652" fmla="*/ 439619 h 4343113"/>
              <a:gd name="connsiteX5653" fmla="*/ 1805829 w 6666359"/>
              <a:gd name="connsiteY5653" fmla="*/ 429946 h 4343113"/>
              <a:gd name="connsiteX5654" fmla="*/ 1821953 w 6666359"/>
              <a:gd name="connsiteY5654" fmla="*/ 436395 h 4343113"/>
              <a:gd name="connsiteX5655" fmla="*/ 1812278 w 6666359"/>
              <a:gd name="connsiteY5655" fmla="*/ 452518 h 4343113"/>
              <a:gd name="connsiteX5656" fmla="*/ 1799379 w 6666359"/>
              <a:gd name="connsiteY5656" fmla="*/ 465417 h 4343113"/>
              <a:gd name="connsiteX5657" fmla="*/ 1786481 w 6666359"/>
              <a:gd name="connsiteY5657" fmla="*/ 494440 h 4343113"/>
              <a:gd name="connsiteX5658" fmla="*/ 1780032 w 6666359"/>
              <a:gd name="connsiteY5658" fmla="*/ 520237 h 4343113"/>
              <a:gd name="connsiteX5659" fmla="*/ 1786481 w 6666359"/>
              <a:gd name="connsiteY5659" fmla="*/ 549259 h 4343113"/>
              <a:gd name="connsiteX5660" fmla="*/ 1786481 w 6666359"/>
              <a:gd name="connsiteY5660" fmla="*/ 565382 h 4343113"/>
              <a:gd name="connsiteX5661" fmla="*/ 1799379 w 6666359"/>
              <a:gd name="connsiteY5661" fmla="*/ 587955 h 4343113"/>
              <a:gd name="connsiteX5662" fmla="*/ 1812278 w 6666359"/>
              <a:gd name="connsiteY5662" fmla="*/ 604079 h 4343113"/>
              <a:gd name="connsiteX5663" fmla="*/ 1815503 w 6666359"/>
              <a:gd name="connsiteY5663" fmla="*/ 607303 h 4343113"/>
              <a:gd name="connsiteX5664" fmla="*/ 1812278 w 6666359"/>
              <a:gd name="connsiteY5664" fmla="*/ 620203 h 4343113"/>
              <a:gd name="connsiteX5665" fmla="*/ 1818727 w 6666359"/>
              <a:gd name="connsiteY5665" fmla="*/ 623427 h 4343113"/>
              <a:gd name="connsiteX5666" fmla="*/ 1828401 w 6666359"/>
              <a:gd name="connsiteY5666" fmla="*/ 607303 h 4343113"/>
              <a:gd name="connsiteX5667" fmla="*/ 1828401 w 6666359"/>
              <a:gd name="connsiteY5667" fmla="*/ 597629 h 4343113"/>
              <a:gd name="connsiteX5668" fmla="*/ 1825177 w 6666359"/>
              <a:gd name="connsiteY5668" fmla="*/ 591180 h 4343113"/>
              <a:gd name="connsiteX5669" fmla="*/ 1818727 w 6666359"/>
              <a:gd name="connsiteY5669" fmla="*/ 591180 h 4343113"/>
              <a:gd name="connsiteX5670" fmla="*/ 1812278 w 6666359"/>
              <a:gd name="connsiteY5670" fmla="*/ 587955 h 4343113"/>
              <a:gd name="connsiteX5671" fmla="*/ 1809053 w 6666359"/>
              <a:gd name="connsiteY5671" fmla="*/ 562158 h 4343113"/>
              <a:gd name="connsiteX5672" fmla="*/ 1809053 w 6666359"/>
              <a:gd name="connsiteY5672" fmla="*/ 549259 h 4343113"/>
              <a:gd name="connsiteX5673" fmla="*/ 1818727 w 6666359"/>
              <a:gd name="connsiteY5673" fmla="*/ 549259 h 4343113"/>
              <a:gd name="connsiteX5674" fmla="*/ 1812278 w 6666359"/>
              <a:gd name="connsiteY5674" fmla="*/ 539585 h 4343113"/>
              <a:gd name="connsiteX5675" fmla="*/ 1805829 w 6666359"/>
              <a:gd name="connsiteY5675" fmla="*/ 533135 h 4343113"/>
              <a:gd name="connsiteX5676" fmla="*/ 1805829 w 6666359"/>
              <a:gd name="connsiteY5676" fmla="*/ 500888 h 4343113"/>
              <a:gd name="connsiteX5677" fmla="*/ 1809053 w 6666359"/>
              <a:gd name="connsiteY5677" fmla="*/ 497664 h 4343113"/>
              <a:gd name="connsiteX5678" fmla="*/ 1812278 w 6666359"/>
              <a:gd name="connsiteY5678" fmla="*/ 491214 h 4343113"/>
              <a:gd name="connsiteX5679" fmla="*/ 1818727 w 6666359"/>
              <a:gd name="connsiteY5679" fmla="*/ 465417 h 4343113"/>
              <a:gd name="connsiteX5680" fmla="*/ 1850974 w 6666359"/>
              <a:gd name="connsiteY5680" fmla="*/ 449293 h 4343113"/>
              <a:gd name="connsiteX5681" fmla="*/ 1863873 w 6666359"/>
              <a:gd name="connsiteY5681" fmla="*/ 439619 h 4343113"/>
              <a:gd name="connsiteX5682" fmla="*/ 1876772 w 6666359"/>
              <a:gd name="connsiteY5682" fmla="*/ 439619 h 4343113"/>
              <a:gd name="connsiteX5683" fmla="*/ 1892895 w 6666359"/>
              <a:gd name="connsiteY5683" fmla="*/ 439619 h 4343113"/>
              <a:gd name="connsiteX5684" fmla="*/ 1899345 w 6666359"/>
              <a:gd name="connsiteY5684" fmla="*/ 452518 h 4343113"/>
              <a:gd name="connsiteX5685" fmla="*/ 1902569 w 6666359"/>
              <a:gd name="connsiteY5685" fmla="*/ 465417 h 4343113"/>
              <a:gd name="connsiteX5686" fmla="*/ 1905794 w 6666359"/>
              <a:gd name="connsiteY5686" fmla="*/ 471866 h 4343113"/>
              <a:gd name="connsiteX5687" fmla="*/ 1912243 w 6666359"/>
              <a:gd name="connsiteY5687" fmla="*/ 484765 h 4343113"/>
              <a:gd name="connsiteX5688" fmla="*/ 1918693 w 6666359"/>
              <a:gd name="connsiteY5688" fmla="*/ 510563 h 4343113"/>
              <a:gd name="connsiteX5689" fmla="*/ 1918693 w 6666359"/>
              <a:gd name="connsiteY5689" fmla="*/ 533135 h 4343113"/>
              <a:gd name="connsiteX5690" fmla="*/ 1915468 w 6666359"/>
              <a:gd name="connsiteY5690" fmla="*/ 562158 h 4343113"/>
              <a:gd name="connsiteX5691" fmla="*/ 1921918 w 6666359"/>
              <a:gd name="connsiteY5691" fmla="*/ 562158 h 4343113"/>
              <a:gd name="connsiteX5692" fmla="*/ 1928366 w 6666359"/>
              <a:gd name="connsiteY5692" fmla="*/ 552484 h 4343113"/>
              <a:gd name="connsiteX5693" fmla="*/ 1925142 w 6666359"/>
              <a:gd name="connsiteY5693" fmla="*/ 542809 h 4343113"/>
              <a:gd name="connsiteX5694" fmla="*/ 1931592 w 6666359"/>
              <a:gd name="connsiteY5694" fmla="*/ 533135 h 4343113"/>
              <a:gd name="connsiteX5695" fmla="*/ 1941266 w 6666359"/>
              <a:gd name="connsiteY5695" fmla="*/ 539585 h 4343113"/>
              <a:gd name="connsiteX5696" fmla="*/ 1957389 w 6666359"/>
              <a:gd name="connsiteY5696" fmla="*/ 539585 h 4343113"/>
              <a:gd name="connsiteX5697" fmla="*/ 1960614 w 6666359"/>
              <a:gd name="connsiteY5697" fmla="*/ 529911 h 4343113"/>
              <a:gd name="connsiteX5698" fmla="*/ 1967063 w 6666359"/>
              <a:gd name="connsiteY5698" fmla="*/ 520237 h 4343113"/>
              <a:gd name="connsiteX5699" fmla="*/ 2021883 w 6666359"/>
              <a:gd name="connsiteY5699" fmla="*/ 526687 h 4343113"/>
              <a:gd name="connsiteX5700" fmla="*/ 2031557 w 6666359"/>
              <a:gd name="connsiteY5700" fmla="*/ 529911 h 4343113"/>
              <a:gd name="connsiteX5701" fmla="*/ 2038007 w 6666359"/>
              <a:gd name="connsiteY5701" fmla="*/ 542809 h 4343113"/>
              <a:gd name="connsiteX5702" fmla="*/ 2038007 w 6666359"/>
              <a:gd name="connsiteY5702" fmla="*/ 558933 h 4343113"/>
              <a:gd name="connsiteX5703" fmla="*/ 2054130 w 6666359"/>
              <a:gd name="connsiteY5703" fmla="*/ 562158 h 4343113"/>
              <a:gd name="connsiteX5704" fmla="*/ 2057355 w 6666359"/>
              <a:gd name="connsiteY5704" fmla="*/ 568608 h 4343113"/>
              <a:gd name="connsiteX5705" fmla="*/ 2063804 w 6666359"/>
              <a:gd name="connsiteY5705" fmla="*/ 584731 h 4343113"/>
              <a:gd name="connsiteX5706" fmla="*/ 2070254 w 6666359"/>
              <a:gd name="connsiteY5706" fmla="*/ 604079 h 4343113"/>
              <a:gd name="connsiteX5707" fmla="*/ 2073478 w 6666359"/>
              <a:gd name="connsiteY5707" fmla="*/ 613753 h 4343113"/>
              <a:gd name="connsiteX5708" fmla="*/ 2083152 w 6666359"/>
              <a:gd name="connsiteY5708" fmla="*/ 613753 h 4343113"/>
              <a:gd name="connsiteX5709" fmla="*/ 2089602 w 6666359"/>
              <a:gd name="connsiteY5709" fmla="*/ 597629 h 4343113"/>
              <a:gd name="connsiteX5710" fmla="*/ 2096051 w 6666359"/>
              <a:gd name="connsiteY5710" fmla="*/ 594405 h 4343113"/>
              <a:gd name="connsiteX5711" fmla="*/ 2112175 w 6666359"/>
              <a:gd name="connsiteY5711" fmla="*/ 600855 h 4343113"/>
              <a:gd name="connsiteX5712" fmla="*/ 2121849 w 6666359"/>
              <a:gd name="connsiteY5712" fmla="*/ 616977 h 4343113"/>
              <a:gd name="connsiteX5713" fmla="*/ 2128298 w 6666359"/>
              <a:gd name="connsiteY5713" fmla="*/ 629876 h 4343113"/>
              <a:gd name="connsiteX5714" fmla="*/ 2131523 w 6666359"/>
              <a:gd name="connsiteY5714" fmla="*/ 629876 h 4343113"/>
              <a:gd name="connsiteX5715" fmla="*/ 2137972 w 6666359"/>
              <a:gd name="connsiteY5715" fmla="*/ 649224 h 4343113"/>
              <a:gd name="connsiteX5716" fmla="*/ 2150870 w 6666359"/>
              <a:gd name="connsiteY5716" fmla="*/ 642776 h 4343113"/>
              <a:gd name="connsiteX5717" fmla="*/ 2163770 w 6666359"/>
              <a:gd name="connsiteY5717" fmla="*/ 652449 h 4343113"/>
              <a:gd name="connsiteX5718" fmla="*/ 2176668 w 6666359"/>
              <a:gd name="connsiteY5718" fmla="*/ 662123 h 4343113"/>
              <a:gd name="connsiteX5719" fmla="*/ 2179893 w 6666359"/>
              <a:gd name="connsiteY5719" fmla="*/ 675022 h 4343113"/>
              <a:gd name="connsiteX5720" fmla="*/ 2176668 w 6666359"/>
              <a:gd name="connsiteY5720" fmla="*/ 687921 h 4343113"/>
              <a:gd name="connsiteX5721" fmla="*/ 2183117 w 6666359"/>
              <a:gd name="connsiteY5721" fmla="*/ 694370 h 4343113"/>
              <a:gd name="connsiteX5722" fmla="*/ 2189567 w 6666359"/>
              <a:gd name="connsiteY5722" fmla="*/ 681471 h 4343113"/>
              <a:gd name="connsiteX5723" fmla="*/ 2199241 w 6666359"/>
              <a:gd name="connsiteY5723" fmla="*/ 687921 h 4343113"/>
              <a:gd name="connsiteX5724" fmla="*/ 2212140 w 6666359"/>
              <a:gd name="connsiteY5724" fmla="*/ 720168 h 4343113"/>
              <a:gd name="connsiteX5725" fmla="*/ 2196017 w 6666359"/>
              <a:gd name="connsiteY5725" fmla="*/ 716944 h 4343113"/>
              <a:gd name="connsiteX5726" fmla="*/ 2186343 w 6666359"/>
              <a:gd name="connsiteY5726" fmla="*/ 723392 h 4343113"/>
              <a:gd name="connsiteX5727" fmla="*/ 2205691 w 6666359"/>
              <a:gd name="connsiteY5727" fmla="*/ 736291 h 4343113"/>
              <a:gd name="connsiteX5728" fmla="*/ 2221814 w 6666359"/>
              <a:gd name="connsiteY5728" fmla="*/ 752415 h 4343113"/>
              <a:gd name="connsiteX5729" fmla="*/ 2189567 w 6666359"/>
              <a:gd name="connsiteY5729" fmla="*/ 752415 h 4343113"/>
              <a:gd name="connsiteX5730" fmla="*/ 2196017 w 6666359"/>
              <a:gd name="connsiteY5730" fmla="*/ 774988 h 4343113"/>
              <a:gd name="connsiteX5731" fmla="*/ 2199241 w 6666359"/>
              <a:gd name="connsiteY5731" fmla="*/ 787886 h 4343113"/>
              <a:gd name="connsiteX5732" fmla="*/ 2202466 w 6666359"/>
              <a:gd name="connsiteY5732" fmla="*/ 791112 h 4343113"/>
              <a:gd name="connsiteX5733" fmla="*/ 2212140 w 6666359"/>
              <a:gd name="connsiteY5733" fmla="*/ 794336 h 4343113"/>
              <a:gd name="connsiteX5734" fmla="*/ 2221814 w 6666359"/>
              <a:gd name="connsiteY5734" fmla="*/ 797560 h 4343113"/>
              <a:gd name="connsiteX5735" fmla="*/ 2218589 w 6666359"/>
              <a:gd name="connsiteY5735" fmla="*/ 797560 h 4343113"/>
              <a:gd name="connsiteX5736" fmla="*/ 2231488 w 6666359"/>
              <a:gd name="connsiteY5736" fmla="*/ 820133 h 4343113"/>
              <a:gd name="connsiteX5737" fmla="*/ 2234712 w 6666359"/>
              <a:gd name="connsiteY5737" fmla="*/ 826583 h 4343113"/>
              <a:gd name="connsiteX5738" fmla="*/ 2244387 w 6666359"/>
              <a:gd name="connsiteY5738" fmla="*/ 823358 h 4343113"/>
              <a:gd name="connsiteX5739" fmla="*/ 2247611 w 6666359"/>
              <a:gd name="connsiteY5739" fmla="*/ 829807 h 4343113"/>
              <a:gd name="connsiteX5740" fmla="*/ 2254061 w 6666359"/>
              <a:gd name="connsiteY5740" fmla="*/ 823358 h 4343113"/>
              <a:gd name="connsiteX5741" fmla="*/ 2263735 w 6666359"/>
              <a:gd name="connsiteY5741" fmla="*/ 826583 h 4343113"/>
              <a:gd name="connsiteX5742" fmla="*/ 2273409 w 6666359"/>
              <a:gd name="connsiteY5742" fmla="*/ 839481 h 4343113"/>
              <a:gd name="connsiteX5743" fmla="*/ 2276633 w 6666359"/>
              <a:gd name="connsiteY5743" fmla="*/ 849156 h 4343113"/>
              <a:gd name="connsiteX5744" fmla="*/ 2279859 w 6666359"/>
              <a:gd name="connsiteY5744" fmla="*/ 865279 h 4343113"/>
              <a:gd name="connsiteX5745" fmla="*/ 2289532 w 6666359"/>
              <a:gd name="connsiteY5745" fmla="*/ 868504 h 4343113"/>
              <a:gd name="connsiteX5746" fmla="*/ 2299206 w 6666359"/>
              <a:gd name="connsiteY5746" fmla="*/ 862054 h 4343113"/>
              <a:gd name="connsiteX5747" fmla="*/ 2305656 w 6666359"/>
              <a:gd name="connsiteY5747" fmla="*/ 884627 h 4343113"/>
              <a:gd name="connsiteX5748" fmla="*/ 2305656 w 6666359"/>
              <a:gd name="connsiteY5748" fmla="*/ 891077 h 4343113"/>
              <a:gd name="connsiteX5749" fmla="*/ 2308880 w 6666359"/>
              <a:gd name="connsiteY5749" fmla="*/ 884627 h 4343113"/>
              <a:gd name="connsiteX5750" fmla="*/ 2318554 w 6666359"/>
              <a:gd name="connsiteY5750" fmla="*/ 878178 h 4343113"/>
              <a:gd name="connsiteX5751" fmla="*/ 2334678 w 6666359"/>
              <a:gd name="connsiteY5751" fmla="*/ 894301 h 4343113"/>
              <a:gd name="connsiteX5752" fmla="*/ 2337903 w 6666359"/>
              <a:gd name="connsiteY5752" fmla="*/ 907200 h 4343113"/>
              <a:gd name="connsiteX5753" fmla="*/ 2334678 w 6666359"/>
              <a:gd name="connsiteY5753" fmla="*/ 916874 h 4343113"/>
              <a:gd name="connsiteX5754" fmla="*/ 2328229 w 6666359"/>
              <a:gd name="connsiteY5754" fmla="*/ 920099 h 4343113"/>
              <a:gd name="connsiteX5755" fmla="*/ 2318554 w 6666359"/>
              <a:gd name="connsiteY5755" fmla="*/ 920099 h 4343113"/>
              <a:gd name="connsiteX5756" fmla="*/ 2308880 w 6666359"/>
              <a:gd name="connsiteY5756" fmla="*/ 923324 h 4343113"/>
              <a:gd name="connsiteX5757" fmla="*/ 2325004 w 6666359"/>
              <a:gd name="connsiteY5757" fmla="*/ 936222 h 4343113"/>
              <a:gd name="connsiteX5758" fmla="*/ 2315330 w 6666359"/>
              <a:gd name="connsiteY5758" fmla="*/ 939448 h 4343113"/>
              <a:gd name="connsiteX5759" fmla="*/ 2308880 w 6666359"/>
              <a:gd name="connsiteY5759" fmla="*/ 955571 h 4343113"/>
              <a:gd name="connsiteX5760" fmla="*/ 2295982 w 6666359"/>
              <a:gd name="connsiteY5760" fmla="*/ 955571 h 4343113"/>
              <a:gd name="connsiteX5761" fmla="*/ 2289532 w 6666359"/>
              <a:gd name="connsiteY5761" fmla="*/ 971693 h 4343113"/>
              <a:gd name="connsiteX5762" fmla="*/ 2292757 w 6666359"/>
              <a:gd name="connsiteY5762" fmla="*/ 974919 h 4343113"/>
              <a:gd name="connsiteX5763" fmla="*/ 2289532 w 6666359"/>
              <a:gd name="connsiteY5763" fmla="*/ 978143 h 4343113"/>
              <a:gd name="connsiteX5764" fmla="*/ 2292757 w 6666359"/>
              <a:gd name="connsiteY5764" fmla="*/ 984593 h 4343113"/>
              <a:gd name="connsiteX5765" fmla="*/ 2283083 w 6666359"/>
              <a:gd name="connsiteY5765" fmla="*/ 991042 h 4343113"/>
              <a:gd name="connsiteX5766" fmla="*/ 2279859 w 6666359"/>
              <a:gd name="connsiteY5766" fmla="*/ 987817 h 4343113"/>
              <a:gd name="connsiteX5767" fmla="*/ 2276633 w 6666359"/>
              <a:gd name="connsiteY5767" fmla="*/ 987817 h 4343113"/>
              <a:gd name="connsiteX5768" fmla="*/ 2266959 w 6666359"/>
              <a:gd name="connsiteY5768" fmla="*/ 978143 h 4343113"/>
              <a:gd name="connsiteX5769" fmla="*/ 2260510 w 6666359"/>
              <a:gd name="connsiteY5769" fmla="*/ 971693 h 4343113"/>
              <a:gd name="connsiteX5770" fmla="*/ 2247611 w 6666359"/>
              <a:gd name="connsiteY5770" fmla="*/ 945896 h 4343113"/>
              <a:gd name="connsiteX5771" fmla="*/ 2237938 w 6666359"/>
              <a:gd name="connsiteY5771" fmla="*/ 929773 h 4343113"/>
              <a:gd name="connsiteX5772" fmla="*/ 2228264 w 6666359"/>
              <a:gd name="connsiteY5772" fmla="*/ 923324 h 4343113"/>
              <a:gd name="connsiteX5773" fmla="*/ 2231488 w 6666359"/>
              <a:gd name="connsiteY5773" fmla="*/ 923324 h 4343113"/>
              <a:gd name="connsiteX5774" fmla="*/ 2212140 w 6666359"/>
              <a:gd name="connsiteY5774" fmla="*/ 910425 h 4343113"/>
              <a:gd name="connsiteX5775" fmla="*/ 2202466 w 6666359"/>
              <a:gd name="connsiteY5775" fmla="*/ 910425 h 4343113"/>
              <a:gd name="connsiteX5776" fmla="*/ 2196017 w 6666359"/>
              <a:gd name="connsiteY5776" fmla="*/ 910425 h 4343113"/>
              <a:gd name="connsiteX5777" fmla="*/ 2199241 w 6666359"/>
              <a:gd name="connsiteY5777" fmla="*/ 926548 h 4343113"/>
              <a:gd name="connsiteX5778" fmla="*/ 2208915 w 6666359"/>
              <a:gd name="connsiteY5778" fmla="*/ 932998 h 4343113"/>
              <a:gd name="connsiteX5779" fmla="*/ 2202466 w 6666359"/>
              <a:gd name="connsiteY5779" fmla="*/ 942672 h 4343113"/>
              <a:gd name="connsiteX5780" fmla="*/ 2196017 w 6666359"/>
              <a:gd name="connsiteY5780" fmla="*/ 942672 h 4343113"/>
              <a:gd name="connsiteX5781" fmla="*/ 2189567 w 6666359"/>
              <a:gd name="connsiteY5781" fmla="*/ 929773 h 4343113"/>
              <a:gd name="connsiteX5782" fmla="*/ 2183117 w 6666359"/>
              <a:gd name="connsiteY5782" fmla="*/ 942672 h 4343113"/>
              <a:gd name="connsiteX5783" fmla="*/ 2189567 w 6666359"/>
              <a:gd name="connsiteY5783" fmla="*/ 955571 h 4343113"/>
              <a:gd name="connsiteX5784" fmla="*/ 2199241 w 6666359"/>
              <a:gd name="connsiteY5784" fmla="*/ 955571 h 4343113"/>
              <a:gd name="connsiteX5785" fmla="*/ 2205691 w 6666359"/>
              <a:gd name="connsiteY5785" fmla="*/ 962020 h 4343113"/>
              <a:gd name="connsiteX5786" fmla="*/ 2212140 w 6666359"/>
              <a:gd name="connsiteY5786" fmla="*/ 965245 h 4343113"/>
              <a:gd name="connsiteX5787" fmla="*/ 2208915 w 6666359"/>
              <a:gd name="connsiteY5787" fmla="*/ 974919 h 4343113"/>
              <a:gd name="connsiteX5788" fmla="*/ 2212140 w 6666359"/>
              <a:gd name="connsiteY5788" fmla="*/ 984593 h 4343113"/>
              <a:gd name="connsiteX5789" fmla="*/ 2215364 w 6666359"/>
              <a:gd name="connsiteY5789" fmla="*/ 987817 h 4343113"/>
              <a:gd name="connsiteX5790" fmla="*/ 2218589 w 6666359"/>
              <a:gd name="connsiteY5790" fmla="*/ 994267 h 4343113"/>
              <a:gd name="connsiteX5791" fmla="*/ 2218589 w 6666359"/>
              <a:gd name="connsiteY5791" fmla="*/ 1000716 h 4343113"/>
              <a:gd name="connsiteX5792" fmla="*/ 2225038 w 6666359"/>
              <a:gd name="connsiteY5792" fmla="*/ 997492 h 4343113"/>
              <a:gd name="connsiteX5793" fmla="*/ 2237938 w 6666359"/>
              <a:gd name="connsiteY5793" fmla="*/ 994267 h 4343113"/>
              <a:gd name="connsiteX5794" fmla="*/ 2244387 w 6666359"/>
              <a:gd name="connsiteY5794" fmla="*/ 1000716 h 4343113"/>
              <a:gd name="connsiteX5795" fmla="*/ 2244387 w 6666359"/>
              <a:gd name="connsiteY5795" fmla="*/ 1010390 h 4343113"/>
              <a:gd name="connsiteX5796" fmla="*/ 2244387 w 6666359"/>
              <a:gd name="connsiteY5796" fmla="*/ 1013615 h 4343113"/>
              <a:gd name="connsiteX5797" fmla="*/ 2254061 w 6666359"/>
              <a:gd name="connsiteY5797" fmla="*/ 1016840 h 4343113"/>
              <a:gd name="connsiteX5798" fmla="*/ 2250836 w 6666359"/>
              <a:gd name="connsiteY5798" fmla="*/ 1032963 h 4343113"/>
              <a:gd name="connsiteX5799" fmla="*/ 2257285 w 6666359"/>
              <a:gd name="connsiteY5799" fmla="*/ 1049087 h 4343113"/>
              <a:gd name="connsiteX5800" fmla="*/ 2266959 w 6666359"/>
              <a:gd name="connsiteY5800" fmla="*/ 1058761 h 4343113"/>
              <a:gd name="connsiteX5801" fmla="*/ 2266959 w 6666359"/>
              <a:gd name="connsiteY5801" fmla="*/ 1074884 h 4343113"/>
              <a:gd name="connsiteX5802" fmla="*/ 2263735 w 6666359"/>
              <a:gd name="connsiteY5802" fmla="*/ 1074884 h 4343113"/>
              <a:gd name="connsiteX5803" fmla="*/ 2260510 w 6666359"/>
              <a:gd name="connsiteY5803" fmla="*/ 1065210 h 4343113"/>
              <a:gd name="connsiteX5804" fmla="*/ 2254061 w 6666359"/>
              <a:gd name="connsiteY5804" fmla="*/ 1055536 h 4343113"/>
              <a:gd name="connsiteX5805" fmla="*/ 2257285 w 6666359"/>
              <a:gd name="connsiteY5805" fmla="*/ 1068435 h 4343113"/>
              <a:gd name="connsiteX5806" fmla="*/ 2260510 w 6666359"/>
              <a:gd name="connsiteY5806" fmla="*/ 1081334 h 4343113"/>
              <a:gd name="connsiteX5807" fmla="*/ 2260510 w 6666359"/>
              <a:gd name="connsiteY5807" fmla="*/ 1084558 h 4343113"/>
              <a:gd name="connsiteX5808" fmla="*/ 2263735 w 6666359"/>
              <a:gd name="connsiteY5808" fmla="*/ 1091008 h 4343113"/>
              <a:gd name="connsiteX5809" fmla="*/ 2263735 w 6666359"/>
              <a:gd name="connsiteY5809" fmla="*/ 1097457 h 4343113"/>
              <a:gd name="connsiteX5810" fmla="*/ 2250836 w 6666359"/>
              <a:gd name="connsiteY5810" fmla="*/ 1110356 h 4343113"/>
              <a:gd name="connsiteX5811" fmla="*/ 2241162 w 6666359"/>
              <a:gd name="connsiteY5811" fmla="*/ 1094232 h 4343113"/>
              <a:gd name="connsiteX5812" fmla="*/ 2234712 w 6666359"/>
              <a:gd name="connsiteY5812" fmla="*/ 1091008 h 4343113"/>
              <a:gd name="connsiteX5813" fmla="*/ 2231488 w 6666359"/>
              <a:gd name="connsiteY5813" fmla="*/ 1091008 h 4343113"/>
              <a:gd name="connsiteX5814" fmla="*/ 2218589 w 6666359"/>
              <a:gd name="connsiteY5814" fmla="*/ 1084558 h 4343113"/>
              <a:gd name="connsiteX5815" fmla="*/ 2205691 w 6666359"/>
              <a:gd name="connsiteY5815" fmla="*/ 1071660 h 4343113"/>
              <a:gd name="connsiteX5816" fmla="*/ 2199241 w 6666359"/>
              <a:gd name="connsiteY5816" fmla="*/ 1068435 h 4343113"/>
              <a:gd name="connsiteX5817" fmla="*/ 2196017 w 6666359"/>
              <a:gd name="connsiteY5817" fmla="*/ 1071660 h 4343113"/>
              <a:gd name="connsiteX5818" fmla="*/ 2192791 w 6666359"/>
              <a:gd name="connsiteY5818" fmla="*/ 1065210 h 4343113"/>
              <a:gd name="connsiteX5819" fmla="*/ 2183117 w 6666359"/>
              <a:gd name="connsiteY5819" fmla="*/ 1055536 h 4343113"/>
              <a:gd name="connsiteX5820" fmla="*/ 2170219 w 6666359"/>
              <a:gd name="connsiteY5820" fmla="*/ 1055536 h 4343113"/>
              <a:gd name="connsiteX5821" fmla="*/ 2179893 w 6666359"/>
              <a:gd name="connsiteY5821" fmla="*/ 1068435 h 4343113"/>
              <a:gd name="connsiteX5822" fmla="*/ 2192791 w 6666359"/>
              <a:gd name="connsiteY5822" fmla="*/ 1084558 h 4343113"/>
              <a:gd name="connsiteX5823" fmla="*/ 2199241 w 6666359"/>
              <a:gd name="connsiteY5823" fmla="*/ 1087784 h 4343113"/>
              <a:gd name="connsiteX5824" fmla="*/ 2199241 w 6666359"/>
              <a:gd name="connsiteY5824" fmla="*/ 1094232 h 4343113"/>
              <a:gd name="connsiteX5825" fmla="*/ 2205691 w 6666359"/>
              <a:gd name="connsiteY5825" fmla="*/ 1091008 h 4343113"/>
              <a:gd name="connsiteX5826" fmla="*/ 2212140 w 6666359"/>
              <a:gd name="connsiteY5826" fmla="*/ 1100682 h 4343113"/>
              <a:gd name="connsiteX5827" fmla="*/ 2225038 w 6666359"/>
              <a:gd name="connsiteY5827" fmla="*/ 1116805 h 4343113"/>
              <a:gd name="connsiteX5828" fmla="*/ 2228264 w 6666359"/>
              <a:gd name="connsiteY5828" fmla="*/ 1116805 h 4343113"/>
              <a:gd name="connsiteX5829" fmla="*/ 2234712 w 6666359"/>
              <a:gd name="connsiteY5829" fmla="*/ 1126479 h 4343113"/>
              <a:gd name="connsiteX5830" fmla="*/ 2237938 w 6666359"/>
              <a:gd name="connsiteY5830" fmla="*/ 1139378 h 4343113"/>
              <a:gd name="connsiteX5831" fmla="*/ 2234712 w 6666359"/>
              <a:gd name="connsiteY5831" fmla="*/ 1142603 h 4343113"/>
              <a:gd name="connsiteX5832" fmla="*/ 2208915 w 6666359"/>
              <a:gd name="connsiteY5832" fmla="*/ 1132929 h 4343113"/>
              <a:gd name="connsiteX5833" fmla="*/ 2179893 w 6666359"/>
              <a:gd name="connsiteY5833" fmla="*/ 1123255 h 4343113"/>
              <a:gd name="connsiteX5834" fmla="*/ 2170219 w 6666359"/>
              <a:gd name="connsiteY5834" fmla="*/ 1120030 h 4343113"/>
              <a:gd name="connsiteX5835" fmla="*/ 2160544 w 6666359"/>
              <a:gd name="connsiteY5835" fmla="*/ 1107131 h 4343113"/>
              <a:gd name="connsiteX5836" fmla="*/ 2157320 w 6666359"/>
              <a:gd name="connsiteY5836" fmla="*/ 1107131 h 4343113"/>
              <a:gd name="connsiteX5837" fmla="*/ 2157320 w 6666359"/>
              <a:gd name="connsiteY5837" fmla="*/ 1103906 h 4343113"/>
              <a:gd name="connsiteX5838" fmla="*/ 2150870 w 6666359"/>
              <a:gd name="connsiteY5838" fmla="*/ 1100682 h 4343113"/>
              <a:gd name="connsiteX5839" fmla="*/ 2141196 w 6666359"/>
              <a:gd name="connsiteY5839" fmla="*/ 1100682 h 4343113"/>
              <a:gd name="connsiteX5840" fmla="*/ 2128298 w 6666359"/>
              <a:gd name="connsiteY5840" fmla="*/ 1094232 h 4343113"/>
              <a:gd name="connsiteX5841" fmla="*/ 2118623 w 6666359"/>
              <a:gd name="connsiteY5841" fmla="*/ 1087784 h 4343113"/>
              <a:gd name="connsiteX5842" fmla="*/ 2108949 w 6666359"/>
              <a:gd name="connsiteY5842" fmla="*/ 1081334 h 4343113"/>
              <a:gd name="connsiteX5843" fmla="*/ 2099276 w 6666359"/>
              <a:gd name="connsiteY5843" fmla="*/ 1068435 h 4343113"/>
              <a:gd name="connsiteX5844" fmla="*/ 2112175 w 6666359"/>
              <a:gd name="connsiteY5844" fmla="*/ 1068435 h 4343113"/>
              <a:gd name="connsiteX5845" fmla="*/ 2105725 w 6666359"/>
              <a:gd name="connsiteY5845" fmla="*/ 1055536 h 4343113"/>
              <a:gd name="connsiteX5846" fmla="*/ 2102500 w 6666359"/>
              <a:gd name="connsiteY5846" fmla="*/ 1055536 h 4343113"/>
              <a:gd name="connsiteX5847" fmla="*/ 2089602 w 6666359"/>
              <a:gd name="connsiteY5847" fmla="*/ 1049087 h 4343113"/>
              <a:gd name="connsiteX5848" fmla="*/ 2089602 w 6666359"/>
              <a:gd name="connsiteY5848" fmla="*/ 1039413 h 4343113"/>
              <a:gd name="connsiteX5849" fmla="*/ 2086376 w 6666359"/>
              <a:gd name="connsiteY5849" fmla="*/ 1032963 h 4343113"/>
              <a:gd name="connsiteX5850" fmla="*/ 2079928 w 6666359"/>
              <a:gd name="connsiteY5850" fmla="*/ 1026514 h 4343113"/>
              <a:gd name="connsiteX5851" fmla="*/ 2073478 w 6666359"/>
              <a:gd name="connsiteY5851" fmla="*/ 1016840 h 4343113"/>
              <a:gd name="connsiteX5852" fmla="*/ 2067029 w 6666359"/>
              <a:gd name="connsiteY5852" fmla="*/ 1016840 h 4343113"/>
              <a:gd name="connsiteX5853" fmla="*/ 2060579 w 6666359"/>
              <a:gd name="connsiteY5853" fmla="*/ 1020064 h 4343113"/>
              <a:gd name="connsiteX5854" fmla="*/ 2047681 w 6666359"/>
              <a:gd name="connsiteY5854" fmla="*/ 1020064 h 4343113"/>
              <a:gd name="connsiteX5855" fmla="*/ 2041231 w 6666359"/>
              <a:gd name="connsiteY5855" fmla="*/ 1020064 h 4343113"/>
              <a:gd name="connsiteX5856" fmla="*/ 2038007 w 6666359"/>
              <a:gd name="connsiteY5856" fmla="*/ 1016840 h 4343113"/>
              <a:gd name="connsiteX5857" fmla="*/ 2021883 w 6666359"/>
              <a:gd name="connsiteY5857" fmla="*/ 1010390 h 4343113"/>
              <a:gd name="connsiteX5858" fmla="*/ 2012209 w 6666359"/>
              <a:gd name="connsiteY5858" fmla="*/ 1020064 h 4343113"/>
              <a:gd name="connsiteX5859" fmla="*/ 2005760 w 6666359"/>
              <a:gd name="connsiteY5859" fmla="*/ 1023289 h 4343113"/>
              <a:gd name="connsiteX5860" fmla="*/ 1999310 w 6666359"/>
              <a:gd name="connsiteY5860" fmla="*/ 1026514 h 4343113"/>
              <a:gd name="connsiteX5861" fmla="*/ 1973513 w 6666359"/>
              <a:gd name="connsiteY5861" fmla="*/ 1020064 h 4343113"/>
              <a:gd name="connsiteX5862" fmla="*/ 1970287 w 6666359"/>
              <a:gd name="connsiteY5862" fmla="*/ 1013615 h 4343113"/>
              <a:gd name="connsiteX5863" fmla="*/ 1967063 w 6666359"/>
              <a:gd name="connsiteY5863" fmla="*/ 1003940 h 4343113"/>
              <a:gd name="connsiteX5864" fmla="*/ 1970287 w 6666359"/>
              <a:gd name="connsiteY5864" fmla="*/ 991042 h 4343113"/>
              <a:gd name="connsiteX5865" fmla="*/ 1973513 w 6666359"/>
              <a:gd name="connsiteY5865" fmla="*/ 987817 h 4343113"/>
              <a:gd name="connsiteX5866" fmla="*/ 1983187 w 6666359"/>
              <a:gd name="connsiteY5866" fmla="*/ 981369 h 4343113"/>
              <a:gd name="connsiteX5867" fmla="*/ 1986411 w 6666359"/>
              <a:gd name="connsiteY5867" fmla="*/ 978143 h 4343113"/>
              <a:gd name="connsiteX5868" fmla="*/ 1986411 w 6666359"/>
              <a:gd name="connsiteY5868" fmla="*/ 968469 h 4343113"/>
              <a:gd name="connsiteX5869" fmla="*/ 2021883 w 6666359"/>
              <a:gd name="connsiteY5869" fmla="*/ 981369 h 4343113"/>
              <a:gd name="connsiteX5870" fmla="*/ 2025108 w 6666359"/>
              <a:gd name="connsiteY5870" fmla="*/ 974919 h 4343113"/>
              <a:gd name="connsiteX5871" fmla="*/ 2031557 w 6666359"/>
              <a:gd name="connsiteY5871" fmla="*/ 974919 h 4343113"/>
              <a:gd name="connsiteX5872" fmla="*/ 2044455 w 6666359"/>
              <a:gd name="connsiteY5872" fmla="*/ 968469 h 4343113"/>
              <a:gd name="connsiteX5873" fmla="*/ 2044455 w 6666359"/>
              <a:gd name="connsiteY5873" fmla="*/ 965245 h 4343113"/>
              <a:gd name="connsiteX5874" fmla="*/ 2050905 w 6666359"/>
              <a:gd name="connsiteY5874" fmla="*/ 968469 h 4343113"/>
              <a:gd name="connsiteX5875" fmla="*/ 2057355 w 6666359"/>
              <a:gd name="connsiteY5875" fmla="*/ 965245 h 4343113"/>
              <a:gd name="connsiteX5876" fmla="*/ 2070254 w 6666359"/>
              <a:gd name="connsiteY5876" fmla="*/ 962020 h 4343113"/>
              <a:gd name="connsiteX5877" fmla="*/ 2060579 w 6666359"/>
              <a:gd name="connsiteY5877" fmla="*/ 945896 h 4343113"/>
              <a:gd name="connsiteX5878" fmla="*/ 2050905 w 6666359"/>
              <a:gd name="connsiteY5878" fmla="*/ 929773 h 4343113"/>
              <a:gd name="connsiteX5879" fmla="*/ 2054130 w 6666359"/>
              <a:gd name="connsiteY5879" fmla="*/ 923324 h 4343113"/>
              <a:gd name="connsiteX5880" fmla="*/ 2063804 w 6666359"/>
              <a:gd name="connsiteY5880" fmla="*/ 913649 h 4343113"/>
              <a:gd name="connsiteX5881" fmla="*/ 2073478 w 6666359"/>
              <a:gd name="connsiteY5881" fmla="*/ 900751 h 4343113"/>
              <a:gd name="connsiteX5882" fmla="*/ 2079928 w 6666359"/>
              <a:gd name="connsiteY5882" fmla="*/ 894301 h 4343113"/>
              <a:gd name="connsiteX5883" fmla="*/ 2083152 w 6666359"/>
              <a:gd name="connsiteY5883" fmla="*/ 887852 h 4343113"/>
              <a:gd name="connsiteX5884" fmla="*/ 2089602 w 6666359"/>
              <a:gd name="connsiteY5884" fmla="*/ 878178 h 4343113"/>
              <a:gd name="connsiteX5885" fmla="*/ 2099276 w 6666359"/>
              <a:gd name="connsiteY5885" fmla="*/ 865279 h 4343113"/>
              <a:gd name="connsiteX5886" fmla="*/ 2096051 w 6666359"/>
              <a:gd name="connsiteY5886" fmla="*/ 858830 h 4343113"/>
              <a:gd name="connsiteX5887" fmla="*/ 2089602 w 6666359"/>
              <a:gd name="connsiteY5887" fmla="*/ 839481 h 4343113"/>
              <a:gd name="connsiteX5888" fmla="*/ 2083152 w 6666359"/>
              <a:gd name="connsiteY5888" fmla="*/ 829807 h 4343113"/>
              <a:gd name="connsiteX5889" fmla="*/ 2079928 w 6666359"/>
              <a:gd name="connsiteY5889" fmla="*/ 820133 h 4343113"/>
              <a:gd name="connsiteX5890" fmla="*/ 2076702 w 6666359"/>
              <a:gd name="connsiteY5890" fmla="*/ 800785 h 4343113"/>
              <a:gd name="connsiteX5891" fmla="*/ 2070254 w 6666359"/>
              <a:gd name="connsiteY5891" fmla="*/ 807235 h 4343113"/>
              <a:gd name="connsiteX5892" fmla="*/ 2063804 w 6666359"/>
              <a:gd name="connsiteY5892" fmla="*/ 800785 h 4343113"/>
              <a:gd name="connsiteX5893" fmla="*/ 2057355 w 6666359"/>
              <a:gd name="connsiteY5893" fmla="*/ 794336 h 4343113"/>
              <a:gd name="connsiteX5894" fmla="*/ 2047681 w 6666359"/>
              <a:gd name="connsiteY5894" fmla="*/ 784662 h 4343113"/>
              <a:gd name="connsiteX5895" fmla="*/ 2041231 w 6666359"/>
              <a:gd name="connsiteY5895" fmla="*/ 774988 h 4343113"/>
              <a:gd name="connsiteX5896" fmla="*/ 2034781 w 6666359"/>
              <a:gd name="connsiteY5896" fmla="*/ 771763 h 4343113"/>
              <a:gd name="connsiteX5897" fmla="*/ 2031557 w 6666359"/>
              <a:gd name="connsiteY5897" fmla="*/ 768538 h 4343113"/>
              <a:gd name="connsiteX5898" fmla="*/ 2031557 w 6666359"/>
              <a:gd name="connsiteY5898" fmla="*/ 765313 h 4343113"/>
              <a:gd name="connsiteX5899" fmla="*/ 2025108 w 6666359"/>
              <a:gd name="connsiteY5899" fmla="*/ 771763 h 4343113"/>
              <a:gd name="connsiteX5900" fmla="*/ 2012209 w 6666359"/>
              <a:gd name="connsiteY5900" fmla="*/ 778212 h 4343113"/>
              <a:gd name="connsiteX5901" fmla="*/ 2002534 w 6666359"/>
              <a:gd name="connsiteY5901" fmla="*/ 784662 h 4343113"/>
              <a:gd name="connsiteX5902" fmla="*/ 2002534 w 6666359"/>
              <a:gd name="connsiteY5902" fmla="*/ 781437 h 4343113"/>
              <a:gd name="connsiteX5903" fmla="*/ 2002534 w 6666359"/>
              <a:gd name="connsiteY5903" fmla="*/ 765313 h 4343113"/>
              <a:gd name="connsiteX5904" fmla="*/ 2012209 w 6666359"/>
              <a:gd name="connsiteY5904" fmla="*/ 762089 h 4343113"/>
              <a:gd name="connsiteX5905" fmla="*/ 2025108 w 6666359"/>
              <a:gd name="connsiteY5905" fmla="*/ 758864 h 4343113"/>
              <a:gd name="connsiteX5906" fmla="*/ 2025108 w 6666359"/>
              <a:gd name="connsiteY5906" fmla="*/ 752415 h 4343113"/>
              <a:gd name="connsiteX5907" fmla="*/ 2021883 w 6666359"/>
              <a:gd name="connsiteY5907" fmla="*/ 745965 h 4343113"/>
              <a:gd name="connsiteX5908" fmla="*/ 2008984 w 6666359"/>
              <a:gd name="connsiteY5908" fmla="*/ 736291 h 4343113"/>
              <a:gd name="connsiteX5909" fmla="*/ 1996086 w 6666359"/>
              <a:gd name="connsiteY5909" fmla="*/ 726618 h 4343113"/>
              <a:gd name="connsiteX5910" fmla="*/ 1989636 w 6666359"/>
              <a:gd name="connsiteY5910" fmla="*/ 723392 h 4343113"/>
              <a:gd name="connsiteX5911" fmla="*/ 1989636 w 6666359"/>
              <a:gd name="connsiteY5911" fmla="*/ 707269 h 4343113"/>
              <a:gd name="connsiteX5912" fmla="*/ 1979962 w 6666359"/>
              <a:gd name="connsiteY5912" fmla="*/ 716944 h 4343113"/>
              <a:gd name="connsiteX5913" fmla="*/ 1976737 w 6666359"/>
              <a:gd name="connsiteY5913" fmla="*/ 687921 h 4343113"/>
              <a:gd name="connsiteX5914" fmla="*/ 1954164 w 6666359"/>
              <a:gd name="connsiteY5914" fmla="*/ 687921 h 4343113"/>
              <a:gd name="connsiteX5915" fmla="*/ 1957389 w 6666359"/>
              <a:gd name="connsiteY5915" fmla="*/ 707269 h 4343113"/>
              <a:gd name="connsiteX5916" fmla="*/ 1941266 w 6666359"/>
              <a:gd name="connsiteY5916" fmla="*/ 710494 h 4343113"/>
              <a:gd name="connsiteX5917" fmla="*/ 1931592 w 6666359"/>
              <a:gd name="connsiteY5917" fmla="*/ 704044 h 4343113"/>
              <a:gd name="connsiteX5918" fmla="*/ 1918693 w 6666359"/>
              <a:gd name="connsiteY5918" fmla="*/ 700820 h 4343113"/>
              <a:gd name="connsiteX5919" fmla="*/ 1899345 w 6666359"/>
              <a:gd name="connsiteY5919" fmla="*/ 694370 h 4343113"/>
              <a:gd name="connsiteX5920" fmla="*/ 1889671 w 6666359"/>
              <a:gd name="connsiteY5920" fmla="*/ 694370 h 4343113"/>
              <a:gd name="connsiteX5921" fmla="*/ 1889671 w 6666359"/>
              <a:gd name="connsiteY5921" fmla="*/ 710494 h 4343113"/>
              <a:gd name="connsiteX5922" fmla="*/ 1886446 w 6666359"/>
              <a:gd name="connsiteY5922" fmla="*/ 713718 h 4343113"/>
              <a:gd name="connsiteX5923" fmla="*/ 1870322 w 6666359"/>
              <a:gd name="connsiteY5923" fmla="*/ 710494 h 4343113"/>
              <a:gd name="connsiteX5924" fmla="*/ 1834851 w 6666359"/>
              <a:gd name="connsiteY5924" fmla="*/ 704044 h 4343113"/>
              <a:gd name="connsiteX5925" fmla="*/ 1805829 w 6666359"/>
              <a:gd name="connsiteY5925" fmla="*/ 694370 h 4343113"/>
              <a:gd name="connsiteX5926" fmla="*/ 1812278 w 6666359"/>
              <a:gd name="connsiteY5926" fmla="*/ 704044 h 4343113"/>
              <a:gd name="connsiteX5927" fmla="*/ 1796155 w 6666359"/>
              <a:gd name="connsiteY5927" fmla="*/ 697595 h 4343113"/>
              <a:gd name="connsiteX5928" fmla="*/ 1786481 w 6666359"/>
              <a:gd name="connsiteY5928" fmla="*/ 691145 h 4343113"/>
              <a:gd name="connsiteX5929" fmla="*/ 1783256 w 6666359"/>
              <a:gd name="connsiteY5929" fmla="*/ 681471 h 4343113"/>
              <a:gd name="connsiteX5930" fmla="*/ 1786481 w 6666359"/>
              <a:gd name="connsiteY5930" fmla="*/ 675022 h 4343113"/>
              <a:gd name="connsiteX5931" fmla="*/ 1783256 w 6666359"/>
              <a:gd name="connsiteY5931" fmla="*/ 678247 h 4343113"/>
              <a:gd name="connsiteX5932" fmla="*/ 1783256 w 6666359"/>
              <a:gd name="connsiteY5932" fmla="*/ 681471 h 4343113"/>
              <a:gd name="connsiteX5933" fmla="*/ 1767132 w 6666359"/>
              <a:gd name="connsiteY5933" fmla="*/ 684697 h 4343113"/>
              <a:gd name="connsiteX5934" fmla="*/ 1754233 w 6666359"/>
              <a:gd name="connsiteY5934" fmla="*/ 687921 h 4343113"/>
              <a:gd name="connsiteX5935" fmla="*/ 1741335 w 6666359"/>
              <a:gd name="connsiteY5935" fmla="*/ 675022 h 4343113"/>
              <a:gd name="connsiteX5936" fmla="*/ 1728436 w 6666359"/>
              <a:gd name="connsiteY5936" fmla="*/ 662123 h 4343113"/>
              <a:gd name="connsiteX5937" fmla="*/ 1721986 w 6666359"/>
              <a:gd name="connsiteY5937" fmla="*/ 649224 h 4343113"/>
              <a:gd name="connsiteX5938" fmla="*/ 1721986 w 6666359"/>
              <a:gd name="connsiteY5938" fmla="*/ 636326 h 4343113"/>
              <a:gd name="connsiteX5939" fmla="*/ 1738110 w 6666359"/>
              <a:gd name="connsiteY5939" fmla="*/ 633101 h 4343113"/>
              <a:gd name="connsiteX5940" fmla="*/ 1763908 w 6666359"/>
              <a:gd name="connsiteY5940" fmla="*/ 639550 h 4343113"/>
              <a:gd name="connsiteX5941" fmla="*/ 1770357 w 6666359"/>
              <a:gd name="connsiteY5941" fmla="*/ 636326 h 4343113"/>
              <a:gd name="connsiteX5942" fmla="*/ 1757458 w 6666359"/>
              <a:gd name="connsiteY5942" fmla="*/ 623427 h 4343113"/>
              <a:gd name="connsiteX5943" fmla="*/ 1747785 w 6666359"/>
              <a:gd name="connsiteY5943" fmla="*/ 620203 h 4343113"/>
              <a:gd name="connsiteX5944" fmla="*/ 1725211 w 6666359"/>
              <a:gd name="connsiteY5944" fmla="*/ 616977 h 4343113"/>
              <a:gd name="connsiteX5945" fmla="*/ 1709088 w 6666359"/>
              <a:gd name="connsiteY5945" fmla="*/ 604079 h 4343113"/>
              <a:gd name="connsiteX5946" fmla="*/ 1709088 w 6666359"/>
              <a:gd name="connsiteY5946" fmla="*/ 571832 h 4343113"/>
              <a:gd name="connsiteX5947" fmla="*/ 1715538 w 6666359"/>
              <a:gd name="connsiteY5947" fmla="*/ 555708 h 4343113"/>
              <a:gd name="connsiteX5948" fmla="*/ 1712312 w 6666359"/>
              <a:gd name="connsiteY5948" fmla="*/ 536361 h 4343113"/>
              <a:gd name="connsiteX5949" fmla="*/ 1721986 w 6666359"/>
              <a:gd name="connsiteY5949" fmla="*/ 513787 h 4343113"/>
              <a:gd name="connsiteX5950" fmla="*/ 1721986 w 6666359"/>
              <a:gd name="connsiteY5950" fmla="*/ 497664 h 4343113"/>
              <a:gd name="connsiteX5951" fmla="*/ 1728436 w 6666359"/>
              <a:gd name="connsiteY5951" fmla="*/ 481540 h 4343113"/>
              <a:gd name="connsiteX5952" fmla="*/ 1751009 w 6666359"/>
              <a:gd name="connsiteY5952" fmla="*/ 446069 h 4343113"/>
              <a:gd name="connsiteX5953" fmla="*/ 6405856 w 6666359"/>
              <a:gd name="connsiteY5953" fmla="*/ 426720 h 4343113"/>
              <a:gd name="connsiteX5954" fmla="*/ 6418754 w 6666359"/>
              <a:gd name="connsiteY5954" fmla="*/ 433170 h 4343113"/>
              <a:gd name="connsiteX5955" fmla="*/ 6428428 w 6666359"/>
              <a:gd name="connsiteY5955" fmla="*/ 442844 h 4343113"/>
              <a:gd name="connsiteX5956" fmla="*/ 6441327 w 6666359"/>
              <a:gd name="connsiteY5956" fmla="*/ 446069 h 4343113"/>
              <a:gd name="connsiteX5957" fmla="*/ 6451001 w 6666359"/>
              <a:gd name="connsiteY5957" fmla="*/ 449293 h 4343113"/>
              <a:gd name="connsiteX5958" fmla="*/ 6447777 w 6666359"/>
              <a:gd name="connsiteY5958" fmla="*/ 491214 h 4343113"/>
              <a:gd name="connsiteX5959" fmla="*/ 6444551 w 6666359"/>
              <a:gd name="connsiteY5959" fmla="*/ 526686 h 4343113"/>
              <a:gd name="connsiteX5960" fmla="*/ 6447777 w 6666359"/>
              <a:gd name="connsiteY5960" fmla="*/ 533135 h 4343113"/>
              <a:gd name="connsiteX5961" fmla="*/ 6444551 w 6666359"/>
              <a:gd name="connsiteY5961" fmla="*/ 536361 h 4343113"/>
              <a:gd name="connsiteX5962" fmla="*/ 6438102 w 6666359"/>
              <a:gd name="connsiteY5962" fmla="*/ 536361 h 4343113"/>
              <a:gd name="connsiteX5963" fmla="*/ 6425204 w 6666359"/>
              <a:gd name="connsiteY5963" fmla="*/ 526686 h 4343113"/>
              <a:gd name="connsiteX5964" fmla="*/ 6421979 w 6666359"/>
              <a:gd name="connsiteY5964" fmla="*/ 520237 h 4343113"/>
              <a:gd name="connsiteX5965" fmla="*/ 6415530 w 6666359"/>
              <a:gd name="connsiteY5965" fmla="*/ 517012 h 4343113"/>
              <a:gd name="connsiteX5966" fmla="*/ 6389733 w 6666359"/>
              <a:gd name="connsiteY5966" fmla="*/ 500888 h 4343113"/>
              <a:gd name="connsiteX5967" fmla="*/ 6380059 w 6666359"/>
              <a:gd name="connsiteY5967" fmla="*/ 494440 h 4343113"/>
              <a:gd name="connsiteX5968" fmla="*/ 6386507 w 6666359"/>
              <a:gd name="connsiteY5968" fmla="*/ 475091 h 4343113"/>
              <a:gd name="connsiteX5969" fmla="*/ 6380059 w 6666359"/>
              <a:gd name="connsiteY5969" fmla="*/ 455743 h 4343113"/>
              <a:gd name="connsiteX5970" fmla="*/ 6386507 w 6666359"/>
              <a:gd name="connsiteY5970" fmla="*/ 433170 h 4343113"/>
              <a:gd name="connsiteX5971" fmla="*/ 6396181 w 6666359"/>
              <a:gd name="connsiteY5971" fmla="*/ 429946 h 4343113"/>
              <a:gd name="connsiteX5972" fmla="*/ 1489808 w 6666359"/>
              <a:gd name="connsiteY5972" fmla="*/ 420272 h 4343113"/>
              <a:gd name="connsiteX5973" fmla="*/ 1502707 w 6666359"/>
              <a:gd name="connsiteY5973" fmla="*/ 433170 h 4343113"/>
              <a:gd name="connsiteX5974" fmla="*/ 1509157 w 6666359"/>
              <a:gd name="connsiteY5974" fmla="*/ 439619 h 4343113"/>
              <a:gd name="connsiteX5975" fmla="*/ 1515607 w 6666359"/>
              <a:gd name="connsiteY5975" fmla="*/ 436395 h 4343113"/>
              <a:gd name="connsiteX5976" fmla="*/ 1528505 w 6666359"/>
              <a:gd name="connsiteY5976" fmla="*/ 429946 h 4343113"/>
              <a:gd name="connsiteX5977" fmla="*/ 1534955 w 6666359"/>
              <a:gd name="connsiteY5977" fmla="*/ 426720 h 4343113"/>
              <a:gd name="connsiteX5978" fmla="*/ 1538180 w 6666359"/>
              <a:gd name="connsiteY5978" fmla="*/ 423496 h 4343113"/>
              <a:gd name="connsiteX5979" fmla="*/ 1544628 w 6666359"/>
              <a:gd name="connsiteY5979" fmla="*/ 426720 h 4343113"/>
              <a:gd name="connsiteX5980" fmla="*/ 1551078 w 6666359"/>
              <a:gd name="connsiteY5980" fmla="*/ 429946 h 4343113"/>
              <a:gd name="connsiteX5981" fmla="*/ 1557528 w 6666359"/>
              <a:gd name="connsiteY5981" fmla="*/ 446069 h 4343113"/>
              <a:gd name="connsiteX5982" fmla="*/ 1551078 w 6666359"/>
              <a:gd name="connsiteY5982" fmla="*/ 465417 h 4343113"/>
              <a:gd name="connsiteX5983" fmla="*/ 1544628 w 6666359"/>
              <a:gd name="connsiteY5983" fmla="*/ 468641 h 4343113"/>
              <a:gd name="connsiteX5984" fmla="*/ 1534955 w 6666359"/>
              <a:gd name="connsiteY5984" fmla="*/ 475091 h 4343113"/>
              <a:gd name="connsiteX5985" fmla="*/ 1528505 w 6666359"/>
              <a:gd name="connsiteY5985" fmla="*/ 487990 h 4343113"/>
              <a:gd name="connsiteX5986" fmla="*/ 1522055 w 6666359"/>
              <a:gd name="connsiteY5986" fmla="*/ 494440 h 4343113"/>
              <a:gd name="connsiteX5987" fmla="*/ 1525281 w 6666359"/>
              <a:gd name="connsiteY5987" fmla="*/ 504114 h 4343113"/>
              <a:gd name="connsiteX5988" fmla="*/ 1525281 w 6666359"/>
              <a:gd name="connsiteY5988" fmla="*/ 497664 h 4343113"/>
              <a:gd name="connsiteX5989" fmla="*/ 1538180 w 6666359"/>
              <a:gd name="connsiteY5989" fmla="*/ 491214 h 4343113"/>
              <a:gd name="connsiteX5990" fmla="*/ 1547853 w 6666359"/>
              <a:gd name="connsiteY5990" fmla="*/ 494440 h 4343113"/>
              <a:gd name="connsiteX5991" fmla="*/ 1551078 w 6666359"/>
              <a:gd name="connsiteY5991" fmla="*/ 504114 h 4343113"/>
              <a:gd name="connsiteX5992" fmla="*/ 1554302 w 6666359"/>
              <a:gd name="connsiteY5992" fmla="*/ 523461 h 4343113"/>
              <a:gd name="connsiteX5993" fmla="*/ 1563977 w 6666359"/>
              <a:gd name="connsiteY5993" fmla="*/ 513787 h 4343113"/>
              <a:gd name="connsiteX5994" fmla="*/ 1570426 w 6666359"/>
              <a:gd name="connsiteY5994" fmla="*/ 529911 h 4343113"/>
              <a:gd name="connsiteX5995" fmla="*/ 1567202 w 6666359"/>
              <a:gd name="connsiteY5995" fmla="*/ 549259 h 4343113"/>
              <a:gd name="connsiteX5996" fmla="*/ 1567202 w 6666359"/>
              <a:gd name="connsiteY5996" fmla="*/ 558933 h 4343113"/>
              <a:gd name="connsiteX5997" fmla="*/ 1567202 w 6666359"/>
              <a:gd name="connsiteY5997" fmla="*/ 571832 h 4343113"/>
              <a:gd name="connsiteX5998" fmla="*/ 1563977 w 6666359"/>
              <a:gd name="connsiteY5998" fmla="*/ 581506 h 4343113"/>
              <a:gd name="connsiteX5999" fmla="*/ 1551078 w 6666359"/>
              <a:gd name="connsiteY5999" fmla="*/ 591180 h 4343113"/>
              <a:gd name="connsiteX6000" fmla="*/ 1541404 w 6666359"/>
              <a:gd name="connsiteY6000" fmla="*/ 594405 h 4343113"/>
              <a:gd name="connsiteX6001" fmla="*/ 1531729 w 6666359"/>
              <a:gd name="connsiteY6001" fmla="*/ 604079 h 4343113"/>
              <a:gd name="connsiteX6002" fmla="*/ 1518831 w 6666359"/>
              <a:gd name="connsiteY6002" fmla="*/ 616977 h 4343113"/>
              <a:gd name="connsiteX6003" fmla="*/ 1512381 w 6666359"/>
              <a:gd name="connsiteY6003" fmla="*/ 610529 h 4343113"/>
              <a:gd name="connsiteX6004" fmla="*/ 1509157 w 6666359"/>
              <a:gd name="connsiteY6004" fmla="*/ 610529 h 4343113"/>
              <a:gd name="connsiteX6005" fmla="*/ 1505932 w 6666359"/>
              <a:gd name="connsiteY6005" fmla="*/ 607303 h 4343113"/>
              <a:gd name="connsiteX6006" fmla="*/ 1493034 w 6666359"/>
              <a:gd name="connsiteY6006" fmla="*/ 581506 h 4343113"/>
              <a:gd name="connsiteX6007" fmla="*/ 1486584 w 6666359"/>
              <a:gd name="connsiteY6007" fmla="*/ 575056 h 4343113"/>
              <a:gd name="connsiteX6008" fmla="*/ 1483360 w 6666359"/>
              <a:gd name="connsiteY6008" fmla="*/ 568608 h 4343113"/>
              <a:gd name="connsiteX6009" fmla="*/ 1470460 w 6666359"/>
              <a:gd name="connsiteY6009" fmla="*/ 552484 h 4343113"/>
              <a:gd name="connsiteX6010" fmla="*/ 1467236 w 6666359"/>
              <a:gd name="connsiteY6010" fmla="*/ 552484 h 4343113"/>
              <a:gd name="connsiteX6011" fmla="*/ 1460787 w 6666359"/>
              <a:gd name="connsiteY6011" fmla="*/ 546034 h 4343113"/>
              <a:gd name="connsiteX6012" fmla="*/ 1444663 w 6666359"/>
              <a:gd name="connsiteY6012" fmla="*/ 536361 h 4343113"/>
              <a:gd name="connsiteX6013" fmla="*/ 1431764 w 6666359"/>
              <a:gd name="connsiteY6013" fmla="*/ 520237 h 4343113"/>
              <a:gd name="connsiteX6014" fmla="*/ 1428540 w 6666359"/>
              <a:gd name="connsiteY6014" fmla="*/ 510563 h 4343113"/>
              <a:gd name="connsiteX6015" fmla="*/ 1434989 w 6666359"/>
              <a:gd name="connsiteY6015" fmla="*/ 494440 h 4343113"/>
              <a:gd name="connsiteX6016" fmla="*/ 1451113 w 6666359"/>
              <a:gd name="connsiteY6016" fmla="*/ 494440 h 4343113"/>
              <a:gd name="connsiteX6017" fmla="*/ 1451113 w 6666359"/>
              <a:gd name="connsiteY6017" fmla="*/ 497664 h 4343113"/>
              <a:gd name="connsiteX6018" fmla="*/ 1470460 w 6666359"/>
              <a:gd name="connsiteY6018" fmla="*/ 517012 h 4343113"/>
              <a:gd name="connsiteX6019" fmla="*/ 1480134 w 6666359"/>
              <a:gd name="connsiteY6019" fmla="*/ 513787 h 4343113"/>
              <a:gd name="connsiteX6020" fmla="*/ 1483360 w 6666359"/>
              <a:gd name="connsiteY6020" fmla="*/ 507338 h 4343113"/>
              <a:gd name="connsiteX6021" fmla="*/ 1489808 w 6666359"/>
              <a:gd name="connsiteY6021" fmla="*/ 497664 h 4343113"/>
              <a:gd name="connsiteX6022" fmla="*/ 1483360 w 6666359"/>
              <a:gd name="connsiteY6022" fmla="*/ 484765 h 4343113"/>
              <a:gd name="connsiteX6023" fmla="*/ 1480134 w 6666359"/>
              <a:gd name="connsiteY6023" fmla="*/ 487990 h 4343113"/>
              <a:gd name="connsiteX6024" fmla="*/ 1473685 w 6666359"/>
              <a:gd name="connsiteY6024" fmla="*/ 475091 h 4343113"/>
              <a:gd name="connsiteX6025" fmla="*/ 1464011 w 6666359"/>
              <a:gd name="connsiteY6025" fmla="*/ 468641 h 4343113"/>
              <a:gd name="connsiteX6026" fmla="*/ 1454338 w 6666359"/>
              <a:gd name="connsiteY6026" fmla="*/ 455743 h 4343113"/>
              <a:gd name="connsiteX6027" fmla="*/ 1464011 w 6666359"/>
              <a:gd name="connsiteY6027" fmla="*/ 439619 h 4343113"/>
              <a:gd name="connsiteX6028" fmla="*/ 1476910 w 6666359"/>
              <a:gd name="connsiteY6028" fmla="*/ 426720 h 4343113"/>
              <a:gd name="connsiteX6029" fmla="*/ 1541404 w 6666359"/>
              <a:gd name="connsiteY6029" fmla="*/ 410597 h 4343113"/>
              <a:gd name="connsiteX6030" fmla="*/ 1522055 w 6666359"/>
              <a:gd name="connsiteY6030" fmla="*/ 429946 h 4343113"/>
              <a:gd name="connsiteX6031" fmla="*/ 1502707 w 6666359"/>
              <a:gd name="connsiteY6031" fmla="*/ 426720 h 4343113"/>
              <a:gd name="connsiteX6032" fmla="*/ 1512381 w 6666359"/>
              <a:gd name="connsiteY6032" fmla="*/ 417046 h 4343113"/>
              <a:gd name="connsiteX6033" fmla="*/ 1522055 w 6666359"/>
              <a:gd name="connsiteY6033" fmla="*/ 413822 h 4343113"/>
              <a:gd name="connsiteX6034" fmla="*/ 1638143 w 6666359"/>
              <a:gd name="connsiteY6034" fmla="*/ 404148 h 4343113"/>
              <a:gd name="connsiteX6035" fmla="*/ 1663942 w 6666359"/>
              <a:gd name="connsiteY6035" fmla="*/ 420272 h 4343113"/>
              <a:gd name="connsiteX6036" fmla="*/ 1683289 w 6666359"/>
              <a:gd name="connsiteY6036" fmla="*/ 417046 h 4343113"/>
              <a:gd name="connsiteX6037" fmla="*/ 1705863 w 6666359"/>
              <a:gd name="connsiteY6037" fmla="*/ 423496 h 4343113"/>
              <a:gd name="connsiteX6038" fmla="*/ 1692963 w 6666359"/>
              <a:gd name="connsiteY6038" fmla="*/ 452518 h 4343113"/>
              <a:gd name="connsiteX6039" fmla="*/ 1673616 w 6666359"/>
              <a:gd name="connsiteY6039" fmla="*/ 491214 h 4343113"/>
              <a:gd name="connsiteX6040" fmla="*/ 1651042 w 6666359"/>
              <a:gd name="connsiteY6040" fmla="*/ 513787 h 4343113"/>
              <a:gd name="connsiteX6041" fmla="*/ 1638143 w 6666359"/>
              <a:gd name="connsiteY6041" fmla="*/ 510563 h 4343113"/>
              <a:gd name="connsiteX6042" fmla="*/ 1634919 w 6666359"/>
              <a:gd name="connsiteY6042" fmla="*/ 510563 h 4343113"/>
              <a:gd name="connsiteX6043" fmla="*/ 1628469 w 6666359"/>
              <a:gd name="connsiteY6043" fmla="*/ 510563 h 4343113"/>
              <a:gd name="connsiteX6044" fmla="*/ 1618795 w 6666359"/>
              <a:gd name="connsiteY6044" fmla="*/ 510563 h 4343113"/>
              <a:gd name="connsiteX6045" fmla="*/ 1615571 w 6666359"/>
              <a:gd name="connsiteY6045" fmla="*/ 510563 h 4343113"/>
              <a:gd name="connsiteX6046" fmla="*/ 1615571 w 6666359"/>
              <a:gd name="connsiteY6046" fmla="*/ 517012 h 4343113"/>
              <a:gd name="connsiteX6047" fmla="*/ 1622020 w 6666359"/>
              <a:gd name="connsiteY6047" fmla="*/ 517012 h 4343113"/>
              <a:gd name="connsiteX6048" fmla="*/ 1628469 w 6666359"/>
              <a:gd name="connsiteY6048" fmla="*/ 523461 h 4343113"/>
              <a:gd name="connsiteX6049" fmla="*/ 1634919 w 6666359"/>
              <a:gd name="connsiteY6049" fmla="*/ 533135 h 4343113"/>
              <a:gd name="connsiteX6050" fmla="*/ 1628469 w 6666359"/>
              <a:gd name="connsiteY6050" fmla="*/ 546034 h 4343113"/>
              <a:gd name="connsiteX6051" fmla="*/ 1618795 w 6666359"/>
              <a:gd name="connsiteY6051" fmla="*/ 562158 h 4343113"/>
              <a:gd name="connsiteX6052" fmla="*/ 1612346 w 6666359"/>
              <a:gd name="connsiteY6052" fmla="*/ 565382 h 4343113"/>
              <a:gd name="connsiteX6053" fmla="*/ 1596222 w 6666359"/>
              <a:gd name="connsiteY6053" fmla="*/ 568608 h 4343113"/>
              <a:gd name="connsiteX6054" fmla="*/ 1596222 w 6666359"/>
              <a:gd name="connsiteY6054" fmla="*/ 546034 h 4343113"/>
              <a:gd name="connsiteX6055" fmla="*/ 1596222 w 6666359"/>
              <a:gd name="connsiteY6055" fmla="*/ 529911 h 4343113"/>
              <a:gd name="connsiteX6056" fmla="*/ 1589774 w 6666359"/>
              <a:gd name="connsiteY6056" fmla="*/ 517012 h 4343113"/>
              <a:gd name="connsiteX6057" fmla="*/ 1586548 w 6666359"/>
              <a:gd name="connsiteY6057" fmla="*/ 517012 h 4343113"/>
              <a:gd name="connsiteX6058" fmla="*/ 1583324 w 6666359"/>
              <a:gd name="connsiteY6058" fmla="*/ 475091 h 4343113"/>
              <a:gd name="connsiteX6059" fmla="*/ 1586548 w 6666359"/>
              <a:gd name="connsiteY6059" fmla="*/ 436395 h 4343113"/>
              <a:gd name="connsiteX6060" fmla="*/ 1592998 w 6666359"/>
              <a:gd name="connsiteY6060" fmla="*/ 426720 h 4343113"/>
              <a:gd name="connsiteX6061" fmla="*/ 1596222 w 6666359"/>
              <a:gd name="connsiteY6061" fmla="*/ 417046 h 4343113"/>
              <a:gd name="connsiteX6062" fmla="*/ 1612346 w 6666359"/>
              <a:gd name="connsiteY6062" fmla="*/ 407372 h 4343113"/>
              <a:gd name="connsiteX6063" fmla="*/ 3215022 w 6666359"/>
              <a:gd name="connsiteY6063" fmla="*/ 384799 h 4343113"/>
              <a:gd name="connsiteX6064" fmla="*/ 3221470 w 6666359"/>
              <a:gd name="connsiteY6064" fmla="*/ 384799 h 4343113"/>
              <a:gd name="connsiteX6065" fmla="*/ 3234369 w 6666359"/>
              <a:gd name="connsiteY6065" fmla="*/ 391248 h 4343113"/>
              <a:gd name="connsiteX6066" fmla="*/ 3237594 w 6666359"/>
              <a:gd name="connsiteY6066" fmla="*/ 404147 h 4343113"/>
              <a:gd name="connsiteX6067" fmla="*/ 3234369 w 6666359"/>
              <a:gd name="connsiteY6067" fmla="*/ 410597 h 4343113"/>
              <a:gd name="connsiteX6068" fmla="*/ 3221470 w 6666359"/>
              <a:gd name="connsiteY6068" fmla="*/ 413821 h 4343113"/>
              <a:gd name="connsiteX6069" fmla="*/ 3202122 w 6666359"/>
              <a:gd name="connsiteY6069" fmla="*/ 404147 h 4343113"/>
              <a:gd name="connsiteX6070" fmla="*/ 3205347 w 6666359"/>
              <a:gd name="connsiteY6070" fmla="*/ 391248 h 4343113"/>
              <a:gd name="connsiteX6071" fmla="*/ 1002881 w 6666359"/>
              <a:gd name="connsiteY6071" fmla="*/ 378350 h 4343113"/>
              <a:gd name="connsiteX6072" fmla="*/ 1028678 w 6666359"/>
              <a:gd name="connsiteY6072" fmla="*/ 378350 h 4343113"/>
              <a:gd name="connsiteX6073" fmla="*/ 1060925 w 6666359"/>
              <a:gd name="connsiteY6073" fmla="*/ 397699 h 4343113"/>
              <a:gd name="connsiteX6074" fmla="*/ 1086723 w 6666359"/>
              <a:gd name="connsiteY6074" fmla="*/ 394473 h 4343113"/>
              <a:gd name="connsiteX6075" fmla="*/ 1112520 w 6666359"/>
              <a:gd name="connsiteY6075" fmla="*/ 404148 h 4343113"/>
              <a:gd name="connsiteX6076" fmla="*/ 1141542 w 6666359"/>
              <a:gd name="connsiteY6076" fmla="*/ 436395 h 4343113"/>
              <a:gd name="connsiteX6077" fmla="*/ 1151216 w 6666359"/>
              <a:gd name="connsiteY6077" fmla="*/ 452518 h 4343113"/>
              <a:gd name="connsiteX6078" fmla="*/ 1144767 w 6666359"/>
              <a:gd name="connsiteY6078" fmla="*/ 465417 h 4343113"/>
              <a:gd name="connsiteX6079" fmla="*/ 1122194 w 6666359"/>
              <a:gd name="connsiteY6079" fmla="*/ 481540 h 4343113"/>
              <a:gd name="connsiteX6080" fmla="*/ 1086723 w 6666359"/>
              <a:gd name="connsiteY6080" fmla="*/ 507338 h 4343113"/>
              <a:gd name="connsiteX6081" fmla="*/ 1077048 w 6666359"/>
              <a:gd name="connsiteY6081" fmla="*/ 517012 h 4343113"/>
              <a:gd name="connsiteX6082" fmla="*/ 1070599 w 6666359"/>
              <a:gd name="connsiteY6082" fmla="*/ 520237 h 4343113"/>
              <a:gd name="connsiteX6083" fmla="*/ 1067374 w 6666359"/>
              <a:gd name="connsiteY6083" fmla="*/ 533135 h 4343113"/>
              <a:gd name="connsiteX6084" fmla="*/ 1067374 w 6666359"/>
              <a:gd name="connsiteY6084" fmla="*/ 542809 h 4343113"/>
              <a:gd name="connsiteX6085" fmla="*/ 1054475 w 6666359"/>
              <a:gd name="connsiteY6085" fmla="*/ 552484 h 4343113"/>
              <a:gd name="connsiteX6086" fmla="*/ 1044801 w 6666359"/>
              <a:gd name="connsiteY6086" fmla="*/ 568608 h 4343113"/>
              <a:gd name="connsiteX6087" fmla="*/ 1041576 w 6666359"/>
              <a:gd name="connsiteY6087" fmla="*/ 581506 h 4343113"/>
              <a:gd name="connsiteX6088" fmla="*/ 1041576 w 6666359"/>
              <a:gd name="connsiteY6088" fmla="*/ 597629 h 4343113"/>
              <a:gd name="connsiteX6089" fmla="*/ 1028678 w 6666359"/>
              <a:gd name="connsiteY6089" fmla="*/ 607303 h 4343113"/>
              <a:gd name="connsiteX6090" fmla="*/ 1015779 w 6666359"/>
              <a:gd name="connsiteY6090" fmla="*/ 610529 h 4343113"/>
              <a:gd name="connsiteX6091" fmla="*/ 1002881 w 6666359"/>
              <a:gd name="connsiteY6091" fmla="*/ 616977 h 4343113"/>
              <a:gd name="connsiteX6092" fmla="*/ 980308 w 6666359"/>
              <a:gd name="connsiteY6092" fmla="*/ 626652 h 4343113"/>
              <a:gd name="connsiteX6093" fmla="*/ 973858 w 6666359"/>
              <a:gd name="connsiteY6093" fmla="*/ 607303 h 4343113"/>
              <a:gd name="connsiteX6094" fmla="*/ 964184 w 6666359"/>
              <a:gd name="connsiteY6094" fmla="*/ 591180 h 4343113"/>
              <a:gd name="connsiteX6095" fmla="*/ 941611 w 6666359"/>
              <a:gd name="connsiteY6095" fmla="*/ 575056 h 4343113"/>
              <a:gd name="connsiteX6096" fmla="*/ 925487 w 6666359"/>
              <a:gd name="connsiteY6096" fmla="*/ 568608 h 4343113"/>
              <a:gd name="connsiteX6097" fmla="*/ 928711 w 6666359"/>
              <a:gd name="connsiteY6097" fmla="*/ 549259 h 4343113"/>
              <a:gd name="connsiteX6098" fmla="*/ 931937 w 6666359"/>
              <a:gd name="connsiteY6098" fmla="*/ 536361 h 4343113"/>
              <a:gd name="connsiteX6099" fmla="*/ 941611 w 6666359"/>
              <a:gd name="connsiteY6099" fmla="*/ 526687 h 4343113"/>
              <a:gd name="connsiteX6100" fmla="*/ 944836 w 6666359"/>
              <a:gd name="connsiteY6100" fmla="*/ 504114 h 4343113"/>
              <a:gd name="connsiteX6101" fmla="*/ 944836 w 6666359"/>
              <a:gd name="connsiteY6101" fmla="*/ 491214 h 4343113"/>
              <a:gd name="connsiteX6102" fmla="*/ 944836 w 6666359"/>
              <a:gd name="connsiteY6102" fmla="*/ 487990 h 4343113"/>
              <a:gd name="connsiteX6103" fmla="*/ 951285 w 6666359"/>
              <a:gd name="connsiteY6103" fmla="*/ 471866 h 4343113"/>
              <a:gd name="connsiteX6104" fmla="*/ 964184 w 6666359"/>
              <a:gd name="connsiteY6104" fmla="*/ 449293 h 4343113"/>
              <a:gd name="connsiteX6105" fmla="*/ 954510 w 6666359"/>
              <a:gd name="connsiteY6105" fmla="*/ 413822 h 4343113"/>
              <a:gd name="connsiteX6106" fmla="*/ 948061 w 6666359"/>
              <a:gd name="connsiteY6106" fmla="*/ 394473 h 4343113"/>
              <a:gd name="connsiteX6107" fmla="*/ 948061 w 6666359"/>
              <a:gd name="connsiteY6107" fmla="*/ 388025 h 4343113"/>
              <a:gd name="connsiteX6108" fmla="*/ 977082 w 6666359"/>
              <a:gd name="connsiteY6108" fmla="*/ 381575 h 4343113"/>
              <a:gd name="connsiteX6109" fmla="*/ 6138206 w 6666359"/>
              <a:gd name="connsiteY6109" fmla="*/ 371900 h 4343113"/>
              <a:gd name="connsiteX6110" fmla="*/ 6151105 w 6666359"/>
              <a:gd name="connsiteY6110" fmla="*/ 375124 h 4343113"/>
              <a:gd name="connsiteX6111" fmla="*/ 6164004 w 6666359"/>
              <a:gd name="connsiteY6111" fmla="*/ 378349 h 4343113"/>
              <a:gd name="connsiteX6112" fmla="*/ 6167229 w 6666359"/>
              <a:gd name="connsiteY6112" fmla="*/ 381574 h 4343113"/>
              <a:gd name="connsiteX6113" fmla="*/ 6164004 w 6666359"/>
              <a:gd name="connsiteY6113" fmla="*/ 391248 h 4343113"/>
              <a:gd name="connsiteX6114" fmla="*/ 6154329 w 6666359"/>
              <a:gd name="connsiteY6114" fmla="*/ 410596 h 4343113"/>
              <a:gd name="connsiteX6115" fmla="*/ 6128532 w 6666359"/>
              <a:gd name="connsiteY6115" fmla="*/ 397698 h 4343113"/>
              <a:gd name="connsiteX6116" fmla="*/ 6125307 w 6666359"/>
              <a:gd name="connsiteY6116" fmla="*/ 388024 h 4343113"/>
              <a:gd name="connsiteX6117" fmla="*/ 3247269 w 6666359"/>
              <a:gd name="connsiteY6117" fmla="*/ 333203 h 4343113"/>
              <a:gd name="connsiteX6118" fmla="*/ 3253717 w 6666359"/>
              <a:gd name="connsiteY6118" fmla="*/ 346103 h 4343113"/>
              <a:gd name="connsiteX6119" fmla="*/ 3250493 w 6666359"/>
              <a:gd name="connsiteY6119" fmla="*/ 352552 h 4343113"/>
              <a:gd name="connsiteX6120" fmla="*/ 3240819 w 6666359"/>
              <a:gd name="connsiteY6120" fmla="*/ 359002 h 4343113"/>
              <a:gd name="connsiteX6121" fmla="*/ 3234369 w 6666359"/>
              <a:gd name="connsiteY6121" fmla="*/ 352552 h 4343113"/>
              <a:gd name="connsiteX6122" fmla="*/ 3234369 w 6666359"/>
              <a:gd name="connsiteY6122" fmla="*/ 336429 h 4343113"/>
              <a:gd name="connsiteX6123" fmla="*/ 3289190 w 6666359"/>
              <a:gd name="connsiteY6123" fmla="*/ 300956 h 4343113"/>
              <a:gd name="connsiteX6124" fmla="*/ 3285964 w 6666359"/>
              <a:gd name="connsiteY6124" fmla="*/ 317080 h 4343113"/>
              <a:gd name="connsiteX6125" fmla="*/ 3292414 w 6666359"/>
              <a:gd name="connsiteY6125" fmla="*/ 326755 h 4343113"/>
              <a:gd name="connsiteX6126" fmla="*/ 3285964 w 6666359"/>
              <a:gd name="connsiteY6126" fmla="*/ 333203 h 4343113"/>
              <a:gd name="connsiteX6127" fmla="*/ 3276290 w 6666359"/>
              <a:gd name="connsiteY6127" fmla="*/ 336429 h 4343113"/>
              <a:gd name="connsiteX6128" fmla="*/ 3266616 w 6666359"/>
              <a:gd name="connsiteY6128" fmla="*/ 329979 h 4343113"/>
              <a:gd name="connsiteX6129" fmla="*/ 3276290 w 6666359"/>
              <a:gd name="connsiteY6129" fmla="*/ 304182 h 4343113"/>
              <a:gd name="connsiteX6130" fmla="*/ 1396292 w 6666359"/>
              <a:gd name="connsiteY6130" fmla="*/ 297733 h 4343113"/>
              <a:gd name="connsiteX6131" fmla="*/ 1412416 w 6666359"/>
              <a:gd name="connsiteY6131" fmla="*/ 320305 h 4343113"/>
              <a:gd name="connsiteX6132" fmla="*/ 1396292 w 6666359"/>
              <a:gd name="connsiteY6132" fmla="*/ 333204 h 4343113"/>
              <a:gd name="connsiteX6133" fmla="*/ 1383393 w 6666359"/>
              <a:gd name="connsiteY6133" fmla="*/ 323531 h 4343113"/>
              <a:gd name="connsiteX6134" fmla="*/ 5480369 w 6666359"/>
              <a:gd name="connsiteY6134" fmla="*/ 293862 h 4343113"/>
              <a:gd name="connsiteX6135" fmla="*/ 5480369 w 6666359"/>
              <a:gd name="connsiteY6135" fmla="*/ 313856 h 4343113"/>
              <a:gd name="connsiteX6136" fmla="*/ 5477144 w 6666359"/>
              <a:gd name="connsiteY6136" fmla="*/ 320304 h 4343113"/>
              <a:gd name="connsiteX6137" fmla="*/ 5467470 w 6666359"/>
              <a:gd name="connsiteY6137" fmla="*/ 304181 h 4343113"/>
              <a:gd name="connsiteX6138" fmla="*/ 5480369 w 6666359"/>
              <a:gd name="connsiteY6138" fmla="*/ 291282 h 4343113"/>
              <a:gd name="connsiteX6139" fmla="*/ 5483593 w 6666359"/>
              <a:gd name="connsiteY6139" fmla="*/ 291282 h 4343113"/>
              <a:gd name="connsiteX6140" fmla="*/ 5480369 w 6666359"/>
              <a:gd name="connsiteY6140" fmla="*/ 293862 h 4343113"/>
              <a:gd name="connsiteX6141" fmla="*/ 1599449 w 6666359"/>
              <a:gd name="connsiteY6141" fmla="*/ 281610 h 4343113"/>
              <a:gd name="connsiteX6142" fmla="*/ 1625246 w 6666359"/>
              <a:gd name="connsiteY6142" fmla="*/ 300957 h 4343113"/>
              <a:gd name="connsiteX6143" fmla="*/ 1628470 w 6666359"/>
              <a:gd name="connsiteY6143" fmla="*/ 307407 h 4343113"/>
              <a:gd name="connsiteX6144" fmla="*/ 1634920 w 6666359"/>
              <a:gd name="connsiteY6144" fmla="*/ 323531 h 4343113"/>
              <a:gd name="connsiteX6145" fmla="*/ 1631695 w 6666359"/>
              <a:gd name="connsiteY6145" fmla="*/ 362227 h 4343113"/>
              <a:gd name="connsiteX6146" fmla="*/ 1612347 w 6666359"/>
              <a:gd name="connsiteY6146" fmla="*/ 365451 h 4343113"/>
              <a:gd name="connsiteX6147" fmla="*/ 1599449 w 6666359"/>
              <a:gd name="connsiteY6147" fmla="*/ 359002 h 4343113"/>
              <a:gd name="connsiteX6148" fmla="*/ 1586549 w 6666359"/>
              <a:gd name="connsiteY6148" fmla="*/ 349328 h 4343113"/>
              <a:gd name="connsiteX6149" fmla="*/ 1570426 w 6666359"/>
              <a:gd name="connsiteY6149" fmla="*/ 342878 h 4343113"/>
              <a:gd name="connsiteX6150" fmla="*/ 1563977 w 6666359"/>
              <a:gd name="connsiteY6150" fmla="*/ 326755 h 4343113"/>
              <a:gd name="connsiteX6151" fmla="*/ 1576875 w 6666359"/>
              <a:gd name="connsiteY6151" fmla="*/ 310631 h 4343113"/>
              <a:gd name="connsiteX6152" fmla="*/ 1580100 w 6666359"/>
              <a:gd name="connsiteY6152" fmla="*/ 294508 h 4343113"/>
              <a:gd name="connsiteX6153" fmla="*/ 1586549 w 6666359"/>
              <a:gd name="connsiteY6153" fmla="*/ 288059 h 4343113"/>
              <a:gd name="connsiteX6154" fmla="*/ 1573651 w 6666359"/>
              <a:gd name="connsiteY6154" fmla="*/ 281610 h 4343113"/>
              <a:gd name="connsiteX6155" fmla="*/ 1576875 w 6666359"/>
              <a:gd name="connsiteY6155" fmla="*/ 288059 h 4343113"/>
              <a:gd name="connsiteX6156" fmla="*/ 1570426 w 6666359"/>
              <a:gd name="connsiteY6156" fmla="*/ 297733 h 4343113"/>
              <a:gd name="connsiteX6157" fmla="*/ 1554302 w 6666359"/>
              <a:gd name="connsiteY6157" fmla="*/ 291284 h 4343113"/>
              <a:gd name="connsiteX6158" fmla="*/ 6654157 w 6666359"/>
              <a:gd name="connsiteY6158" fmla="*/ 265486 h 4343113"/>
              <a:gd name="connsiteX6159" fmla="*/ 6660606 w 6666359"/>
              <a:gd name="connsiteY6159" fmla="*/ 268710 h 4343113"/>
              <a:gd name="connsiteX6160" fmla="*/ 6663831 w 6666359"/>
              <a:gd name="connsiteY6160" fmla="*/ 281610 h 4343113"/>
              <a:gd name="connsiteX6161" fmla="*/ 6650932 w 6666359"/>
              <a:gd name="connsiteY6161" fmla="*/ 304182 h 4343113"/>
              <a:gd name="connsiteX6162" fmla="*/ 1609123 w 6666359"/>
              <a:gd name="connsiteY6162" fmla="*/ 249363 h 4343113"/>
              <a:gd name="connsiteX6163" fmla="*/ 1615572 w 6666359"/>
              <a:gd name="connsiteY6163" fmla="*/ 265486 h 4343113"/>
              <a:gd name="connsiteX6164" fmla="*/ 1609123 w 6666359"/>
              <a:gd name="connsiteY6164" fmla="*/ 268710 h 4343113"/>
              <a:gd name="connsiteX6165" fmla="*/ 1602673 w 6666359"/>
              <a:gd name="connsiteY6165" fmla="*/ 262261 h 4343113"/>
              <a:gd name="connsiteX6166" fmla="*/ 1605897 w 6666359"/>
              <a:gd name="connsiteY6166" fmla="*/ 252587 h 4343113"/>
              <a:gd name="connsiteX6167" fmla="*/ 1428540 w 6666359"/>
              <a:gd name="connsiteY6167" fmla="*/ 249363 h 4343113"/>
              <a:gd name="connsiteX6168" fmla="*/ 1444663 w 6666359"/>
              <a:gd name="connsiteY6168" fmla="*/ 249363 h 4343113"/>
              <a:gd name="connsiteX6169" fmla="*/ 1428540 w 6666359"/>
              <a:gd name="connsiteY6169" fmla="*/ 265486 h 4343113"/>
              <a:gd name="connsiteX6170" fmla="*/ 1415640 w 6666359"/>
              <a:gd name="connsiteY6170" fmla="*/ 265486 h 4343113"/>
              <a:gd name="connsiteX6171" fmla="*/ 1954164 w 6666359"/>
              <a:gd name="connsiteY6171" fmla="*/ 236463 h 4343113"/>
              <a:gd name="connsiteX6172" fmla="*/ 1941266 w 6666359"/>
              <a:gd name="connsiteY6172" fmla="*/ 262261 h 4343113"/>
              <a:gd name="connsiteX6173" fmla="*/ 1934816 w 6666359"/>
              <a:gd name="connsiteY6173" fmla="*/ 259036 h 4343113"/>
              <a:gd name="connsiteX6174" fmla="*/ 1102846 w 6666359"/>
              <a:gd name="connsiteY6174" fmla="*/ 236463 h 4343113"/>
              <a:gd name="connsiteX6175" fmla="*/ 1106070 w 6666359"/>
              <a:gd name="connsiteY6175" fmla="*/ 239689 h 4343113"/>
              <a:gd name="connsiteX6176" fmla="*/ 1096396 w 6666359"/>
              <a:gd name="connsiteY6176" fmla="*/ 271936 h 4343113"/>
              <a:gd name="connsiteX6177" fmla="*/ 1086723 w 6666359"/>
              <a:gd name="connsiteY6177" fmla="*/ 288059 h 4343113"/>
              <a:gd name="connsiteX6178" fmla="*/ 1077048 w 6666359"/>
              <a:gd name="connsiteY6178" fmla="*/ 291284 h 4343113"/>
              <a:gd name="connsiteX6179" fmla="*/ 1064149 w 6666359"/>
              <a:gd name="connsiteY6179" fmla="*/ 284834 h 4343113"/>
              <a:gd name="connsiteX6180" fmla="*/ 1070599 w 6666359"/>
              <a:gd name="connsiteY6180" fmla="*/ 271936 h 4343113"/>
              <a:gd name="connsiteX6181" fmla="*/ 1083497 w 6666359"/>
              <a:gd name="connsiteY6181" fmla="*/ 255812 h 4343113"/>
              <a:gd name="connsiteX6182" fmla="*/ 1096396 w 6666359"/>
              <a:gd name="connsiteY6182" fmla="*/ 242913 h 4343113"/>
              <a:gd name="connsiteX6183" fmla="*/ 1418866 w 6666359"/>
              <a:gd name="connsiteY6183" fmla="*/ 233239 h 4343113"/>
              <a:gd name="connsiteX6184" fmla="*/ 1434989 w 6666359"/>
              <a:gd name="connsiteY6184" fmla="*/ 233239 h 4343113"/>
              <a:gd name="connsiteX6185" fmla="*/ 1431764 w 6666359"/>
              <a:gd name="connsiteY6185" fmla="*/ 239689 h 4343113"/>
              <a:gd name="connsiteX6186" fmla="*/ 1422090 w 6666359"/>
              <a:gd name="connsiteY6186" fmla="*/ 242913 h 4343113"/>
              <a:gd name="connsiteX6187" fmla="*/ 1409192 w 6666359"/>
              <a:gd name="connsiteY6187" fmla="*/ 249363 h 4343113"/>
              <a:gd name="connsiteX6188" fmla="*/ 1399518 w 6666359"/>
              <a:gd name="connsiteY6188" fmla="*/ 242913 h 4343113"/>
              <a:gd name="connsiteX6189" fmla="*/ 5786715 w 6666359"/>
              <a:gd name="connsiteY6189" fmla="*/ 213890 h 4343113"/>
              <a:gd name="connsiteX6190" fmla="*/ 5799613 w 6666359"/>
              <a:gd name="connsiteY6190" fmla="*/ 220339 h 4343113"/>
              <a:gd name="connsiteX6191" fmla="*/ 5783490 w 6666359"/>
              <a:gd name="connsiteY6191" fmla="*/ 230013 h 4343113"/>
              <a:gd name="connsiteX6192" fmla="*/ 5770591 w 6666359"/>
              <a:gd name="connsiteY6192" fmla="*/ 223564 h 4343113"/>
              <a:gd name="connsiteX6193" fmla="*/ 5773816 w 6666359"/>
              <a:gd name="connsiteY6193" fmla="*/ 217114 h 4343113"/>
              <a:gd name="connsiteX6194" fmla="*/ 1409192 w 6666359"/>
              <a:gd name="connsiteY6194" fmla="*/ 207442 h 4343113"/>
              <a:gd name="connsiteX6195" fmla="*/ 1428540 w 6666359"/>
              <a:gd name="connsiteY6195" fmla="*/ 207442 h 4343113"/>
              <a:gd name="connsiteX6196" fmla="*/ 1428540 w 6666359"/>
              <a:gd name="connsiteY6196" fmla="*/ 220340 h 4343113"/>
              <a:gd name="connsiteX6197" fmla="*/ 1425315 w 6666359"/>
              <a:gd name="connsiteY6197" fmla="*/ 226790 h 4343113"/>
              <a:gd name="connsiteX6198" fmla="*/ 1412416 w 6666359"/>
              <a:gd name="connsiteY6198" fmla="*/ 230015 h 4343113"/>
              <a:gd name="connsiteX6199" fmla="*/ 1399518 w 6666359"/>
              <a:gd name="connsiteY6199" fmla="*/ 230015 h 4343113"/>
              <a:gd name="connsiteX6200" fmla="*/ 1386619 w 6666359"/>
              <a:gd name="connsiteY6200" fmla="*/ 220340 h 4343113"/>
              <a:gd name="connsiteX6201" fmla="*/ 1396292 w 6666359"/>
              <a:gd name="connsiteY6201" fmla="*/ 210666 h 4343113"/>
              <a:gd name="connsiteX6202" fmla="*/ 1480134 w 6666359"/>
              <a:gd name="connsiteY6202" fmla="*/ 191318 h 4343113"/>
              <a:gd name="connsiteX6203" fmla="*/ 1493034 w 6666359"/>
              <a:gd name="connsiteY6203" fmla="*/ 191318 h 4343113"/>
              <a:gd name="connsiteX6204" fmla="*/ 1505932 w 6666359"/>
              <a:gd name="connsiteY6204" fmla="*/ 200992 h 4343113"/>
              <a:gd name="connsiteX6205" fmla="*/ 1509157 w 6666359"/>
              <a:gd name="connsiteY6205" fmla="*/ 210666 h 4343113"/>
              <a:gd name="connsiteX6206" fmla="*/ 1509157 w 6666359"/>
              <a:gd name="connsiteY6206" fmla="*/ 191318 h 4343113"/>
              <a:gd name="connsiteX6207" fmla="*/ 1538180 w 6666359"/>
              <a:gd name="connsiteY6207" fmla="*/ 197768 h 4343113"/>
              <a:gd name="connsiteX6208" fmla="*/ 1541404 w 6666359"/>
              <a:gd name="connsiteY6208" fmla="*/ 204216 h 4343113"/>
              <a:gd name="connsiteX6209" fmla="*/ 1544628 w 6666359"/>
              <a:gd name="connsiteY6209" fmla="*/ 233239 h 4343113"/>
              <a:gd name="connsiteX6210" fmla="*/ 1541404 w 6666359"/>
              <a:gd name="connsiteY6210" fmla="*/ 249363 h 4343113"/>
              <a:gd name="connsiteX6211" fmla="*/ 1538180 w 6666359"/>
              <a:gd name="connsiteY6211" fmla="*/ 268710 h 4343113"/>
              <a:gd name="connsiteX6212" fmla="*/ 1534955 w 6666359"/>
              <a:gd name="connsiteY6212" fmla="*/ 323531 h 4343113"/>
              <a:gd name="connsiteX6213" fmla="*/ 1531729 w 6666359"/>
              <a:gd name="connsiteY6213" fmla="*/ 333204 h 4343113"/>
              <a:gd name="connsiteX6214" fmla="*/ 1509157 w 6666359"/>
              <a:gd name="connsiteY6214" fmla="*/ 336429 h 4343113"/>
              <a:gd name="connsiteX6215" fmla="*/ 1486584 w 6666359"/>
              <a:gd name="connsiteY6215" fmla="*/ 336429 h 4343113"/>
              <a:gd name="connsiteX6216" fmla="*/ 1480134 w 6666359"/>
              <a:gd name="connsiteY6216" fmla="*/ 323531 h 4343113"/>
              <a:gd name="connsiteX6217" fmla="*/ 1476910 w 6666359"/>
              <a:gd name="connsiteY6217" fmla="*/ 310631 h 4343113"/>
              <a:gd name="connsiteX6218" fmla="*/ 1473685 w 6666359"/>
              <a:gd name="connsiteY6218" fmla="*/ 304182 h 4343113"/>
              <a:gd name="connsiteX6219" fmla="*/ 1476910 w 6666359"/>
              <a:gd name="connsiteY6219" fmla="*/ 297733 h 4343113"/>
              <a:gd name="connsiteX6220" fmla="*/ 1470460 w 6666359"/>
              <a:gd name="connsiteY6220" fmla="*/ 281610 h 4343113"/>
              <a:gd name="connsiteX6221" fmla="*/ 1464011 w 6666359"/>
              <a:gd name="connsiteY6221" fmla="*/ 284834 h 4343113"/>
              <a:gd name="connsiteX6222" fmla="*/ 1451113 w 6666359"/>
              <a:gd name="connsiteY6222" fmla="*/ 284834 h 4343113"/>
              <a:gd name="connsiteX6223" fmla="*/ 1434989 w 6666359"/>
              <a:gd name="connsiteY6223" fmla="*/ 291284 h 4343113"/>
              <a:gd name="connsiteX6224" fmla="*/ 1425315 w 6666359"/>
              <a:gd name="connsiteY6224" fmla="*/ 281610 h 4343113"/>
              <a:gd name="connsiteX6225" fmla="*/ 1441439 w 6666359"/>
              <a:gd name="connsiteY6225" fmla="*/ 259036 h 4343113"/>
              <a:gd name="connsiteX6226" fmla="*/ 1454338 w 6666359"/>
              <a:gd name="connsiteY6226" fmla="*/ 262261 h 4343113"/>
              <a:gd name="connsiteX6227" fmla="*/ 1451113 w 6666359"/>
              <a:gd name="connsiteY6227" fmla="*/ 233239 h 4343113"/>
              <a:gd name="connsiteX6228" fmla="*/ 1441439 w 6666359"/>
              <a:gd name="connsiteY6228" fmla="*/ 226790 h 4343113"/>
              <a:gd name="connsiteX6229" fmla="*/ 1447888 w 6666359"/>
              <a:gd name="connsiteY6229" fmla="*/ 207442 h 4343113"/>
              <a:gd name="connsiteX6230" fmla="*/ 1454338 w 6666359"/>
              <a:gd name="connsiteY6230" fmla="*/ 207442 h 4343113"/>
              <a:gd name="connsiteX6231" fmla="*/ 1460787 w 6666359"/>
              <a:gd name="connsiteY6231" fmla="*/ 207442 h 4343113"/>
              <a:gd name="connsiteX6232" fmla="*/ 1467236 w 6666359"/>
              <a:gd name="connsiteY6232" fmla="*/ 200992 h 4343113"/>
              <a:gd name="connsiteX6233" fmla="*/ 1473685 w 6666359"/>
              <a:gd name="connsiteY6233" fmla="*/ 197768 h 4343113"/>
              <a:gd name="connsiteX6234" fmla="*/ 3266616 w 6666359"/>
              <a:gd name="connsiteY6234" fmla="*/ 178419 h 4343113"/>
              <a:gd name="connsiteX6235" fmla="*/ 3273066 w 6666359"/>
              <a:gd name="connsiteY6235" fmla="*/ 188093 h 4343113"/>
              <a:gd name="connsiteX6236" fmla="*/ 3273066 w 6666359"/>
              <a:gd name="connsiteY6236" fmla="*/ 220340 h 4343113"/>
              <a:gd name="connsiteX6237" fmla="*/ 3276290 w 6666359"/>
              <a:gd name="connsiteY6237" fmla="*/ 249362 h 4343113"/>
              <a:gd name="connsiteX6238" fmla="*/ 3273066 w 6666359"/>
              <a:gd name="connsiteY6238" fmla="*/ 255811 h 4343113"/>
              <a:gd name="connsiteX6239" fmla="*/ 3266616 w 6666359"/>
              <a:gd name="connsiteY6239" fmla="*/ 223564 h 4343113"/>
              <a:gd name="connsiteX6240" fmla="*/ 3263392 w 6666359"/>
              <a:gd name="connsiteY6240" fmla="*/ 200991 h 4343113"/>
              <a:gd name="connsiteX6241" fmla="*/ 1483360 w 6666359"/>
              <a:gd name="connsiteY6241" fmla="*/ 178419 h 4343113"/>
              <a:gd name="connsiteX6242" fmla="*/ 1483360 w 6666359"/>
              <a:gd name="connsiteY6242" fmla="*/ 181644 h 4343113"/>
              <a:gd name="connsiteX6243" fmla="*/ 1451113 w 6666359"/>
              <a:gd name="connsiteY6243" fmla="*/ 194542 h 4343113"/>
              <a:gd name="connsiteX6244" fmla="*/ 1396292 w 6666359"/>
              <a:gd name="connsiteY6244" fmla="*/ 171969 h 4343113"/>
              <a:gd name="connsiteX6245" fmla="*/ 1418866 w 6666359"/>
              <a:gd name="connsiteY6245" fmla="*/ 188093 h 4343113"/>
              <a:gd name="connsiteX6246" fmla="*/ 1418866 w 6666359"/>
              <a:gd name="connsiteY6246" fmla="*/ 197768 h 4343113"/>
              <a:gd name="connsiteX6247" fmla="*/ 1409192 w 6666359"/>
              <a:gd name="connsiteY6247" fmla="*/ 204216 h 4343113"/>
              <a:gd name="connsiteX6248" fmla="*/ 1399518 w 6666359"/>
              <a:gd name="connsiteY6248" fmla="*/ 204216 h 4343113"/>
              <a:gd name="connsiteX6249" fmla="*/ 1389843 w 6666359"/>
              <a:gd name="connsiteY6249" fmla="*/ 200992 h 4343113"/>
              <a:gd name="connsiteX6250" fmla="*/ 1386619 w 6666359"/>
              <a:gd name="connsiteY6250" fmla="*/ 175195 h 4343113"/>
              <a:gd name="connsiteX6251" fmla="*/ 1289878 w 6666359"/>
              <a:gd name="connsiteY6251" fmla="*/ 171969 h 4343113"/>
              <a:gd name="connsiteX6252" fmla="*/ 1299551 w 6666359"/>
              <a:gd name="connsiteY6252" fmla="*/ 171969 h 4343113"/>
              <a:gd name="connsiteX6253" fmla="*/ 1302777 w 6666359"/>
              <a:gd name="connsiteY6253" fmla="*/ 188093 h 4343113"/>
              <a:gd name="connsiteX6254" fmla="*/ 1302777 w 6666359"/>
              <a:gd name="connsiteY6254" fmla="*/ 210666 h 4343113"/>
              <a:gd name="connsiteX6255" fmla="*/ 1312451 w 6666359"/>
              <a:gd name="connsiteY6255" fmla="*/ 230015 h 4343113"/>
              <a:gd name="connsiteX6256" fmla="*/ 1322125 w 6666359"/>
              <a:gd name="connsiteY6256" fmla="*/ 249363 h 4343113"/>
              <a:gd name="connsiteX6257" fmla="*/ 1338248 w 6666359"/>
              <a:gd name="connsiteY6257" fmla="*/ 252587 h 4343113"/>
              <a:gd name="connsiteX6258" fmla="*/ 1351147 w 6666359"/>
              <a:gd name="connsiteY6258" fmla="*/ 242913 h 4343113"/>
              <a:gd name="connsiteX6259" fmla="*/ 1370495 w 6666359"/>
              <a:gd name="connsiteY6259" fmla="*/ 268710 h 4343113"/>
              <a:gd name="connsiteX6260" fmla="*/ 1370495 w 6666359"/>
              <a:gd name="connsiteY6260" fmla="*/ 288059 h 4343113"/>
              <a:gd name="connsiteX6261" fmla="*/ 1364045 w 6666359"/>
              <a:gd name="connsiteY6261" fmla="*/ 307407 h 4343113"/>
              <a:gd name="connsiteX6262" fmla="*/ 1357596 w 6666359"/>
              <a:gd name="connsiteY6262" fmla="*/ 326755 h 4343113"/>
              <a:gd name="connsiteX6263" fmla="*/ 1351147 w 6666359"/>
              <a:gd name="connsiteY6263" fmla="*/ 333204 h 4343113"/>
              <a:gd name="connsiteX6264" fmla="*/ 1328574 w 6666359"/>
              <a:gd name="connsiteY6264" fmla="*/ 342878 h 4343113"/>
              <a:gd name="connsiteX6265" fmla="*/ 1322125 w 6666359"/>
              <a:gd name="connsiteY6265" fmla="*/ 336429 h 4343113"/>
              <a:gd name="connsiteX6266" fmla="*/ 1306001 w 6666359"/>
              <a:gd name="connsiteY6266" fmla="*/ 342878 h 4343113"/>
              <a:gd name="connsiteX6267" fmla="*/ 1299551 w 6666359"/>
              <a:gd name="connsiteY6267" fmla="*/ 329980 h 4343113"/>
              <a:gd name="connsiteX6268" fmla="*/ 1289878 w 6666359"/>
              <a:gd name="connsiteY6268" fmla="*/ 336429 h 4343113"/>
              <a:gd name="connsiteX6269" fmla="*/ 1280204 w 6666359"/>
              <a:gd name="connsiteY6269" fmla="*/ 346104 h 4343113"/>
              <a:gd name="connsiteX6270" fmla="*/ 1267304 w 6666359"/>
              <a:gd name="connsiteY6270" fmla="*/ 349328 h 4343113"/>
              <a:gd name="connsiteX6271" fmla="*/ 1260856 w 6666359"/>
              <a:gd name="connsiteY6271" fmla="*/ 352552 h 4343113"/>
              <a:gd name="connsiteX6272" fmla="*/ 1254406 w 6666359"/>
              <a:gd name="connsiteY6272" fmla="*/ 362227 h 4343113"/>
              <a:gd name="connsiteX6273" fmla="*/ 1238283 w 6666359"/>
              <a:gd name="connsiteY6273" fmla="*/ 371901 h 4343113"/>
              <a:gd name="connsiteX6274" fmla="*/ 1212485 w 6666359"/>
              <a:gd name="connsiteY6274" fmla="*/ 384799 h 4343113"/>
              <a:gd name="connsiteX6275" fmla="*/ 1186688 w 6666359"/>
              <a:gd name="connsiteY6275" fmla="*/ 378350 h 4343113"/>
              <a:gd name="connsiteX6276" fmla="*/ 1177014 w 6666359"/>
              <a:gd name="connsiteY6276" fmla="*/ 365451 h 4343113"/>
              <a:gd name="connsiteX6277" fmla="*/ 1170564 w 6666359"/>
              <a:gd name="connsiteY6277" fmla="*/ 346104 h 4343113"/>
              <a:gd name="connsiteX6278" fmla="*/ 1164115 w 6666359"/>
              <a:gd name="connsiteY6278" fmla="*/ 336429 h 4343113"/>
              <a:gd name="connsiteX6279" fmla="*/ 1154441 w 6666359"/>
              <a:gd name="connsiteY6279" fmla="*/ 336429 h 4343113"/>
              <a:gd name="connsiteX6280" fmla="*/ 1147991 w 6666359"/>
              <a:gd name="connsiteY6280" fmla="*/ 333204 h 4343113"/>
              <a:gd name="connsiteX6281" fmla="*/ 1144767 w 6666359"/>
              <a:gd name="connsiteY6281" fmla="*/ 336429 h 4343113"/>
              <a:gd name="connsiteX6282" fmla="*/ 1135093 w 6666359"/>
              <a:gd name="connsiteY6282" fmla="*/ 326755 h 4343113"/>
              <a:gd name="connsiteX6283" fmla="*/ 1125418 w 6666359"/>
              <a:gd name="connsiteY6283" fmla="*/ 323531 h 4343113"/>
              <a:gd name="connsiteX6284" fmla="*/ 1106070 w 6666359"/>
              <a:gd name="connsiteY6284" fmla="*/ 317081 h 4343113"/>
              <a:gd name="connsiteX6285" fmla="*/ 1106070 w 6666359"/>
              <a:gd name="connsiteY6285" fmla="*/ 304182 h 4343113"/>
              <a:gd name="connsiteX6286" fmla="*/ 1109296 w 6666359"/>
              <a:gd name="connsiteY6286" fmla="*/ 297733 h 4343113"/>
              <a:gd name="connsiteX6287" fmla="*/ 1112520 w 6666359"/>
              <a:gd name="connsiteY6287" fmla="*/ 284834 h 4343113"/>
              <a:gd name="connsiteX6288" fmla="*/ 1118970 w 6666359"/>
              <a:gd name="connsiteY6288" fmla="*/ 268710 h 4343113"/>
              <a:gd name="connsiteX6289" fmla="*/ 1122194 w 6666359"/>
              <a:gd name="connsiteY6289" fmla="*/ 259036 h 4343113"/>
              <a:gd name="connsiteX6290" fmla="*/ 1125418 w 6666359"/>
              <a:gd name="connsiteY6290" fmla="*/ 236463 h 4343113"/>
              <a:gd name="connsiteX6291" fmla="*/ 1131868 w 6666359"/>
              <a:gd name="connsiteY6291" fmla="*/ 230015 h 4343113"/>
              <a:gd name="connsiteX6292" fmla="*/ 1141542 w 6666359"/>
              <a:gd name="connsiteY6292" fmla="*/ 217116 h 4343113"/>
              <a:gd name="connsiteX6293" fmla="*/ 1151216 w 6666359"/>
              <a:gd name="connsiteY6293" fmla="*/ 204216 h 4343113"/>
              <a:gd name="connsiteX6294" fmla="*/ 1180238 w 6666359"/>
              <a:gd name="connsiteY6294" fmla="*/ 204216 h 4343113"/>
              <a:gd name="connsiteX6295" fmla="*/ 1180238 w 6666359"/>
              <a:gd name="connsiteY6295" fmla="*/ 210666 h 4343113"/>
              <a:gd name="connsiteX6296" fmla="*/ 1180238 w 6666359"/>
              <a:gd name="connsiteY6296" fmla="*/ 220340 h 4343113"/>
              <a:gd name="connsiteX6297" fmla="*/ 1183463 w 6666359"/>
              <a:gd name="connsiteY6297" fmla="*/ 230015 h 4343113"/>
              <a:gd name="connsiteX6298" fmla="*/ 1193136 w 6666359"/>
              <a:gd name="connsiteY6298" fmla="*/ 226790 h 4343113"/>
              <a:gd name="connsiteX6299" fmla="*/ 1218935 w 6666359"/>
              <a:gd name="connsiteY6299" fmla="*/ 236463 h 4343113"/>
              <a:gd name="connsiteX6300" fmla="*/ 1231833 w 6666359"/>
              <a:gd name="connsiteY6300" fmla="*/ 255812 h 4343113"/>
              <a:gd name="connsiteX6301" fmla="*/ 1238283 w 6666359"/>
              <a:gd name="connsiteY6301" fmla="*/ 275160 h 4343113"/>
              <a:gd name="connsiteX6302" fmla="*/ 1241507 w 6666359"/>
              <a:gd name="connsiteY6302" fmla="*/ 284834 h 4343113"/>
              <a:gd name="connsiteX6303" fmla="*/ 1251181 w 6666359"/>
              <a:gd name="connsiteY6303" fmla="*/ 288059 h 4343113"/>
              <a:gd name="connsiteX6304" fmla="*/ 1257631 w 6666359"/>
              <a:gd name="connsiteY6304" fmla="*/ 284834 h 4343113"/>
              <a:gd name="connsiteX6305" fmla="*/ 1260856 w 6666359"/>
              <a:gd name="connsiteY6305" fmla="*/ 288059 h 4343113"/>
              <a:gd name="connsiteX6306" fmla="*/ 1286653 w 6666359"/>
              <a:gd name="connsiteY6306" fmla="*/ 291284 h 4343113"/>
              <a:gd name="connsiteX6307" fmla="*/ 1296327 w 6666359"/>
              <a:gd name="connsiteY6307" fmla="*/ 291284 h 4343113"/>
              <a:gd name="connsiteX6308" fmla="*/ 1296327 w 6666359"/>
              <a:gd name="connsiteY6308" fmla="*/ 275160 h 4343113"/>
              <a:gd name="connsiteX6309" fmla="*/ 1289878 w 6666359"/>
              <a:gd name="connsiteY6309" fmla="*/ 268710 h 4343113"/>
              <a:gd name="connsiteX6310" fmla="*/ 1270530 w 6666359"/>
              <a:gd name="connsiteY6310" fmla="*/ 255812 h 4343113"/>
              <a:gd name="connsiteX6311" fmla="*/ 1276979 w 6666359"/>
              <a:gd name="connsiteY6311" fmla="*/ 252587 h 4343113"/>
              <a:gd name="connsiteX6312" fmla="*/ 1286653 w 6666359"/>
              <a:gd name="connsiteY6312" fmla="*/ 239689 h 4343113"/>
              <a:gd name="connsiteX6313" fmla="*/ 1273754 w 6666359"/>
              <a:gd name="connsiteY6313" fmla="*/ 226790 h 4343113"/>
              <a:gd name="connsiteX6314" fmla="*/ 1273754 w 6666359"/>
              <a:gd name="connsiteY6314" fmla="*/ 200992 h 4343113"/>
              <a:gd name="connsiteX6315" fmla="*/ 1280204 w 6666359"/>
              <a:gd name="connsiteY6315" fmla="*/ 184868 h 4343113"/>
              <a:gd name="connsiteX6316" fmla="*/ 1709088 w 6666359"/>
              <a:gd name="connsiteY6316" fmla="*/ 168745 h 4343113"/>
              <a:gd name="connsiteX6317" fmla="*/ 1715538 w 6666359"/>
              <a:gd name="connsiteY6317" fmla="*/ 178419 h 4343113"/>
              <a:gd name="connsiteX6318" fmla="*/ 1715538 w 6666359"/>
              <a:gd name="connsiteY6318" fmla="*/ 200992 h 4343113"/>
              <a:gd name="connsiteX6319" fmla="*/ 1705864 w 6666359"/>
              <a:gd name="connsiteY6319" fmla="*/ 197768 h 4343113"/>
              <a:gd name="connsiteX6320" fmla="*/ 1699414 w 6666359"/>
              <a:gd name="connsiteY6320" fmla="*/ 184868 h 4343113"/>
              <a:gd name="connsiteX6321" fmla="*/ 1696189 w 6666359"/>
              <a:gd name="connsiteY6321" fmla="*/ 175195 h 4343113"/>
              <a:gd name="connsiteX6322" fmla="*/ 1702638 w 6666359"/>
              <a:gd name="connsiteY6322" fmla="*/ 171969 h 4343113"/>
              <a:gd name="connsiteX6323" fmla="*/ 1180238 w 6666359"/>
              <a:gd name="connsiteY6323" fmla="*/ 165521 h 4343113"/>
              <a:gd name="connsiteX6324" fmla="*/ 1196362 w 6666359"/>
              <a:gd name="connsiteY6324" fmla="*/ 175195 h 4343113"/>
              <a:gd name="connsiteX6325" fmla="*/ 1180238 w 6666359"/>
              <a:gd name="connsiteY6325" fmla="*/ 181644 h 4343113"/>
              <a:gd name="connsiteX6326" fmla="*/ 1164115 w 6666359"/>
              <a:gd name="connsiteY6326" fmla="*/ 178419 h 4343113"/>
              <a:gd name="connsiteX6327" fmla="*/ 5164350 w 6666359"/>
              <a:gd name="connsiteY6327" fmla="*/ 152620 h 4343113"/>
              <a:gd name="connsiteX6328" fmla="*/ 5180473 w 6666359"/>
              <a:gd name="connsiteY6328" fmla="*/ 155846 h 4343113"/>
              <a:gd name="connsiteX6329" fmla="*/ 5193371 w 6666359"/>
              <a:gd name="connsiteY6329" fmla="*/ 175194 h 4343113"/>
              <a:gd name="connsiteX6330" fmla="*/ 5190147 w 6666359"/>
              <a:gd name="connsiteY6330" fmla="*/ 200991 h 4343113"/>
              <a:gd name="connsiteX6331" fmla="*/ 5183697 w 6666359"/>
              <a:gd name="connsiteY6331" fmla="*/ 207441 h 4343113"/>
              <a:gd name="connsiteX6332" fmla="*/ 5170798 w 6666359"/>
              <a:gd name="connsiteY6332" fmla="*/ 226788 h 4343113"/>
              <a:gd name="connsiteX6333" fmla="*/ 5141776 w 6666359"/>
              <a:gd name="connsiteY6333" fmla="*/ 242912 h 4343113"/>
              <a:gd name="connsiteX6334" fmla="*/ 5122429 w 6666359"/>
              <a:gd name="connsiteY6334" fmla="*/ 255811 h 4343113"/>
              <a:gd name="connsiteX6335" fmla="*/ 5064384 w 6666359"/>
              <a:gd name="connsiteY6335" fmla="*/ 284834 h 4343113"/>
              <a:gd name="connsiteX6336" fmla="*/ 5009564 w 6666359"/>
              <a:gd name="connsiteY6336" fmla="*/ 339653 h 4343113"/>
              <a:gd name="connsiteX6337" fmla="*/ 5012788 w 6666359"/>
              <a:gd name="connsiteY6337" fmla="*/ 342878 h 4343113"/>
              <a:gd name="connsiteX6338" fmla="*/ 4980541 w 6666359"/>
              <a:gd name="connsiteY6338" fmla="*/ 378350 h 4343113"/>
              <a:gd name="connsiteX6339" fmla="*/ 4967643 w 6666359"/>
              <a:gd name="connsiteY6339" fmla="*/ 391248 h 4343113"/>
              <a:gd name="connsiteX6340" fmla="*/ 4957969 w 6666359"/>
              <a:gd name="connsiteY6340" fmla="*/ 417046 h 4343113"/>
              <a:gd name="connsiteX6341" fmla="*/ 4935396 w 6666359"/>
              <a:gd name="connsiteY6341" fmla="*/ 462192 h 4343113"/>
              <a:gd name="connsiteX6342" fmla="*/ 4922497 w 6666359"/>
              <a:gd name="connsiteY6342" fmla="*/ 475091 h 4343113"/>
              <a:gd name="connsiteX6343" fmla="*/ 4890250 w 6666359"/>
              <a:gd name="connsiteY6343" fmla="*/ 455742 h 4343113"/>
              <a:gd name="connsiteX6344" fmla="*/ 4870902 w 6666359"/>
              <a:gd name="connsiteY6344" fmla="*/ 462192 h 4343113"/>
              <a:gd name="connsiteX6345" fmla="*/ 4861228 w 6666359"/>
              <a:gd name="connsiteY6345" fmla="*/ 455742 h 4343113"/>
              <a:gd name="connsiteX6346" fmla="*/ 4858004 w 6666359"/>
              <a:gd name="connsiteY6346" fmla="*/ 436394 h 4343113"/>
              <a:gd name="connsiteX6347" fmla="*/ 4858004 w 6666359"/>
              <a:gd name="connsiteY6347" fmla="*/ 429944 h 4343113"/>
              <a:gd name="connsiteX6348" fmla="*/ 4874127 w 6666359"/>
              <a:gd name="connsiteY6348" fmla="*/ 420271 h 4343113"/>
              <a:gd name="connsiteX6349" fmla="*/ 4890250 w 6666359"/>
              <a:gd name="connsiteY6349" fmla="*/ 407371 h 4343113"/>
              <a:gd name="connsiteX6350" fmla="*/ 4903149 w 6666359"/>
              <a:gd name="connsiteY6350" fmla="*/ 410597 h 4343113"/>
              <a:gd name="connsiteX6351" fmla="*/ 4906373 w 6666359"/>
              <a:gd name="connsiteY6351" fmla="*/ 400923 h 4343113"/>
              <a:gd name="connsiteX6352" fmla="*/ 4906373 w 6666359"/>
              <a:gd name="connsiteY6352" fmla="*/ 375124 h 4343113"/>
              <a:gd name="connsiteX6353" fmla="*/ 4899925 w 6666359"/>
              <a:gd name="connsiteY6353" fmla="*/ 371900 h 4343113"/>
              <a:gd name="connsiteX6354" fmla="*/ 4899925 w 6666359"/>
              <a:gd name="connsiteY6354" fmla="*/ 362226 h 4343113"/>
              <a:gd name="connsiteX6355" fmla="*/ 4906373 w 6666359"/>
              <a:gd name="connsiteY6355" fmla="*/ 349327 h 4343113"/>
              <a:gd name="connsiteX6356" fmla="*/ 4903149 w 6666359"/>
              <a:gd name="connsiteY6356" fmla="*/ 333203 h 4343113"/>
              <a:gd name="connsiteX6357" fmla="*/ 4909599 w 6666359"/>
              <a:gd name="connsiteY6357" fmla="*/ 317080 h 4343113"/>
              <a:gd name="connsiteX6358" fmla="*/ 4916048 w 6666359"/>
              <a:gd name="connsiteY6358" fmla="*/ 320305 h 4343113"/>
              <a:gd name="connsiteX6359" fmla="*/ 4919272 w 6666359"/>
              <a:gd name="connsiteY6359" fmla="*/ 313856 h 4343113"/>
              <a:gd name="connsiteX6360" fmla="*/ 4951519 w 6666359"/>
              <a:gd name="connsiteY6360" fmla="*/ 284834 h 4343113"/>
              <a:gd name="connsiteX6361" fmla="*/ 4957969 w 6666359"/>
              <a:gd name="connsiteY6361" fmla="*/ 275159 h 4343113"/>
              <a:gd name="connsiteX6362" fmla="*/ 4964418 w 6666359"/>
              <a:gd name="connsiteY6362" fmla="*/ 268710 h 4343113"/>
              <a:gd name="connsiteX6363" fmla="*/ 4977317 w 6666359"/>
              <a:gd name="connsiteY6363" fmla="*/ 259035 h 4343113"/>
              <a:gd name="connsiteX6364" fmla="*/ 4990216 w 6666359"/>
              <a:gd name="connsiteY6364" fmla="*/ 252587 h 4343113"/>
              <a:gd name="connsiteX6365" fmla="*/ 5032137 w 6666359"/>
              <a:gd name="connsiteY6365" fmla="*/ 220340 h 4343113"/>
              <a:gd name="connsiteX6366" fmla="*/ 5048261 w 6666359"/>
              <a:gd name="connsiteY6366" fmla="*/ 226788 h 4343113"/>
              <a:gd name="connsiteX6367" fmla="*/ 5086956 w 6666359"/>
              <a:gd name="connsiteY6367" fmla="*/ 213890 h 4343113"/>
              <a:gd name="connsiteX6368" fmla="*/ 5115979 w 6666359"/>
              <a:gd name="connsiteY6368" fmla="*/ 194542 h 4343113"/>
              <a:gd name="connsiteX6369" fmla="*/ 5125653 w 6666359"/>
              <a:gd name="connsiteY6369" fmla="*/ 178419 h 4343113"/>
              <a:gd name="connsiteX6370" fmla="*/ 5138551 w 6666359"/>
              <a:gd name="connsiteY6370" fmla="*/ 165520 h 4343113"/>
              <a:gd name="connsiteX6371" fmla="*/ 1576875 w 6666359"/>
              <a:gd name="connsiteY6371" fmla="*/ 149397 h 4343113"/>
              <a:gd name="connsiteX6372" fmla="*/ 1602673 w 6666359"/>
              <a:gd name="connsiteY6372" fmla="*/ 155847 h 4343113"/>
              <a:gd name="connsiteX6373" fmla="*/ 1622021 w 6666359"/>
              <a:gd name="connsiteY6373" fmla="*/ 162295 h 4343113"/>
              <a:gd name="connsiteX6374" fmla="*/ 1631695 w 6666359"/>
              <a:gd name="connsiteY6374" fmla="*/ 165521 h 4343113"/>
              <a:gd name="connsiteX6375" fmla="*/ 1638144 w 6666359"/>
              <a:gd name="connsiteY6375" fmla="*/ 184868 h 4343113"/>
              <a:gd name="connsiteX6376" fmla="*/ 1654268 w 6666359"/>
              <a:gd name="connsiteY6376" fmla="*/ 188093 h 4343113"/>
              <a:gd name="connsiteX6377" fmla="*/ 1670391 w 6666359"/>
              <a:gd name="connsiteY6377" fmla="*/ 184868 h 4343113"/>
              <a:gd name="connsiteX6378" fmla="*/ 1686515 w 6666359"/>
              <a:gd name="connsiteY6378" fmla="*/ 188093 h 4343113"/>
              <a:gd name="connsiteX6379" fmla="*/ 1699414 w 6666359"/>
              <a:gd name="connsiteY6379" fmla="*/ 204216 h 4343113"/>
              <a:gd name="connsiteX6380" fmla="*/ 1686515 w 6666359"/>
              <a:gd name="connsiteY6380" fmla="*/ 204216 h 4343113"/>
              <a:gd name="connsiteX6381" fmla="*/ 1702638 w 6666359"/>
              <a:gd name="connsiteY6381" fmla="*/ 210666 h 4343113"/>
              <a:gd name="connsiteX6382" fmla="*/ 1712312 w 6666359"/>
              <a:gd name="connsiteY6382" fmla="*/ 217116 h 4343113"/>
              <a:gd name="connsiteX6383" fmla="*/ 1725211 w 6666359"/>
              <a:gd name="connsiteY6383" fmla="*/ 223565 h 4343113"/>
              <a:gd name="connsiteX6384" fmla="*/ 1728436 w 6666359"/>
              <a:gd name="connsiteY6384" fmla="*/ 265486 h 4343113"/>
              <a:gd name="connsiteX6385" fmla="*/ 1718762 w 6666359"/>
              <a:gd name="connsiteY6385" fmla="*/ 281610 h 4343113"/>
              <a:gd name="connsiteX6386" fmla="*/ 1725211 w 6666359"/>
              <a:gd name="connsiteY6386" fmla="*/ 291284 h 4343113"/>
              <a:gd name="connsiteX6387" fmla="*/ 1731661 w 6666359"/>
              <a:gd name="connsiteY6387" fmla="*/ 297733 h 4343113"/>
              <a:gd name="connsiteX6388" fmla="*/ 1738110 w 6666359"/>
              <a:gd name="connsiteY6388" fmla="*/ 294508 h 4343113"/>
              <a:gd name="connsiteX6389" fmla="*/ 1741335 w 6666359"/>
              <a:gd name="connsiteY6389" fmla="*/ 278384 h 4343113"/>
              <a:gd name="connsiteX6390" fmla="*/ 1757458 w 6666359"/>
              <a:gd name="connsiteY6390" fmla="*/ 284834 h 4343113"/>
              <a:gd name="connsiteX6391" fmla="*/ 1770357 w 6666359"/>
              <a:gd name="connsiteY6391" fmla="*/ 281610 h 4343113"/>
              <a:gd name="connsiteX6392" fmla="*/ 1802604 w 6666359"/>
              <a:gd name="connsiteY6392" fmla="*/ 284834 h 4343113"/>
              <a:gd name="connsiteX6393" fmla="*/ 1812278 w 6666359"/>
              <a:gd name="connsiteY6393" fmla="*/ 284834 h 4343113"/>
              <a:gd name="connsiteX6394" fmla="*/ 1828401 w 6666359"/>
              <a:gd name="connsiteY6394" fmla="*/ 281610 h 4343113"/>
              <a:gd name="connsiteX6395" fmla="*/ 1841300 w 6666359"/>
              <a:gd name="connsiteY6395" fmla="*/ 268710 h 4343113"/>
              <a:gd name="connsiteX6396" fmla="*/ 1844525 w 6666359"/>
              <a:gd name="connsiteY6396" fmla="*/ 268710 h 4343113"/>
              <a:gd name="connsiteX6397" fmla="*/ 1854199 w 6666359"/>
              <a:gd name="connsiteY6397" fmla="*/ 271936 h 4343113"/>
              <a:gd name="connsiteX6398" fmla="*/ 1879997 w 6666359"/>
              <a:gd name="connsiteY6398" fmla="*/ 262261 h 4343113"/>
              <a:gd name="connsiteX6399" fmla="*/ 1934816 w 6666359"/>
              <a:gd name="connsiteY6399" fmla="*/ 291284 h 4343113"/>
              <a:gd name="connsiteX6400" fmla="*/ 1941266 w 6666359"/>
              <a:gd name="connsiteY6400" fmla="*/ 317081 h 4343113"/>
              <a:gd name="connsiteX6401" fmla="*/ 1941266 w 6666359"/>
              <a:gd name="connsiteY6401" fmla="*/ 342878 h 4343113"/>
              <a:gd name="connsiteX6402" fmla="*/ 1938041 w 6666359"/>
              <a:gd name="connsiteY6402" fmla="*/ 346104 h 4343113"/>
              <a:gd name="connsiteX6403" fmla="*/ 1931592 w 6666359"/>
              <a:gd name="connsiteY6403" fmla="*/ 349328 h 4343113"/>
              <a:gd name="connsiteX6404" fmla="*/ 1925142 w 6666359"/>
              <a:gd name="connsiteY6404" fmla="*/ 365451 h 4343113"/>
              <a:gd name="connsiteX6405" fmla="*/ 1915468 w 6666359"/>
              <a:gd name="connsiteY6405" fmla="*/ 371901 h 4343113"/>
              <a:gd name="connsiteX6406" fmla="*/ 1883221 w 6666359"/>
              <a:gd name="connsiteY6406" fmla="*/ 378350 h 4343113"/>
              <a:gd name="connsiteX6407" fmla="*/ 1870322 w 6666359"/>
              <a:gd name="connsiteY6407" fmla="*/ 375125 h 4343113"/>
              <a:gd name="connsiteX6408" fmla="*/ 1863873 w 6666359"/>
              <a:gd name="connsiteY6408" fmla="*/ 371901 h 4343113"/>
              <a:gd name="connsiteX6409" fmla="*/ 1860648 w 6666359"/>
              <a:gd name="connsiteY6409" fmla="*/ 368676 h 4343113"/>
              <a:gd name="connsiteX6410" fmla="*/ 1831626 w 6666359"/>
              <a:gd name="connsiteY6410" fmla="*/ 375125 h 4343113"/>
              <a:gd name="connsiteX6411" fmla="*/ 1802604 w 6666359"/>
              <a:gd name="connsiteY6411" fmla="*/ 378350 h 4343113"/>
              <a:gd name="connsiteX6412" fmla="*/ 1744559 w 6666359"/>
              <a:gd name="connsiteY6412" fmla="*/ 378350 h 4343113"/>
              <a:gd name="connsiteX6413" fmla="*/ 1741335 w 6666359"/>
              <a:gd name="connsiteY6413" fmla="*/ 371901 h 4343113"/>
              <a:gd name="connsiteX6414" fmla="*/ 1744559 w 6666359"/>
              <a:gd name="connsiteY6414" fmla="*/ 352552 h 4343113"/>
              <a:gd name="connsiteX6415" fmla="*/ 1741335 w 6666359"/>
              <a:gd name="connsiteY6415" fmla="*/ 342878 h 4343113"/>
              <a:gd name="connsiteX6416" fmla="*/ 1731661 w 6666359"/>
              <a:gd name="connsiteY6416" fmla="*/ 352552 h 4343113"/>
              <a:gd name="connsiteX6417" fmla="*/ 1728436 w 6666359"/>
              <a:gd name="connsiteY6417" fmla="*/ 365451 h 4343113"/>
              <a:gd name="connsiteX6418" fmla="*/ 1725211 w 6666359"/>
              <a:gd name="connsiteY6418" fmla="*/ 371901 h 4343113"/>
              <a:gd name="connsiteX6419" fmla="*/ 1699414 w 6666359"/>
              <a:gd name="connsiteY6419" fmla="*/ 368676 h 4343113"/>
              <a:gd name="connsiteX6420" fmla="*/ 1686515 w 6666359"/>
              <a:gd name="connsiteY6420" fmla="*/ 362227 h 4343113"/>
              <a:gd name="connsiteX6421" fmla="*/ 1676841 w 6666359"/>
              <a:gd name="connsiteY6421" fmla="*/ 365451 h 4343113"/>
              <a:gd name="connsiteX6422" fmla="*/ 1670391 w 6666359"/>
              <a:gd name="connsiteY6422" fmla="*/ 359002 h 4343113"/>
              <a:gd name="connsiteX6423" fmla="*/ 1663943 w 6666359"/>
              <a:gd name="connsiteY6423" fmla="*/ 352552 h 4343113"/>
              <a:gd name="connsiteX6424" fmla="*/ 1654268 w 6666359"/>
              <a:gd name="connsiteY6424" fmla="*/ 310631 h 4343113"/>
              <a:gd name="connsiteX6425" fmla="*/ 1663943 w 6666359"/>
              <a:gd name="connsiteY6425" fmla="*/ 284834 h 4343113"/>
              <a:gd name="connsiteX6426" fmla="*/ 1663943 w 6666359"/>
              <a:gd name="connsiteY6426" fmla="*/ 262261 h 4343113"/>
              <a:gd name="connsiteX6427" fmla="*/ 1660717 w 6666359"/>
              <a:gd name="connsiteY6427" fmla="*/ 255812 h 4343113"/>
              <a:gd name="connsiteX6428" fmla="*/ 1654268 w 6666359"/>
              <a:gd name="connsiteY6428" fmla="*/ 249363 h 4343113"/>
              <a:gd name="connsiteX6429" fmla="*/ 1651043 w 6666359"/>
              <a:gd name="connsiteY6429" fmla="*/ 239689 h 4343113"/>
              <a:gd name="connsiteX6430" fmla="*/ 1651043 w 6666359"/>
              <a:gd name="connsiteY6430" fmla="*/ 236463 h 4343113"/>
              <a:gd name="connsiteX6431" fmla="*/ 1641370 w 6666359"/>
              <a:gd name="connsiteY6431" fmla="*/ 217116 h 4343113"/>
              <a:gd name="connsiteX6432" fmla="*/ 1634920 w 6666359"/>
              <a:gd name="connsiteY6432" fmla="*/ 213891 h 4343113"/>
              <a:gd name="connsiteX6433" fmla="*/ 1622021 w 6666359"/>
              <a:gd name="connsiteY6433" fmla="*/ 223565 h 4343113"/>
              <a:gd name="connsiteX6434" fmla="*/ 1602673 w 6666359"/>
              <a:gd name="connsiteY6434" fmla="*/ 220340 h 4343113"/>
              <a:gd name="connsiteX6435" fmla="*/ 1592999 w 6666359"/>
              <a:gd name="connsiteY6435" fmla="*/ 226790 h 4343113"/>
              <a:gd name="connsiteX6436" fmla="*/ 1589774 w 6666359"/>
              <a:gd name="connsiteY6436" fmla="*/ 220340 h 4343113"/>
              <a:gd name="connsiteX6437" fmla="*/ 1580100 w 6666359"/>
              <a:gd name="connsiteY6437" fmla="*/ 207442 h 4343113"/>
              <a:gd name="connsiteX6438" fmla="*/ 1557528 w 6666359"/>
              <a:gd name="connsiteY6438" fmla="*/ 178419 h 4343113"/>
              <a:gd name="connsiteX6439" fmla="*/ 1557528 w 6666359"/>
              <a:gd name="connsiteY6439" fmla="*/ 162295 h 4343113"/>
              <a:gd name="connsiteX6440" fmla="*/ 1563977 w 6666359"/>
              <a:gd name="connsiteY6440" fmla="*/ 152621 h 4343113"/>
              <a:gd name="connsiteX6441" fmla="*/ 5796389 w 6666359"/>
              <a:gd name="connsiteY6441" fmla="*/ 133273 h 4343113"/>
              <a:gd name="connsiteX6442" fmla="*/ 5799613 w 6666359"/>
              <a:gd name="connsiteY6442" fmla="*/ 139722 h 4343113"/>
              <a:gd name="connsiteX6443" fmla="*/ 5783490 w 6666359"/>
              <a:gd name="connsiteY6443" fmla="*/ 155845 h 4343113"/>
              <a:gd name="connsiteX6444" fmla="*/ 5767367 w 6666359"/>
              <a:gd name="connsiteY6444" fmla="*/ 155845 h 4343113"/>
              <a:gd name="connsiteX6445" fmla="*/ 5780265 w 6666359"/>
              <a:gd name="connsiteY6445" fmla="*/ 146171 h 4343113"/>
              <a:gd name="connsiteX6446" fmla="*/ 6035016 w 6666359"/>
              <a:gd name="connsiteY6446" fmla="*/ 120373 h 4343113"/>
              <a:gd name="connsiteX6447" fmla="*/ 6041465 w 6666359"/>
              <a:gd name="connsiteY6447" fmla="*/ 120373 h 4343113"/>
              <a:gd name="connsiteX6448" fmla="*/ 6041465 w 6666359"/>
              <a:gd name="connsiteY6448" fmla="*/ 126823 h 4343113"/>
              <a:gd name="connsiteX6449" fmla="*/ 6038241 w 6666359"/>
              <a:gd name="connsiteY6449" fmla="*/ 130047 h 4343113"/>
              <a:gd name="connsiteX6450" fmla="*/ 6031792 w 6666359"/>
              <a:gd name="connsiteY6450" fmla="*/ 130047 h 4343113"/>
              <a:gd name="connsiteX6451" fmla="*/ 2118625 w 6666359"/>
              <a:gd name="connsiteY6451" fmla="*/ 107475 h 4343113"/>
              <a:gd name="connsiteX6452" fmla="*/ 2131525 w 6666359"/>
              <a:gd name="connsiteY6452" fmla="*/ 107475 h 4343113"/>
              <a:gd name="connsiteX6453" fmla="*/ 2147648 w 6666359"/>
              <a:gd name="connsiteY6453" fmla="*/ 113925 h 4343113"/>
              <a:gd name="connsiteX6454" fmla="*/ 2131525 w 6666359"/>
              <a:gd name="connsiteY6454" fmla="*/ 117149 h 4343113"/>
              <a:gd name="connsiteX6455" fmla="*/ 2099278 w 6666359"/>
              <a:gd name="connsiteY6455" fmla="*/ 107475 h 4343113"/>
              <a:gd name="connsiteX6456" fmla="*/ 2112176 w 6666359"/>
              <a:gd name="connsiteY6456" fmla="*/ 113925 h 4343113"/>
              <a:gd name="connsiteX6457" fmla="*/ 2118625 w 6666359"/>
              <a:gd name="connsiteY6457" fmla="*/ 117149 h 4343113"/>
              <a:gd name="connsiteX6458" fmla="*/ 2112176 w 6666359"/>
              <a:gd name="connsiteY6458" fmla="*/ 120374 h 4343113"/>
              <a:gd name="connsiteX6459" fmla="*/ 2102502 w 6666359"/>
              <a:gd name="connsiteY6459" fmla="*/ 123599 h 4343113"/>
              <a:gd name="connsiteX6460" fmla="*/ 2089604 w 6666359"/>
              <a:gd name="connsiteY6460" fmla="*/ 113925 h 4343113"/>
              <a:gd name="connsiteX6461" fmla="*/ 1135093 w 6666359"/>
              <a:gd name="connsiteY6461" fmla="*/ 101027 h 4343113"/>
              <a:gd name="connsiteX6462" fmla="*/ 1144767 w 6666359"/>
              <a:gd name="connsiteY6462" fmla="*/ 113925 h 4343113"/>
              <a:gd name="connsiteX6463" fmla="*/ 1151216 w 6666359"/>
              <a:gd name="connsiteY6463" fmla="*/ 123600 h 4343113"/>
              <a:gd name="connsiteX6464" fmla="*/ 1135093 w 6666359"/>
              <a:gd name="connsiteY6464" fmla="*/ 133274 h 4343113"/>
              <a:gd name="connsiteX6465" fmla="*/ 1141542 w 6666359"/>
              <a:gd name="connsiteY6465" fmla="*/ 159071 h 4343113"/>
              <a:gd name="connsiteX6466" fmla="*/ 1141542 w 6666359"/>
              <a:gd name="connsiteY6466" fmla="*/ 171969 h 4343113"/>
              <a:gd name="connsiteX6467" fmla="*/ 1141542 w 6666359"/>
              <a:gd name="connsiteY6467" fmla="*/ 184868 h 4343113"/>
              <a:gd name="connsiteX6468" fmla="*/ 1122194 w 6666359"/>
              <a:gd name="connsiteY6468" fmla="*/ 210666 h 4343113"/>
              <a:gd name="connsiteX6469" fmla="*/ 1109296 w 6666359"/>
              <a:gd name="connsiteY6469" fmla="*/ 223565 h 4343113"/>
              <a:gd name="connsiteX6470" fmla="*/ 1093172 w 6666359"/>
              <a:gd name="connsiteY6470" fmla="*/ 210666 h 4343113"/>
              <a:gd name="connsiteX6471" fmla="*/ 1096396 w 6666359"/>
              <a:gd name="connsiteY6471" fmla="*/ 175195 h 4343113"/>
              <a:gd name="connsiteX6472" fmla="*/ 1083497 w 6666359"/>
              <a:gd name="connsiteY6472" fmla="*/ 181644 h 4343113"/>
              <a:gd name="connsiteX6473" fmla="*/ 1086723 w 6666359"/>
              <a:gd name="connsiteY6473" fmla="*/ 184868 h 4343113"/>
              <a:gd name="connsiteX6474" fmla="*/ 1080273 w 6666359"/>
              <a:gd name="connsiteY6474" fmla="*/ 220340 h 4343113"/>
              <a:gd name="connsiteX6475" fmla="*/ 1070599 w 6666359"/>
              <a:gd name="connsiteY6475" fmla="*/ 242913 h 4343113"/>
              <a:gd name="connsiteX6476" fmla="*/ 1044801 w 6666359"/>
              <a:gd name="connsiteY6476" fmla="*/ 265486 h 4343113"/>
              <a:gd name="connsiteX6477" fmla="*/ 1038352 w 6666359"/>
              <a:gd name="connsiteY6477" fmla="*/ 246137 h 4343113"/>
              <a:gd name="connsiteX6478" fmla="*/ 1031902 w 6666359"/>
              <a:gd name="connsiteY6478" fmla="*/ 239689 h 4343113"/>
              <a:gd name="connsiteX6479" fmla="*/ 1028678 w 6666359"/>
              <a:gd name="connsiteY6479" fmla="*/ 242913 h 4343113"/>
              <a:gd name="connsiteX6480" fmla="*/ 1012555 w 6666359"/>
              <a:gd name="connsiteY6480" fmla="*/ 246137 h 4343113"/>
              <a:gd name="connsiteX6481" fmla="*/ 1006105 w 6666359"/>
              <a:gd name="connsiteY6481" fmla="*/ 242913 h 4343113"/>
              <a:gd name="connsiteX6482" fmla="*/ 1006105 w 6666359"/>
              <a:gd name="connsiteY6482" fmla="*/ 249363 h 4343113"/>
              <a:gd name="connsiteX6483" fmla="*/ 1002881 w 6666359"/>
              <a:gd name="connsiteY6483" fmla="*/ 249363 h 4343113"/>
              <a:gd name="connsiteX6484" fmla="*/ 983532 w 6666359"/>
              <a:gd name="connsiteY6484" fmla="*/ 239689 h 4343113"/>
              <a:gd name="connsiteX6485" fmla="*/ 996431 w 6666359"/>
              <a:gd name="connsiteY6485" fmla="*/ 213891 h 4343113"/>
              <a:gd name="connsiteX6486" fmla="*/ 1009329 w 6666359"/>
              <a:gd name="connsiteY6486" fmla="*/ 207442 h 4343113"/>
              <a:gd name="connsiteX6487" fmla="*/ 1019004 w 6666359"/>
              <a:gd name="connsiteY6487" fmla="*/ 204216 h 4343113"/>
              <a:gd name="connsiteX6488" fmla="*/ 1025453 w 6666359"/>
              <a:gd name="connsiteY6488" fmla="*/ 191318 h 4343113"/>
              <a:gd name="connsiteX6489" fmla="*/ 1031902 w 6666359"/>
              <a:gd name="connsiteY6489" fmla="*/ 184868 h 4343113"/>
              <a:gd name="connsiteX6490" fmla="*/ 1044801 w 6666359"/>
              <a:gd name="connsiteY6490" fmla="*/ 165521 h 4343113"/>
              <a:gd name="connsiteX6491" fmla="*/ 1057700 w 6666359"/>
              <a:gd name="connsiteY6491" fmla="*/ 139723 h 4343113"/>
              <a:gd name="connsiteX6492" fmla="*/ 1070599 w 6666359"/>
              <a:gd name="connsiteY6492" fmla="*/ 120374 h 4343113"/>
              <a:gd name="connsiteX6493" fmla="*/ 1083497 w 6666359"/>
              <a:gd name="connsiteY6493" fmla="*/ 117150 h 4343113"/>
              <a:gd name="connsiteX6494" fmla="*/ 1096396 w 6666359"/>
              <a:gd name="connsiteY6494" fmla="*/ 113925 h 4343113"/>
              <a:gd name="connsiteX6495" fmla="*/ 1099621 w 6666359"/>
              <a:gd name="connsiteY6495" fmla="*/ 117150 h 4343113"/>
              <a:gd name="connsiteX6496" fmla="*/ 1115744 w 6666359"/>
              <a:gd name="connsiteY6496" fmla="*/ 104251 h 4343113"/>
              <a:gd name="connsiteX6497" fmla="*/ 1689740 w 6666359"/>
              <a:gd name="connsiteY6497" fmla="*/ 88127 h 4343113"/>
              <a:gd name="connsiteX6498" fmla="*/ 1699414 w 6666359"/>
              <a:gd name="connsiteY6498" fmla="*/ 91353 h 4343113"/>
              <a:gd name="connsiteX6499" fmla="*/ 1715538 w 6666359"/>
              <a:gd name="connsiteY6499" fmla="*/ 113925 h 4343113"/>
              <a:gd name="connsiteX6500" fmla="*/ 1715538 w 6666359"/>
              <a:gd name="connsiteY6500" fmla="*/ 123600 h 4343113"/>
              <a:gd name="connsiteX6501" fmla="*/ 1712312 w 6666359"/>
              <a:gd name="connsiteY6501" fmla="*/ 130048 h 4343113"/>
              <a:gd name="connsiteX6502" fmla="*/ 1699414 w 6666359"/>
              <a:gd name="connsiteY6502" fmla="*/ 133274 h 4343113"/>
              <a:gd name="connsiteX6503" fmla="*/ 1683290 w 6666359"/>
              <a:gd name="connsiteY6503" fmla="*/ 113925 h 4343113"/>
              <a:gd name="connsiteX6504" fmla="*/ 5967297 w 6666359"/>
              <a:gd name="connsiteY6504" fmla="*/ 81677 h 4343113"/>
              <a:gd name="connsiteX6505" fmla="*/ 5993095 w 6666359"/>
              <a:gd name="connsiteY6505" fmla="*/ 97800 h 4343113"/>
              <a:gd name="connsiteX6506" fmla="*/ 6012443 w 6666359"/>
              <a:gd name="connsiteY6506" fmla="*/ 117149 h 4343113"/>
              <a:gd name="connsiteX6507" fmla="*/ 6018893 w 6666359"/>
              <a:gd name="connsiteY6507" fmla="*/ 149396 h 4343113"/>
              <a:gd name="connsiteX6508" fmla="*/ 6035016 w 6666359"/>
              <a:gd name="connsiteY6508" fmla="*/ 159070 h 4343113"/>
              <a:gd name="connsiteX6509" fmla="*/ 6022117 w 6666359"/>
              <a:gd name="connsiteY6509" fmla="*/ 184867 h 4343113"/>
              <a:gd name="connsiteX6510" fmla="*/ 6015669 w 6666359"/>
              <a:gd name="connsiteY6510" fmla="*/ 194541 h 4343113"/>
              <a:gd name="connsiteX6511" fmla="*/ 6012443 w 6666359"/>
              <a:gd name="connsiteY6511" fmla="*/ 191317 h 4343113"/>
              <a:gd name="connsiteX6512" fmla="*/ 6012443 w 6666359"/>
              <a:gd name="connsiteY6512" fmla="*/ 200991 h 4343113"/>
              <a:gd name="connsiteX6513" fmla="*/ 6018893 w 6666359"/>
              <a:gd name="connsiteY6513" fmla="*/ 200991 h 4343113"/>
              <a:gd name="connsiteX6514" fmla="*/ 6035016 w 6666359"/>
              <a:gd name="connsiteY6514" fmla="*/ 200991 h 4343113"/>
              <a:gd name="connsiteX6515" fmla="*/ 6047915 w 6666359"/>
              <a:gd name="connsiteY6515" fmla="*/ 194541 h 4343113"/>
              <a:gd name="connsiteX6516" fmla="*/ 6051139 w 6666359"/>
              <a:gd name="connsiteY6516" fmla="*/ 184867 h 4343113"/>
              <a:gd name="connsiteX6517" fmla="*/ 6060813 w 6666359"/>
              <a:gd name="connsiteY6517" fmla="*/ 181643 h 4343113"/>
              <a:gd name="connsiteX6518" fmla="*/ 6086611 w 6666359"/>
              <a:gd name="connsiteY6518" fmla="*/ 178418 h 4343113"/>
              <a:gd name="connsiteX6519" fmla="*/ 6115633 w 6666359"/>
              <a:gd name="connsiteY6519" fmla="*/ 178418 h 4343113"/>
              <a:gd name="connsiteX6520" fmla="*/ 6128532 w 6666359"/>
              <a:gd name="connsiteY6520" fmla="*/ 184867 h 4343113"/>
              <a:gd name="connsiteX6521" fmla="*/ 6141431 w 6666359"/>
              <a:gd name="connsiteY6521" fmla="*/ 204215 h 4343113"/>
              <a:gd name="connsiteX6522" fmla="*/ 6141431 w 6666359"/>
              <a:gd name="connsiteY6522" fmla="*/ 207441 h 4343113"/>
              <a:gd name="connsiteX6523" fmla="*/ 6151105 w 6666359"/>
              <a:gd name="connsiteY6523" fmla="*/ 213890 h 4343113"/>
              <a:gd name="connsiteX6524" fmla="*/ 6164004 w 6666359"/>
              <a:gd name="connsiteY6524" fmla="*/ 223564 h 4343113"/>
              <a:gd name="connsiteX6525" fmla="*/ 6167229 w 6666359"/>
              <a:gd name="connsiteY6525" fmla="*/ 233238 h 4343113"/>
              <a:gd name="connsiteX6526" fmla="*/ 6167229 w 6666359"/>
              <a:gd name="connsiteY6526" fmla="*/ 239688 h 4343113"/>
              <a:gd name="connsiteX6527" fmla="*/ 6170453 w 6666359"/>
              <a:gd name="connsiteY6527" fmla="*/ 246136 h 4343113"/>
              <a:gd name="connsiteX6528" fmla="*/ 6170453 w 6666359"/>
              <a:gd name="connsiteY6528" fmla="*/ 255811 h 4343113"/>
              <a:gd name="connsiteX6529" fmla="*/ 6176903 w 6666359"/>
              <a:gd name="connsiteY6529" fmla="*/ 252586 h 4343113"/>
              <a:gd name="connsiteX6530" fmla="*/ 6173678 w 6666359"/>
              <a:gd name="connsiteY6530" fmla="*/ 278383 h 4343113"/>
              <a:gd name="connsiteX6531" fmla="*/ 6170453 w 6666359"/>
              <a:gd name="connsiteY6531" fmla="*/ 297732 h 4343113"/>
              <a:gd name="connsiteX6532" fmla="*/ 6170453 w 6666359"/>
              <a:gd name="connsiteY6532" fmla="*/ 310630 h 4343113"/>
              <a:gd name="connsiteX6533" fmla="*/ 6164004 w 6666359"/>
              <a:gd name="connsiteY6533" fmla="*/ 323529 h 4343113"/>
              <a:gd name="connsiteX6534" fmla="*/ 6154329 w 6666359"/>
              <a:gd name="connsiteY6534" fmla="*/ 336428 h 4343113"/>
              <a:gd name="connsiteX6535" fmla="*/ 6147881 w 6666359"/>
              <a:gd name="connsiteY6535" fmla="*/ 342877 h 4343113"/>
              <a:gd name="connsiteX6536" fmla="*/ 6138206 w 6666359"/>
              <a:gd name="connsiteY6536" fmla="*/ 352551 h 4343113"/>
              <a:gd name="connsiteX6537" fmla="*/ 6105960 w 6666359"/>
              <a:gd name="connsiteY6537" fmla="*/ 378349 h 4343113"/>
              <a:gd name="connsiteX6538" fmla="*/ 6093061 w 6666359"/>
              <a:gd name="connsiteY6538" fmla="*/ 394472 h 4343113"/>
              <a:gd name="connsiteX6539" fmla="*/ 6089837 w 6666359"/>
              <a:gd name="connsiteY6539" fmla="*/ 400922 h 4343113"/>
              <a:gd name="connsiteX6540" fmla="*/ 6089837 w 6666359"/>
              <a:gd name="connsiteY6540" fmla="*/ 404147 h 4343113"/>
              <a:gd name="connsiteX6541" fmla="*/ 6080161 w 6666359"/>
              <a:gd name="connsiteY6541" fmla="*/ 410596 h 4343113"/>
              <a:gd name="connsiteX6542" fmla="*/ 6070487 w 6666359"/>
              <a:gd name="connsiteY6542" fmla="*/ 417045 h 4343113"/>
              <a:gd name="connsiteX6543" fmla="*/ 6064038 w 6666359"/>
              <a:gd name="connsiteY6543" fmla="*/ 426719 h 4343113"/>
              <a:gd name="connsiteX6544" fmla="*/ 6060813 w 6666359"/>
              <a:gd name="connsiteY6544" fmla="*/ 436394 h 4343113"/>
              <a:gd name="connsiteX6545" fmla="*/ 6031792 w 6666359"/>
              <a:gd name="connsiteY6545" fmla="*/ 446068 h 4343113"/>
              <a:gd name="connsiteX6546" fmla="*/ 6028567 w 6666359"/>
              <a:gd name="connsiteY6546" fmla="*/ 452517 h 4343113"/>
              <a:gd name="connsiteX6547" fmla="*/ 6022117 w 6666359"/>
              <a:gd name="connsiteY6547" fmla="*/ 468640 h 4343113"/>
              <a:gd name="connsiteX6548" fmla="*/ 6028567 w 6666359"/>
              <a:gd name="connsiteY6548" fmla="*/ 481539 h 4343113"/>
              <a:gd name="connsiteX6549" fmla="*/ 6057589 w 6666359"/>
              <a:gd name="connsiteY6549" fmla="*/ 475090 h 4343113"/>
              <a:gd name="connsiteX6550" fmla="*/ 6086611 w 6666359"/>
              <a:gd name="connsiteY6550" fmla="*/ 458966 h 4343113"/>
              <a:gd name="connsiteX6551" fmla="*/ 6099510 w 6666359"/>
              <a:gd name="connsiteY6551" fmla="*/ 452517 h 4343113"/>
              <a:gd name="connsiteX6552" fmla="*/ 6109184 w 6666359"/>
              <a:gd name="connsiteY6552" fmla="*/ 446068 h 4343113"/>
              <a:gd name="connsiteX6553" fmla="*/ 6112409 w 6666359"/>
              <a:gd name="connsiteY6553" fmla="*/ 439619 h 4343113"/>
              <a:gd name="connsiteX6554" fmla="*/ 6105960 w 6666359"/>
              <a:gd name="connsiteY6554" fmla="*/ 436394 h 4343113"/>
              <a:gd name="connsiteX6555" fmla="*/ 6093061 w 6666359"/>
              <a:gd name="connsiteY6555" fmla="*/ 442843 h 4343113"/>
              <a:gd name="connsiteX6556" fmla="*/ 6083387 w 6666359"/>
              <a:gd name="connsiteY6556" fmla="*/ 436394 h 4343113"/>
              <a:gd name="connsiteX6557" fmla="*/ 6089837 w 6666359"/>
              <a:gd name="connsiteY6557" fmla="*/ 420271 h 4343113"/>
              <a:gd name="connsiteX6558" fmla="*/ 6099510 w 6666359"/>
              <a:gd name="connsiteY6558" fmla="*/ 417045 h 4343113"/>
              <a:gd name="connsiteX6559" fmla="*/ 6115633 w 6666359"/>
              <a:gd name="connsiteY6559" fmla="*/ 417045 h 4343113"/>
              <a:gd name="connsiteX6560" fmla="*/ 6118858 w 6666359"/>
              <a:gd name="connsiteY6560" fmla="*/ 423495 h 4343113"/>
              <a:gd name="connsiteX6561" fmla="*/ 6125307 w 6666359"/>
              <a:gd name="connsiteY6561" fmla="*/ 433169 h 4343113"/>
              <a:gd name="connsiteX6562" fmla="*/ 6138206 w 6666359"/>
              <a:gd name="connsiteY6562" fmla="*/ 439619 h 4343113"/>
              <a:gd name="connsiteX6563" fmla="*/ 6151105 w 6666359"/>
              <a:gd name="connsiteY6563" fmla="*/ 439619 h 4343113"/>
              <a:gd name="connsiteX6564" fmla="*/ 6157555 w 6666359"/>
              <a:gd name="connsiteY6564" fmla="*/ 433169 h 4343113"/>
              <a:gd name="connsiteX6565" fmla="*/ 6157555 w 6666359"/>
              <a:gd name="connsiteY6565" fmla="*/ 420271 h 4343113"/>
              <a:gd name="connsiteX6566" fmla="*/ 6164004 w 6666359"/>
              <a:gd name="connsiteY6566" fmla="*/ 436394 h 4343113"/>
              <a:gd name="connsiteX6567" fmla="*/ 6167229 w 6666359"/>
              <a:gd name="connsiteY6567" fmla="*/ 458966 h 4343113"/>
              <a:gd name="connsiteX6568" fmla="*/ 6167229 w 6666359"/>
              <a:gd name="connsiteY6568" fmla="*/ 455742 h 4343113"/>
              <a:gd name="connsiteX6569" fmla="*/ 6180127 w 6666359"/>
              <a:gd name="connsiteY6569" fmla="*/ 449292 h 4343113"/>
              <a:gd name="connsiteX6570" fmla="*/ 6205925 w 6666359"/>
              <a:gd name="connsiteY6570" fmla="*/ 439619 h 4343113"/>
              <a:gd name="connsiteX6571" fmla="*/ 6234947 w 6666359"/>
              <a:gd name="connsiteY6571" fmla="*/ 442843 h 4343113"/>
              <a:gd name="connsiteX6572" fmla="*/ 6263969 w 6666359"/>
              <a:gd name="connsiteY6572" fmla="*/ 449292 h 4343113"/>
              <a:gd name="connsiteX6573" fmla="*/ 6276868 w 6666359"/>
              <a:gd name="connsiteY6573" fmla="*/ 458966 h 4343113"/>
              <a:gd name="connsiteX6574" fmla="*/ 6276868 w 6666359"/>
              <a:gd name="connsiteY6574" fmla="*/ 478315 h 4343113"/>
              <a:gd name="connsiteX6575" fmla="*/ 6283317 w 6666359"/>
              <a:gd name="connsiteY6575" fmla="*/ 481539 h 4343113"/>
              <a:gd name="connsiteX6576" fmla="*/ 6305891 w 6666359"/>
              <a:gd name="connsiteY6576" fmla="*/ 497663 h 4343113"/>
              <a:gd name="connsiteX6577" fmla="*/ 6315565 w 6666359"/>
              <a:gd name="connsiteY6577" fmla="*/ 494439 h 4343113"/>
              <a:gd name="connsiteX6578" fmla="*/ 6344586 w 6666359"/>
              <a:gd name="connsiteY6578" fmla="*/ 497663 h 4343113"/>
              <a:gd name="connsiteX6579" fmla="*/ 6376833 w 6666359"/>
              <a:gd name="connsiteY6579" fmla="*/ 510562 h 4343113"/>
              <a:gd name="connsiteX6580" fmla="*/ 6386507 w 6666359"/>
              <a:gd name="connsiteY6580" fmla="*/ 513786 h 4343113"/>
              <a:gd name="connsiteX6581" fmla="*/ 6396181 w 6666359"/>
              <a:gd name="connsiteY6581" fmla="*/ 513786 h 4343113"/>
              <a:gd name="connsiteX6582" fmla="*/ 6415530 w 6666359"/>
              <a:gd name="connsiteY6582" fmla="*/ 520236 h 4343113"/>
              <a:gd name="connsiteX6583" fmla="*/ 6425204 w 6666359"/>
              <a:gd name="connsiteY6583" fmla="*/ 529910 h 4343113"/>
              <a:gd name="connsiteX6584" fmla="*/ 6428428 w 6666359"/>
              <a:gd name="connsiteY6584" fmla="*/ 536359 h 4343113"/>
              <a:gd name="connsiteX6585" fmla="*/ 6434877 w 6666359"/>
              <a:gd name="connsiteY6585" fmla="*/ 542808 h 4343113"/>
              <a:gd name="connsiteX6586" fmla="*/ 6444551 w 6666359"/>
              <a:gd name="connsiteY6586" fmla="*/ 549258 h 4343113"/>
              <a:gd name="connsiteX6587" fmla="*/ 6454227 w 6666359"/>
              <a:gd name="connsiteY6587" fmla="*/ 546034 h 4343113"/>
              <a:gd name="connsiteX6588" fmla="*/ 6460675 w 6666359"/>
              <a:gd name="connsiteY6588" fmla="*/ 542808 h 4343113"/>
              <a:gd name="connsiteX6589" fmla="*/ 6463901 w 6666359"/>
              <a:gd name="connsiteY6589" fmla="*/ 539584 h 4343113"/>
              <a:gd name="connsiteX6590" fmla="*/ 6470349 w 6666359"/>
              <a:gd name="connsiteY6590" fmla="*/ 539584 h 4343113"/>
              <a:gd name="connsiteX6591" fmla="*/ 6480024 w 6666359"/>
              <a:gd name="connsiteY6591" fmla="*/ 542808 h 4343113"/>
              <a:gd name="connsiteX6592" fmla="*/ 6509045 w 6666359"/>
              <a:gd name="connsiteY6592" fmla="*/ 584730 h 4343113"/>
              <a:gd name="connsiteX6593" fmla="*/ 6518719 w 6666359"/>
              <a:gd name="connsiteY6593" fmla="*/ 610528 h 4343113"/>
              <a:gd name="connsiteX6594" fmla="*/ 6531619 w 6666359"/>
              <a:gd name="connsiteY6594" fmla="*/ 629875 h 4343113"/>
              <a:gd name="connsiteX6595" fmla="*/ 6538069 w 6666359"/>
              <a:gd name="connsiteY6595" fmla="*/ 639549 h 4343113"/>
              <a:gd name="connsiteX6596" fmla="*/ 6544517 w 6666359"/>
              <a:gd name="connsiteY6596" fmla="*/ 645999 h 4343113"/>
              <a:gd name="connsiteX6597" fmla="*/ 6557416 w 6666359"/>
              <a:gd name="connsiteY6597" fmla="*/ 652449 h 4343113"/>
              <a:gd name="connsiteX6598" fmla="*/ 6573539 w 6666359"/>
              <a:gd name="connsiteY6598" fmla="*/ 610528 h 4343113"/>
              <a:gd name="connsiteX6599" fmla="*/ 6583213 w 6666359"/>
              <a:gd name="connsiteY6599" fmla="*/ 581505 h 4343113"/>
              <a:gd name="connsiteX6600" fmla="*/ 6592887 w 6666359"/>
              <a:gd name="connsiteY6600" fmla="*/ 578280 h 4343113"/>
              <a:gd name="connsiteX6601" fmla="*/ 6589663 w 6666359"/>
              <a:gd name="connsiteY6601" fmla="*/ 584730 h 4343113"/>
              <a:gd name="connsiteX6602" fmla="*/ 6596113 w 6666359"/>
              <a:gd name="connsiteY6602" fmla="*/ 594404 h 4343113"/>
              <a:gd name="connsiteX6603" fmla="*/ 6609011 w 6666359"/>
              <a:gd name="connsiteY6603" fmla="*/ 604078 h 4343113"/>
              <a:gd name="connsiteX6604" fmla="*/ 6621911 w 6666359"/>
              <a:gd name="connsiteY6604" fmla="*/ 610528 h 4343113"/>
              <a:gd name="connsiteX6605" fmla="*/ 6634809 w 6666359"/>
              <a:gd name="connsiteY6605" fmla="*/ 607302 h 4343113"/>
              <a:gd name="connsiteX6606" fmla="*/ 6657381 w 6666359"/>
              <a:gd name="connsiteY6606" fmla="*/ 594404 h 4343113"/>
              <a:gd name="connsiteX6607" fmla="*/ 6666359 w 6666359"/>
              <a:gd name="connsiteY6607" fmla="*/ 597995 h 4343113"/>
              <a:gd name="connsiteX6608" fmla="*/ 6666359 w 6666359"/>
              <a:gd name="connsiteY6608" fmla="*/ 1414174 h 4343113"/>
              <a:gd name="connsiteX6609" fmla="*/ 6654157 w 6666359"/>
              <a:gd name="connsiteY6609" fmla="*/ 1426376 h 4343113"/>
              <a:gd name="connsiteX6610" fmla="*/ 6644483 w 6666359"/>
              <a:gd name="connsiteY6610" fmla="*/ 1442500 h 4343113"/>
              <a:gd name="connsiteX6611" fmla="*/ 6654157 w 6666359"/>
              <a:gd name="connsiteY6611" fmla="*/ 1445724 h 4343113"/>
              <a:gd name="connsiteX6612" fmla="*/ 6660606 w 6666359"/>
              <a:gd name="connsiteY6612" fmla="*/ 1445724 h 4343113"/>
              <a:gd name="connsiteX6613" fmla="*/ 6666359 w 6666359"/>
              <a:gd name="connsiteY6613" fmla="*/ 1445724 h 4343113"/>
              <a:gd name="connsiteX6614" fmla="*/ 6666359 w 6666359"/>
              <a:gd name="connsiteY6614" fmla="*/ 1786321 h 4343113"/>
              <a:gd name="connsiteX6615" fmla="*/ 6660606 w 6666359"/>
              <a:gd name="connsiteY6615" fmla="*/ 1793992 h 4343113"/>
              <a:gd name="connsiteX6616" fmla="*/ 6650932 w 6666359"/>
              <a:gd name="connsiteY6616" fmla="*/ 1803666 h 4343113"/>
              <a:gd name="connsiteX6617" fmla="*/ 6650932 w 6666359"/>
              <a:gd name="connsiteY6617" fmla="*/ 1810115 h 4343113"/>
              <a:gd name="connsiteX6618" fmla="*/ 6634809 w 6666359"/>
              <a:gd name="connsiteY6618" fmla="*/ 1823014 h 4343113"/>
              <a:gd name="connsiteX6619" fmla="*/ 6609011 w 6666359"/>
              <a:gd name="connsiteY6619" fmla="*/ 1839137 h 4343113"/>
              <a:gd name="connsiteX6620" fmla="*/ 6602561 w 6666359"/>
              <a:gd name="connsiteY6620" fmla="*/ 1842361 h 4343113"/>
              <a:gd name="connsiteX6621" fmla="*/ 6596113 w 6666359"/>
              <a:gd name="connsiteY6621" fmla="*/ 1842361 h 4343113"/>
              <a:gd name="connsiteX6622" fmla="*/ 6589663 w 6666359"/>
              <a:gd name="connsiteY6622" fmla="*/ 1839137 h 4343113"/>
              <a:gd name="connsiteX6623" fmla="*/ 6583213 w 6666359"/>
              <a:gd name="connsiteY6623" fmla="*/ 1839137 h 4343113"/>
              <a:gd name="connsiteX6624" fmla="*/ 6579989 w 6666359"/>
              <a:gd name="connsiteY6624" fmla="*/ 1829463 h 4343113"/>
              <a:gd name="connsiteX6625" fmla="*/ 6576764 w 6666359"/>
              <a:gd name="connsiteY6625" fmla="*/ 1823014 h 4343113"/>
              <a:gd name="connsiteX6626" fmla="*/ 6567090 w 6666359"/>
              <a:gd name="connsiteY6626" fmla="*/ 1832687 h 4343113"/>
              <a:gd name="connsiteX6627" fmla="*/ 6557416 w 6666359"/>
              <a:gd name="connsiteY6627" fmla="*/ 1842361 h 4343113"/>
              <a:gd name="connsiteX6628" fmla="*/ 6550967 w 6666359"/>
              <a:gd name="connsiteY6628" fmla="*/ 1848811 h 4343113"/>
              <a:gd name="connsiteX6629" fmla="*/ 6544517 w 6666359"/>
              <a:gd name="connsiteY6629" fmla="*/ 1855261 h 4343113"/>
              <a:gd name="connsiteX6630" fmla="*/ 6538069 w 6666359"/>
              <a:gd name="connsiteY6630" fmla="*/ 1855261 h 4343113"/>
              <a:gd name="connsiteX6631" fmla="*/ 6528395 w 6666359"/>
              <a:gd name="connsiteY6631" fmla="*/ 1863322 h 4343113"/>
              <a:gd name="connsiteX6632" fmla="*/ 6521945 w 6666359"/>
              <a:gd name="connsiteY6632" fmla="*/ 1872997 h 4343113"/>
              <a:gd name="connsiteX6633" fmla="*/ 6525169 w 6666359"/>
              <a:gd name="connsiteY6633" fmla="*/ 1885896 h 4343113"/>
              <a:gd name="connsiteX6634" fmla="*/ 6525169 w 6666359"/>
              <a:gd name="connsiteY6634" fmla="*/ 1895570 h 4343113"/>
              <a:gd name="connsiteX6635" fmla="*/ 6521945 w 6666359"/>
              <a:gd name="connsiteY6635" fmla="*/ 1898794 h 4343113"/>
              <a:gd name="connsiteX6636" fmla="*/ 6505821 w 6666359"/>
              <a:gd name="connsiteY6636" fmla="*/ 1911693 h 4343113"/>
              <a:gd name="connsiteX6637" fmla="*/ 6483248 w 6666359"/>
              <a:gd name="connsiteY6637" fmla="*/ 1921367 h 4343113"/>
              <a:gd name="connsiteX6638" fmla="*/ 6476799 w 6666359"/>
              <a:gd name="connsiteY6638" fmla="*/ 1927817 h 4343113"/>
              <a:gd name="connsiteX6639" fmla="*/ 6476799 w 6666359"/>
              <a:gd name="connsiteY6639" fmla="*/ 1934267 h 4343113"/>
              <a:gd name="connsiteX6640" fmla="*/ 6473575 w 6666359"/>
              <a:gd name="connsiteY6640" fmla="*/ 1940715 h 4343113"/>
              <a:gd name="connsiteX6641" fmla="*/ 6476799 w 6666359"/>
              <a:gd name="connsiteY6641" fmla="*/ 1943941 h 4343113"/>
              <a:gd name="connsiteX6642" fmla="*/ 6480024 w 6666359"/>
              <a:gd name="connsiteY6642" fmla="*/ 1943941 h 4343113"/>
              <a:gd name="connsiteX6643" fmla="*/ 6486473 w 6666359"/>
              <a:gd name="connsiteY6643" fmla="*/ 1947165 h 4343113"/>
              <a:gd name="connsiteX6644" fmla="*/ 6496147 w 6666359"/>
              <a:gd name="connsiteY6644" fmla="*/ 1956838 h 4343113"/>
              <a:gd name="connsiteX6645" fmla="*/ 6496147 w 6666359"/>
              <a:gd name="connsiteY6645" fmla="*/ 1956839 h 4343113"/>
              <a:gd name="connsiteX6646" fmla="*/ 6509045 w 6666359"/>
              <a:gd name="connsiteY6646" fmla="*/ 1985860 h 4343113"/>
              <a:gd name="connsiteX6647" fmla="*/ 6518719 w 6666359"/>
              <a:gd name="connsiteY6647" fmla="*/ 2008434 h 4343113"/>
              <a:gd name="connsiteX6648" fmla="*/ 6521944 w 6666359"/>
              <a:gd name="connsiteY6648" fmla="*/ 2027781 h 4343113"/>
              <a:gd name="connsiteX6649" fmla="*/ 6518719 w 6666359"/>
              <a:gd name="connsiteY6649" fmla="*/ 2040681 h 4343113"/>
              <a:gd name="connsiteX6650" fmla="*/ 6515494 w 6666359"/>
              <a:gd name="connsiteY6650" fmla="*/ 2053579 h 4343113"/>
              <a:gd name="connsiteX6651" fmla="*/ 6505821 w 6666359"/>
              <a:gd name="connsiteY6651" fmla="*/ 2053579 h 4343113"/>
              <a:gd name="connsiteX6652" fmla="*/ 6496147 w 6666359"/>
              <a:gd name="connsiteY6652" fmla="*/ 2060028 h 4343113"/>
              <a:gd name="connsiteX6653" fmla="*/ 6489697 w 6666359"/>
              <a:gd name="connsiteY6653" fmla="*/ 2060028 h 4343113"/>
              <a:gd name="connsiteX6654" fmla="*/ 6486471 w 6666359"/>
              <a:gd name="connsiteY6654" fmla="*/ 2056803 h 4343113"/>
              <a:gd name="connsiteX6655" fmla="*/ 6483247 w 6666359"/>
              <a:gd name="connsiteY6655" fmla="*/ 2060028 h 4343113"/>
              <a:gd name="connsiteX6656" fmla="*/ 6483247 w 6666359"/>
              <a:gd name="connsiteY6656" fmla="*/ 2063253 h 4343113"/>
              <a:gd name="connsiteX6657" fmla="*/ 6473573 w 6666359"/>
              <a:gd name="connsiteY6657" fmla="*/ 2069702 h 4343113"/>
              <a:gd name="connsiteX6658" fmla="*/ 6470349 w 6666359"/>
              <a:gd name="connsiteY6658" fmla="*/ 2069702 h 4343113"/>
              <a:gd name="connsiteX6659" fmla="*/ 6460674 w 6666359"/>
              <a:gd name="connsiteY6659" fmla="*/ 2072927 h 4343113"/>
              <a:gd name="connsiteX6660" fmla="*/ 6454225 w 6666359"/>
              <a:gd name="connsiteY6660" fmla="*/ 2076152 h 4343113"/>
              <a:gd name="connsiteX6661" fmla="*/ 6451000 w 6666359"/>
              <a:gd name="connsiteY6661" fmla="*/ 2063253 h 4343113"/>
              <a:gd name="connsiteX6662" fmla="*/ 6447776 w 6666359"/>
              <a:gd name="connsiteY6662" fmla="*/ 2053579 h 4343113"/>
              <a:gd name="connsiteX6663" fmla="*/ 6451000 w 6666359"/>
              <a:gd name="connsiteY6663" fmla="*/ 2047129 h 4343113"/>
              <a:gd name="connsiteX6664" fmla="*/ 6457449 w 6666359"/>
              <a:gd name="connsiteY6664" fmla="*/ 2031006 h 4343113"/>
              <a:gd name="connsiteX6665" fmla="*/ 6454225 w 6666359"/>
              <a:gd name="connsiteY6665" fmla="*/ 2018107 h 4343113"/>
              <a:gd name="connsiteX6666" fmla="*/ 6454225 w 6666359"/>
              <a:gd name="connsiteY6666" fmla="*/ 2014882 h 4343113"/>
              <a:gd name="connsiteX6667" fmla="*/ 6447776 w 6666359"/>
              <a:gd name="connsiteY6667" fmla="*/ 2011658 h 4343113"/>
              <a:gd name="connsiteX6668" fmla="*/ 6444551 w 6666359"/>
              <a:gd name="connsiteY6668" fmla="*/ 2008434 h 4343113"/>
              <a:gd name="connsiteX6669" fmla="*/ 6460674 w 6666359"/>
              <a:gd name="connsiteY6669" fmla="*/ 2005208 h 4343113"/>
              <a:gd name="connsiteX6670" fmla="*/ 6457449 w 6666359"/>
              <a:gd name="connsiteY6670" fmla="*/ 1985860 h 4343113"/>
              <a:gd name="connsiteX6671" fmla="*/ 6454225 w 6666359"/>
              <a:gd name="connsiteY6671" fmla="*/ 1982635 h 4343113"/>
              <a:gd name="connsiteX6672" fmla="*/ 6457449 w 6666359"/>
              <a:gd name="connsiteY6672" fmla="*/ 1982635 h 4343113"/>
              <a:gd name="connsiteX6673" fmla="*/ 6457449 w 6666359"/>
              <a:gd name="connsiteY6673" fmla="*/ 1979412 h 4343113"/>
              <a:gd name="connsiteX6674" fmla="*/ 6444551 w 6666359"/>
              <a:gd name="connsiteY6674" fmla="*/ 1979412 h 4343113"/>
              <a:gd name="connsiteX6675" fmla="*/ 6434877 w 6666359"/>
              <a:gd name="connsiteY6675" fmla="*/ 1979412 h 4343113"/>
              <a:gd name="connsiteX6676" fmla="*/ 6428428 w 6666359"/>
              <a:gd name="connsiteY6676" fmla="*/ 1985861 h 4343113"/>
              <a:gd name="connsiteX6677" fmla="*/ 6425204 w 6666359"/>
              <a:gd name="connsiteY6677" fmla="*/ 1979412 h 4343113"/>
              <a:gd name="connsiteX6678" fmla="*/ 6415530 w 6666359"/>
              <a:gd name="connsiteY6678" fmla="*/ 1972962 h 4343113"/>
              <a:gd name="connsiteX6679" fmla="*/ 6415530 w 6666359"/>
              <a:gd name="connsiteY6679" fmla="*/ 1969738 h 4343113"/>
              <a:gd name="connsiteX6680" fmla="*/ 6418754 w 6666359"/>
              <a:gd name="connsiteY6680" fmla="*/ 1963288 h 4343113"/>
              <a:gd name="connsiteX6681" fmla="*/ 6425204 w 6666359"/>
              <a:gd name="connsiteY6681" fmla="*/ 1953614 h 4343113"/>
              <a:gd name="connsiteX6682" fmla="*/ 6431653 w 6666359"/>
              <a:gd name="connsiteY6682" fmla="*/ 1937491 h 4343113"/>
              <a:gd name="connsiteX6683" fmla="*/ 6418754 w 6666359"/>
              <a:gd name="connsiteY6683" fmla="*/ 1927817 h 4343113"/>
              <a:gd name="connsiteX6684" fmla="*/ 6415530 w 6666359"/>
              <a:gd name="connsiteY6684" fmla="*/ 1927817 h 4343113"/>
              <a:gd name="connsiteX6685" fmla="*/ 6412305 w 6666359"/>
              <a:gd name="connsiteY6685" fmla="*/ 1927817 h 4343113"/>
              <a:gd name="connsiteX6686" fmla="*/ 6409081 w 6666359"/>
              <a:gd name="connsiteY6686" fmla="*/ 1924592 h 4343113"/>
              <a:gd name="connsiteX6687" fmla="*/ 6409081 w 6666359"/>
              <a:gd name="connsiteY6687" fmla="*/ 1922335 h 4343113"/>
              <a:gd name="connsiteX6688" fmla="*/ 6406661 w 6666359"/>
              <a:gd name="connsiteY6688" fmla="*/ 1922173 h 4343113"/>
              <a:gd name="connsiteX6689" fmla="*/ 6405693 w 6666359"/>
              <a:gd name="connsiteY6689" fmla="*/ 1921528 h 4343113"/>
              <a:gd name="connsiteX6690" fmla="*/ 6402631 w 6666359"/>
              <a:gd name="connsiteY6690" fmla="*/ 1924591 h 4343113"/>
              <a:gd name="connsiteX6691" fmla="*/ 6389733 w 6666359"/>
              <a:gd name="connsiteY6691" fmla="*/ 1924591 h 4343113"/>
              <a:gd name="connsiteX6692" fmla="*/ 6380059 w 6666359"/>
              <a:gd name="connsiteY6692" fmla="*/ 1927816 h 4343113"/>
              <a:gd name="connsiteX6693" fmla="*/ 6363934 w 6666359"/>
              <a:gd name="connsiteY6693" fmla="*/ 1934266 h 4343113"/>
              <a:gd name="connsiteX6694" fmla="*/ 6354260 w 6666359"/>
              <a:gd name="connsiteY6694" fmla="*/ 1947164 h 4343113"/>
              <a:gd name="connsiteX6695" fmla="*/ 6347811 w 6666359"/>
              <a:gd name="connsiteY6695" fmla="*/ 1950389 h 4343113"/>
              <a:gd name="connsiteX6696" fmla="*/ 6344586 w 6666359"/>
              <a:gd name="connsiteY6696" fmla="*/ 1953613 h 4343113"/>
              <a:gd name="connsiteX6697" fmla="*/ 6338137 w 6666359"/>
              <a:gd name="connsiteY6697" fmla="*/ 1956838 h 4343113"/>
              <a:gd name="connsiteX6698" fmla="*/ 6334913 w 6666359"/>
              <a:gd name="connsiteY6698" fmla="*/ 1950389 h 4343113"/>
              <a:gd name="connsiteX6699" fmla="*/ 6338137 w 6666359"/>
              <a:gd name="connsiteY6699" fmla="*/ 1950389 h 4343113"/>
              <a:gd name="connsiteX6700" fmla="*/ 6344586 w 6666359"/>
              <a:gd name="connsiteY6700" fmla="*/ 1947164 h 4343113"/>
              <a:gd name="connsiteX6701" fmla="*/ 6347811 w 6666359"/>
              <a:gd name="connsiteY6701" fmla="*/ 1943939 h 4343113"/>
              <a:gd name="connsiteX6702" fmla="*/ 6347811 w 6666359"/>
              <a:gd name="connsiteY6702" fmla="*/ 1940714 h 4343113"/>
              <a:gd name="connsiteX6703" fmla="*/ 6347811 w 6666359"/>
              <a:gd name="connsiteY6703" fmla="*/ 1937490 h 4343113"/>
              <a:gd name="connsiteX6704" fmla="*/ 6344586 w 6666359"/>
              <a:gd name="connsiteY6704" fmla="*/ 1934266 h 4343113"/>
              <a:gd name="connsiteX6705" fmla="*/ 6338137 w 6666359"/>
              <a:gd name="connsiteY6705" fmla="*/ 1934266 h 4343113"/>
              <a:gd name="connsiteX6706" fmla="*/ 6344586 w 6666359"/>
              <a:gd name="connsiteY6706" fmla="*/ 1924591 h 4343113"/>
              <a:gd name="connsiteX6707" fmla="*/ 6347811 w 6666359"/>
              <a:gd name="connsiteY6707" fmla="*/ 1921366 h 4343113"/>
              <a:gd name="connsiteX6708" fmla="*/ 6354260 w 6666359"/>
              <a:gd name="connsiteY6708" fmla="*/ 1914917 h 4343113"/>
              <a:gd name="connsiteX6709" fmla="*/ 6360709 w 6666359"/>
              <a:gd name="connsiteY6709" fmla="*/ 1905243 h 4343113"/>
              <a:gd name="connsiteX6710" fmla="*/ 6357485 w 6666359"/>
              <a:gd name="connsiteY6710" fmla="*/ 1898793 h 4343113"/>
              <a:gd name="connsiteX6711" fmla="*/ 6344586 w 6666359"/>
              <a:gd name="connsiteY6711" fmla="*/ 1895569 h 4343113"/>
              <a:gd name="connsiteX6712" fmla="*/ 6338137 w 6666359"/>
              <a:gd name="connsiteY6712" fmla="*/ 1892345 h 4343113"/>
              <a:gd name="connsiteX6713" fmla="*/ 6325239 w 6666359"/>
              <a:gd name="connsiteY6713" fmla="*/ 1905243 h 4343113"/>
              <a:gd name="connsiteX6714" fmla="*/ 6322013 w 6666359"/>
              <a:gd name="connsiteY6714" fmla="*/ 1908467 h 4343113"/>
              <a:gd name="connsiteX6715" fmla="*/ 6322013 w 6666359"/>
              <a:gd name="connsiteY6715" fmla="*/ 1911692 h 4343113"/>
              <a:gd name="connsiteX6716" fmla="*/ 6315565 w 6666359"/>
              <a:gd name="connsiteY6716" fmla="*/ 1914917 h 4343113"/>
              <a:gd name="connsiteX6717" fmla="*/ 6296215 w 6666359"/>
              <a:gd name="connsiteY6717" fmla="*/ 1937490 h 4343113"/>
              <a:gd name="connsiteX6718" fmla="*/ 6283317 w 6666359"/>
              <a:gd name="connsiteY6718" fmla="*/ 1943939 h 4343113"/>
              <a:gd name="connsiteX6719" fmla="*/ 6273643 w 6666359"/>
              <a:gd name="connsiteY6719" fmla="*/ 1947164 h 4343113"/>
              <a:gd name="connsiteX6720" fmla="*/ 6270418 w 6666359"/>
              <a:gd name="connsiteY6720" fmla="*/ 1943939 h 4343113"/>
              <a:gd name="connsiteX6721" fmla="*/ 6267194 w 6666359"/>
              <a:gd name="connsiteY6721" fmla="*/ 1940714 h 4343113"/>
              <a:gd name="connsiteX6722" fmla="*/ 6260745 w 6666359"/>
              <a:gd name="connsiteY6722" fmla="*/ 1947164 h 4343113"/>
              <a:gd name="connsiteX6723" fmla="*/ 6257520 w 6666359"/>
              <a:gd name="connsiteY6723" fmla="*/ 1956838 h 4343113"/>
              <a:gd name="connsiteX6724" fmla="*/ 6263969 w 6666359"/>
              <a:gd name="connsiteY6724" fmla="*/ 1966513 h 4343113"/>
              <a:gd name="connsiteX6725" fmla="*/ 6267194 w 6666359"/>
              <a:gd name="connsiteY6725" fmla="*/ 1972961 h 4343113"/>
              <a:gd name="connsiteX6726" fmla="*/ 6276868 w 6666359"/>
              <a:gd name="connsiteY6726" fmla="*/ 1972961 h 4343113"/>
              <a:gd name="connsiteX6727" fmla="*/ 6286541 w 6666359"/>
              <a:gd name="connsiteY6727" fmla="*/ 1969737 h 4343113"/>
              <a:gd name="connsiteX6728" fmla="*/ 6286541 w 6666359"/>
              <a:gd name="connsiteY6728" fmla="*/ 1972961 h 4343113"/>
              <a:gd name="connsiteX6729" fmla="*/ 6289767 w 6666359"/>
              <a:gd name="connsiteY6729" fmla="*/ 1982635 h 4343113"/>
              <a:gd name="connsiteX6730" fmla="*/ 6289767 w 6666359"/>
              <a:gd name="connsiteY6730" fmla="*/ 1992310 h 4343113"/>
              <a:gd name="connsiteX6731" fmla="*/ 6292991 w 6666359"/>
              <a:gd name="connsiteY6731" fmla="*/ 1998759 h 4343113"/>
              <a:gd name="connsiteX6732" fmla="*/ 6305891 w 6666359"/>
              <a:gd name="connsiteY6732" fmla="*/ 1998759 h 4343113"/>
              <a:gd name="connsiteX6733" fmla="*/ 6309115 w 6666359"/>
              <a:gd name="connsiteY6733" fmla="*/ 1995534 h 4343113"/>
              <a:gd name="connsiteX6734" fmla="*/ 6318789 w 6666359"/>
              <a:gd name="connsiteY6734" fmla="*/ 1985860 h 4343113"/>
              <a:gd name="connsiteX6735" fmla="*/ 6318789 w 6666359"/>
              <a:gd name="connsiteY6735" fmla="*/ 1982635 h 4343113"/>
              <a:gd name="connsiteX6736" fmla="*/ 6322013 w 6666359"/>
              <a:gd name="connsiteY6736" fmla="*/ 1982635 h 4343113"/>
              <a:gd name="connsiteX6737" fmla="*/ 6328463 w 6666359"/>
              <a:gd name="connsiteY6737" fmla="*/ 1979411 h 4343113"/>
              <a:gd name="connsiteX6738" fmla="*/ 6338137 w 6666359"/>
              <a:gd name="connsiteY6738" fmla="*/ 1989085 h 4343113"/>
              <a:gd name="connsiteX6739" fmla="*/ 6344586 w 6666359"/>
              <a:gd name="connsiteY6739" fmla="*/ 1992310 h 4343113"/>
              <a:gd name="connsiteX6740" fmla="*/ 6354260 w 6666359"/>
              <a:gd name="connsiteY6740" fmla="*/ 1989085 h 4343113"/>
              <a:gd name="connsiteX6741" fmla="*/ 6357485 w 6666359"/>
              <a:gd name="connsiteY6741" fmla="*/ 1989085 h 4343113"/>
              <a:gd name="connsiteX6742" fmla="*/ 6360709 w 6666359"/>
              <a:gd name="connsiteY6742" fmla="*/ 1992310 h 4343113"/>
              <a:gd name="connsiteX6743" fmla="*/ 6363934 w 6666359"/>
              <a:gd name="connsiteY6743" fmla="*/ 1992310 h 4343113"/>
              <a:gd name="connsiteX6744" fmla="*/ 6370383 w 6666359"/>
              <a:gd name="connsiteY6744" fmla="*/ 1992310 h 4343113"/>
              <a:gd name="connsiteX6745" fmla="*/ 6367159 w 6666359"/>
              <a:gd name="connsiteY6745" fmla="*/ 1998759 h 4343113"/>
              <a:gd name="connsiteX6746" fmla="*/ 6363934 w 6666359"/>
              <a:gd name="connsiteY6746" fmla="*/ 2008434 h 4343113"/>
              <a:gd name="connsiteX6747" fmla="*/ 6360709 w 6666359"/>
              <a:gd name="connsiteY6747" fmla="*/ 2005208 h 4343113"/>
              <a:gd name="connsiteX6748" fmla="*/ 6351036 w 6666359"/>
              <a:gd name="connsiteY6748" fmla="*/ 2008434 h 4343113"/>
              <a:gd name="connsiteX6749" fmla="*/ 6338137 w 6666359"/>
              <a:gd name="connsiteY6749" fmla="*/ 2011658 h 4343113"/>
              <a:gd name="connsiteX6750" fmla="*/ 6331688 w 6666359"/>
              <a:gd name="connsiteY6750" fmla="*/ 2014882 h 4343113"/>
              <a:gd name="connsiteX6751" fmla="*/ 6328463 w 6666359"/>
              <a:gd name="connsiteY6751" fmla="*/ 2021332 h 4343113"/>
              <a:gd name="connsiteX6752" fmla="*/ 6325239 w 6666359"/>
              <a:gd name="connsiteY6752" fmla="*/ 2027781 h 4343113"/>
              <a:gd name="connsiteX6753" fmla="*/ 6318789 w 6666359"/>
              <a:gd name="connsiteY6753" fmla="*/ 2027781 h 4343113"/>
              <a:gd name="connsiteX6754" fmla="*/ 6312339 w 6666359"/>
              <a:gd name="connsiteY6754" fmla="*/ 2037455 h 4343113"/>
              <a:gd name="connsiteX6755" fmla="*/ 6296215 w 6666359"/>
              <a:gd name="connsiteY6755" fmla="*/ 2053579 h 4343113"/>
              <a:gd name="connsiteX6756" fmla="*/ 6292991 w 6666359"/>
              <a:gd name="connsiteY6756" fmla="*/ 2063253 h 4343113"/>
              <a:gd name="connsiteX6757" fmla="*/ 6302665 w 6666359"/>
              <a:gd name="connsiteY6757" fmla="*/ 2069702 h 4343113"/>
              <a:gd name="connsiteX6758" fmla="*/ 6318789 w 6666359"/>
              <a:gd name="connsiteY6758" fmla="*/ 2076152 h 4343113"/>
              <a:gd name="connsiteX6759" fmla="*/ 6322013 w 6666359"/>
              <a:gd name="connsiteY6759" fmla="*/ 2085826 h 4343113"/>
              <a:gd name="connsiteX6760" fmla="*/ 6322013 w 6666359"/>
              <a:gd name="connsiteY6760" fmla="*/ 2092275 h 4343113"/>
              <a:gd name="connsiteX6761" fmla="*/ 6328463 w 6666359"/>
              <a:gd name="connsiteY6761" fmla="*/ 2105174 h 4343113"/>
              <a:gd name="connsiteX6762" fmla="*/ 6331688 w 6666359"/>
              <a:gd name="connsiteY6762" fmla="*/ 2114849 h 4343113"/>
              <a:gd name="connsiteX6763" fmla="*/ 6331688 w 6666359"/>
              <a:gd name="connsiteY6763" fmla="*/ 2121297 h 4343113"/>
              <a:gd name="connsiteX6764" fmla="*/ 6338137 w 6666359"/>
              <a:gd name="connsiteY6764" fmla="*/ 2124522 h 4343113"/>
              <a:gd name="connsiteX6765" fmla="*/ 6344586 w 6666359"/>
              <a:gd name="connsiteY6765" fmla="*/ 2130971 h 4343113"/>
              <a:gd name="connsiteX6766" fmla="*/ 6354260 w 6666359"/>
              <a:gd name="connsiteY6766" fmla="*/ 2140646 h 4343113"/>
              <a:gd name="connsiteX6767" fmla="*/ 6341362 w 6666359"/>
              <a:gd name="connsiteY6767" fmla="*/ 2140646 h 4343113"/>
              <a:gd name="connsiteX6768" fmla="*/ 6328463 w 6666359"/>
              <a:gd name="connsiteY6768" fmla="*/ 2134196 h 4343113"/>
              <a:gd name="connsiteX6769" fmla="*/ 6328463 w 6666359"/>
              <a:gd name="connsiteY6769" fmla="*/ 2140646 h 4343113"/>
              <a:gd name="connsiteX6770" fmla="*/ 6334913 w 6666359"/>
              <a:gd name="connsiteY6770" fmla="*/ 2140646 h 4343113"/>
              <a:gd name="connsiteX6771" fmla="*/ 6344586 w 6666359"/>
              <a:gd name="connsiteY6771" fmla="*/ 2150320 h 4343113"/>
              <a:gd name="connsiteX6772" fmla="*/ 6354260 w 6666359"/>
              <a:gd name="connsiteY6772" fmla="*/ 2163218 h 4343113"/>
              <a:gd name="connsiteX6773" fmla="*/ 6344586 w 6666359"/>
              <a:gd name="connsiteY6773" fmla="*/ 2166443 h 4343113"/>
              <a:gd name="connsiteX6774" fmla="*/ 6325239 w 6666359"/>
              <a:gd name="connsiteY6774" fmla="*/ 2176117 h 4343113"/>
              <a:gd name="connsiteX6775" fmla="*/ 6322013 w 6666359"/>
              <a:gd name="connsiteY6775" fmla="*/ 2176117 h 4343113"/>
              <a:gd name="connsiteX6776" fmla="*/ 6315565 w 6666359"/>
              <a:gd name="connsiteY6776" fmla="*/ 2182567 h 4343113"/>
              <a:gd name="connsiteX6777" fmla="*/ 6318789 w 6666359"/>
              <a:gd name="connsiteY6777" fmla="*/ 2182567 h 4343113"/>
              <a:gd name="connsiteX6778" fmla="*/ 6325239 w 6666359"/>
              <a:gd name="connsiteY6778" fmla="*/ 2182567 h 4343113"/>
              <a:gd name="connsiteX6779" fmla="*/ 6338137 w 6666359"/>
              <a:gd name="connsiteY6779" fmla="*/ 2179342 h 4343113"/>
              <a:gd name="connsiteX6780" fmla="*/ 6344586 w 6666359"/>
              <a:gd name="connsiteY6780" fmla="*/ 2182567 h 4343113"/>
              <a:gd name="connsiteX6781" fmla="*/ 6357485 w 6666359"/>
              <a:gd name="connsiteY6781" fmla="*/ 2189017 h 4343113"/>
              <a:gd name="connsiteX6782" fmla="*/ 6351036 w 6666359"/>
              <a:gd name="connsiteY6782" fmla="*/ 2195465 h 4343113"/>
              <a:gd name="connsiteX6783" fmla="*/ 6354260 w 6666359"/>
              <a:gd name="connsiteY6783" fmla="*/ 2201915 h 4343113"/>
              <a:gd name="connsiteX6784" fmla="*/ 6354260 w 6666359"/>
              <a:gd name="connsiteY6784" fmla="*/ 2208364 h 4343113"/>
              <a:gd name="connsiteX6785" fmla="*/ 6351036 w 6666359"/>
              <a:gd name="connsiteY6785" fmla="*/ 2211589 h 4343113"/>
              <a:gd name="connsiteX6786" fmla="*/ 6347811 w 6666359"/>
              <a:gd name="connsiteY6786" fmla="*/ 2224488 h 4343113"/>
              <a:gd name="connsiteX6787" fmla="*/ 6341362 w 6666359"/>
              <a:gd name="connsiteY6787" fmla="*/ 2230937 h 4343113"/>
              <a:gd name="connsiteX6788" fmla="*/ 6328463 w 6666359"/>
              <a:gd name="connsiteY6788" fmla="*/ 2237386 h 4343113"/>
              <a:gd name="connsiteX6789" fmla="*/ 6328463 w 6666359"/>
              <a:gd name="connsiteY6789" fmla="*/ 2243836 h 4343113"/>
              <a:gd name="connsiteX6790" fmla="*/ 6322013 w 6666359"/>
              <a:gd name="connsiteY6790" fmla="*/ 2253510 h 4343113"/>
              <a:gd name="connsiteX6791" fmla="*/ 6318789 w 6666359"/>
              <a:gd name="connsiteY6791" fmla="*/ 2259959 h 4343113"/>
              <a:gd name="connsiteX6792" fmla="*/ 6312339 w 6666359"/>
              <a:gd name="connsiteY6792" fmla="*/ 2266409 h 4343113"/>
              <a:gd name="connsiteX6793" fmla="*/ 6305891 w 6666359"/>
              <a:gd name="connsiteY6793" fmla="*/ 2266409 h 4343113"/>
              <a:gd name="connsiteX6794" fmla="*/ 6302665 w 6666359"/>
              <a:gd name="connsiteY6794" fmla="*/ 2269633 h 4343113"/>
              <a:gd name="connsiteX6795" fmla="*/ 6305891 w 6666359"/>
              <a:gd name="connsiteY6795" fmla="*/ 2272858 h 4343113"/>
              <a:gd name="connsiteX6796" fmla="*/ 6305891 w 6666359"/>
              <a:gd name="connsiteY6796" fmla="*/ 2279307 h 4343113"/>
              <a:gd name="connsiteX6797" fmla="*/ 6305891 w 6666359"/>
              <a:gd name="connsiteY6797" fmla="*/ 2285757 h 4343113"/>
              <a:gd name="connsiteX6798" fmla="*/ 6302665 w 6666359"/>
              <a:gd name="connsiteY6798" fmla="*/ 2295430 h 4343113"/>
              <a:gd name="connsiteX6799" fmla="*/ 6302665 w 6666359"/>
              <a:gd name="connsiteY6799" fmla="*/ 2301880 h 4343113"/>
              <a:gd name="connsiteX6800" fmla="*/ 6286541 w 6666359"/>
              <a:gd name="connsiteY6800" fmla="*/ 2311554 h 4343113"/>
              <a:gd name="connsiteX6801" fmla="*/ 6283317 w 6666359"/>
              <a:gd name="connsiteY6801" fmla="*/ 2318004 h 4343113"/>
              <a:gd name="connsiteX6802" fmla="*/ 6280093 w 6666359"/>
              <a:gd name="connsiteY6802" fmla="*/ 2321229 h 4343113"/>
              <a:gd name="connsiteX6803" fmla="*/ 6267194 w 6666359"/>
              <a:gd name="connsiteY6803" fmla="*/ 2330903 h 4343113"/>
              <a:gd name="connsiteX6804" fmla="*/ 6260745 w 6666359"/>
              <a:gd name="connsiteY6804" fmla="*/ 2334127 h 4343113"/>
              <a:gd name="connsiteX6805" fmla="*/ 6257520 w 6666359"/>
              <a:gd name="connsiteY6805" fmla="*/ 2337352 h 4343113"/>
              <a:gd name="connsiteX6806" fmla="*/ 6254295 w 6666359"/>
              <a:gd name="connsiteY6806" fmla="*/ 2337352 h 4343113"/>
              <a:gd name="connsiteX6807" fmla="*/ 6251071 w 6666359"/>
              <a:gd name="connsiteY6807" fmla="*/ 2343801 h 4343113"/>
              <a:gd name="connsiteX6808" fmla="*/ 6244621 w 6666359"/>
              <a:gd name="connsiteY6808" fmla="*/ 2343801 h 4343113"/>
              <a:gd name="connsiteX6809" fmla="*/ 6241397 w 6666359"/>
              <a:gd name="connsiteY6809" fmla="*/ 2347026 h 4343113"/>
              <a:gd name="connsiteX6810" fmla="*/ 6241397 w 6666359"/>
              <a:gd name="connsiteY6810" fmla="*/ 2350251 h 4343113"/>
              <a:gd name="connsiteX6811" fmla="*/ 6238172 w 6666359"/>
              <a:gd name="connsiteY6811" fmla="*/ 2353475 h 4343113"/>
              <a:gd name="connsiteX6812" fmla="*/ 6234947 w 6666359"/>
              <a:gd name="connsiteY6812" fmla="*/ 2353475 h 4343113"/>
              <a:gd name="connsiteX6813" fmla="*/ 6231723 w 6666359"/>
              <a:gd name="connsiteY6813" fmla="*/ 2359925 h 4343113"/>
              <a:gd name="connsiteX6814" fmla="*/ 6218823 w 6666359"/>
              <a:gd name="connsiteY6814" fmla="*/ 2363150 h 4343113"/>
              <a:gd name="connsiteX6815" fmla="*/ 6215599 w 6666359"/>
              <a:gd name="connsiteY6815" fmla="*/ 2363150 h 4343113"/>
              <a:gd name="connsiteX6816" fmla="*/ 6212373 w 6666359"/>
              <a:gd name="connsiteY6816" fmla="*/ 2366374 h 4343113"/>
              <a:gd name="connsiteX6817" fmla="*/ 6205925 w 6666359"/>
              <a:gd name="connsiteY6817" fmla="*/ 2363150 h 4343113"/>
              <a:gd name="connsiteX6818" fmla="*/ 6199475 w 6666359"/>
              <a:gd name="connsiteY6818" fmla="*/ 2366374 h 4343113"/>
              <a:gd name="connsiteX6819" fmla="*/ 6189801 w 6666359"/>
              <a:gd name="connsiteY6819" fmla="*/ 2369598 h 4343113"/>
              <a:gd name="connsiteX6820" fmla="*/ 6183352 w 6666359"/>
              <a:gd name="connsiteY6820" fmla="*/ 2366374 h 4343113"/>
              <a:gd name="connsiteX6821" fmla="*/ 6180127 w 6666359"/>
              <a:gd name="connsiteY6821" fmla="*/ 2369598 h 4343113"/>
              <a:gd name="connsiteX6822" fmla="*/ 6176903 w 6666359"/>
              <a:gd name="connsiteY6822" fmla="*/ 2369598 h 4343113"/>
              <a:gd name="connsiteX6823" fmla="*/ 6170453 w 6666359"/>
              <a:gd name="connsiteY6823" fmla="*/ 2359925 h 4343113"/>
              <a:gd name="connsiteX6824" fmla="*/ 6170453 w 6666359"/>
              <a:gd name="connsiteY6824" fmla="*/ 2353475 h 4343113"/>
              <a:gd name="connsiteX6825" fmla="*/ 6167229 w 6666359"/>
              <a:gd name="connsiteY6825" fmla="*/ 2356700 h 4343113"/>
              <a:gd name="connsiteX6826" fmla="*/ 6164004 w 6666359"/>
              <a:gd name="connsiteY6826" fmla="*/ 2359925 h 4343113"/>
              <a:gd name="connsiteX6827" fmla="*/ 6170453 w 6666359"/>
              <a:gd name="connsiteY6827" fmla="*/ 2363150 h 4343113"/>
              <a:gd name="connsiteX6828" fmla="*/ 6170453 w 6666359"/>
              <a:gd name="connsiteY6828" fmla="*/ 2372824 h 4343113"/>
              <a:gd name="connsiteX6829" fmla="*/ 6167229 w 6666359"/>
              <a:gd name="connsiteY6829" fmla="*/ 2376048 h 4343113"/>
              <a:gd name="connsiteX6830" fmla="*/ 6164004 w 6666359"/>
              <a:gd name="connsiteY6830" fmla="*/ 2379273 h 4343113"/>
              <a:gd name="connsiteX6831" fmla="*/ 6147881 w 6666359"/>
              <a:gd name="connsiteY6831" fmla="*/ 2385722 h 4343113"/>
              <a:gd name="connsiteX6832" fmla="*/ 6141431 w 6666359"/>
              <a:gd name="connsiteY6832" fmla="*/ 2385722 h 4343113"/>
              <a:gd name="connsiteX6833" fmla="*/ 6138206 w 6666359"/>
              <a:gd name="connsiteY6833" fmla="*/ 2385722 h 4343113"/>
              <a:gd name="connsiteX6834" fmla="*/ 6134981 w 6666359"/>
              <a:gd name="connsiteY6834" fmla="*/ 2388947 h 4343113"/>
              <a:gd name="connsiteX6835" fmla="*/ 6128532 w 6666359"/>
              <a:gd name="connsiteY6835" fmla="*/ 2392172 h 4343113"/>
              <a:gd name="connsiteX6836" fmla="*/ 6122082 w 6666359"/>
              <a:gd name="connsiteY6836" fmla="*/ 2392172 h 4343113"/>
              <a:gd name="connsiteX6837" fmla="*/ 6118858 w 6666359"/>
              <a:gd name="connsiteY6837" fmla="*/ 2392172 h 4343113"/>
              <a:gd name="connsiteX6838" fmla="*/ 6115633 w 6666359"/>
              <a:gd name="connsiteY6838" fmla="*/ 2392172 h 4343113"/>
              <a:gd name="connsiteX6839" fmla="*/ 6115633 w 6666359"/>
              <a:gd name="connsiteY6839" fmla="*/ 2395397 h 4343113"/>
              <a:gd name="connsiteX6840" fmla="*/ 6109184 w 6666359"/>
              <a:gd name="connsiteY6840" fmla="*/ 2395397 h 4343113"/>
              <a:gd name="connsiteX6841" fmla="*/ 6105960 w 6666359"/>
              <a:gd name="connsiteY6841" fmla="*/ 2398621 h 4343113"/>
              <a:gd name="connsiteX6842" fmla="*/ 6102735 w 6666359"/>
              <a:gd name="connsiteY6842" fmla="*/ 2398621 h 4343113"/>
              <a:gd name="connsiteX6843" fmla="*/ 6096285 w 6666359"/>
              <a:gd name="connsiteY6843" fmla="*/ 2401845 h 4343113"/>
              <a:gd name="connsiteX6844" fmla="*/ 6096285 w 6666359"/>
              <a:gd name="connsiteY6844" fmla="*/ 2408295 h 4343113"/>
              <a:gd name="connsiteX6845" fmla="*/ 6099510 w 6666359"/>
              <a:gd name="connsiteY6845" fmla="*/ 2408295 h 4343113"/>
              <a:gd name="connsiteX6846" fmla="*/ 6099510 w 6666359"/>
              <a:gd name="connsiteY6846" fmla="*/ 2411520 h 4343113"/>
              <a:gd name="connsiteX6847" fmla="*/ 6102735 w 6666359"/>
              <a:gd name="connsiteY6847" fmla="*/ 2414745 h 4343113"/>
              <a:gd name="connsiteX6848" fmla="*/ 6099510 w 6666359"/>
              <a:gd name="connsiteY6848" fmla="*/ 2421194 h 4343113"/>
              <a:gd name="connsiteX6849" fmla="*/ 6093061 w 6666359"/>
              <a:gd name="connsiteY6849" fmla="*/ 2421194 h 4343113"/>
              <a:gd name="connsiteX6850" fmla="*/ 6086611 w 6666359"/>
              <a:gd name="connsiteY6850" fmla="*/ 2411520 h 4343113"/>
              <a:gd name="connsiteX6851" fmla="*/ 6086611 w 6666359"/>
              <a:gd name="connsiteY6851" fmla="*/ 2408295 h 4343113"/>
              <a:gd name="connsiteX6852" fmla="*/ 6083387 w 6666359"/>
              <a:gd name="connsiteY6852" fmla="*/ 2408295 h 4343113"/>
              <a:gd name="connsiteX6853" fmla="*/ 6086611 w 6666359"/>
              <a:gd name="connsiteY6853" fmla="*/ 2401845 h 4343113"/>
              <a:gd name="connsiteX6854" fmla="*/ 6086611 w 6666359"/>
              <a:gd name="connsiteY6854" fmla="*/ 2395397 h 4343113"/>
              <a:gd name="connsiteX6855" fmla="*/ 6089837 w 6666359"/>
              <a:gd name="connsiteY6855" fmla="*/ 2395397 h 4343113"/>
              <a:gd name="connsiteX6856" fmla="*/ 6089837 w 6666359"/>
              <a:gd name="connsiteY6856" fmla="*/ 2392172 h 4343113"/>
              <a:gd name="connsiteX6857" fmla="*/ 6073713 w 6666359"/>
              <a:gd name="connsiteY6857" fmla="*/ 2395397 h 4343113"/>
              <a:gd name="connsiteX6858" fmla="*/ 6070487 w 6666359"/>
              <a:gd name="connsiteY6858" fmla="*/ 2392172 h 4343113"/>
              <a:gd name="connsiteX6859" fmla="*/ 6067263 w 6666359"/>
              <a:gd name="connsiteY6859" fmla="*/ 2385722 h 4343113"/>
              <a:gd name="connsiteX6860" fmla="*/ 6060813 w 6666359"/>
              <a:gd name="connsiteY6860" fmla="*/ 2392172 h 4343113"/>
              <a:gd name="connsiteX6861" fmla="*/ 6047915 w 6666359"/>
              <a:gd name="connsiteY6861" fmla="*/ 2392172 h 4343113"/>
              <a:gd name="connsiteX6862" fmla="*/ 6044690 w 6666359"/>
              <a:gd name="connsiteY6862" fmla="*/ 2388947 h 4343113"/>
              <a:gd name="connsiteX6863" fmla="*/ 6043884 w 6666359"/>
              <a:gd name="connsiteY6863" fmla="*/ 2388947 h 4343113"/>
              <a:gd name="connsiteX6864" fmla="*/ 6043883 w 6666359"/>
              <a:gd name="connsiteY6864" fmla="*/ 2388948 h 4343113"/>
              <a:gd name="connsiteX6865" fmla="*/ 6044690 w 6666359"/>
              <a:gd name="connsiteY6865" fmla="*/ 2388948 h 4343113"/>
              <a:gd name="connsiteX6866" fmla="*/ 6047915 w 6666359"/>
              <a:gd name="connsiteY6866" fmla="*/ 2392173 h 4343113"/>
              <a:gd name="connsiteX6867" fmla="*/ 6044690 w 6666359"/>
              <a:gd name="connsiteY6867" fmla="*/ 2392173 h 4343113"/>
              <a:gd name="connsiteX6868" fmla="*/ 6035016 w 6666359"/>
              <a:gd name="connsiteY6868" fmla="*/ 2401847 h 4343113"/>
              <a:gd name="connsiteX6869" fmla="*/ 6035016 w 6666359"/>
              <a:gd name="connsiteY6869" fmla="*/ 2405072 h 4343113"/>
              <a:gd name="connsiteX6870" fmla="*/ 6028567 w 6666359"/>
              <a:gd name="connsiteY6870" fmla="*/ 2405072 h 4343113"/>
              <a:gd name="connsiteX6871" fmla="*/ 6018893 w 6666359"/>
              <a:gd name="connsiteY6871" fmla="*/ 2411520 h 4343113"/>
              <a:gd name="connsiteX6872" fmla="*/ 6015669 w 6666359"/>
              <a:gd name="connsiteY6872" fmla="*/ 2421195 h 4343113"/>
              <a:gd name="connsiteX6873" fmla="*/ 6015669 w 6666359"/>
              <a:gd name="connsiteY6873" fmla="*/ 2424420 h 4343113"/>
              <a:gd name="connsiteX6874" fmla="*/ 6005993 w 6666359"/>
              <a:gd name="connsiteY6874" fmla="*/ 2427644 h 4343113"/>
              <a:gd name="connsiteX6875" fmla="*/ 6002769 w 6666359"/>
              <a:gd name="connsiteY6875" fmla="*/ 2430869 h 4343113"/>
              <a:gd name="connsiteX6876" fmla="*/ 5999545 w 6666359"/>
              <a:gd name="connsiteY6876" fmla="*/ 2437319 h 4343113"/>
              <a:gd name="connsiteX6877" fmla="*/ 5999545 w 6666359"/>
              <a:gd name="connsiteY6877" fmla="*/ 2443767 h 4343113"/>
              <a:gd name="connsiteX6878" fmla="*/ 5999545 w 6666359"/>
              <a:gd name="connsiteY6878" fmla="*/ 2446993 h 4343113"/>
              <a:gd name="connsiteX6879" fmla="*/ 5996319 w 6666359"/>
              <a:gd name="connsiteY6879" fmla="*/ 2450217 h 4343113"/>
              <a:gd name="connsiteX6880" fmla="*/ 5999545 w 6666359"/>
              <a:gd name="connsiteY6880" fmla="*/ 2459891 h 4343113"/>
              <a:gd name="connsiteX6881" fmla="*/ 6005993 w 6666359"/>
              <a:gd name="connsiteY6881" fmla="*/ 2466341 h 4343113"/>
              <a:gd name="connsiteX6882" fmla="*/ 6015669 w 6666359"/>
              <a:gd name="connsiteY6882" fmla="*/ 2472790 h 4343113"/>
              <a:gd name="connsiteX6883" fmla="*/ 6015669 w 6666359"/>
              <a:gd name="connsiteY6883" fmla="*/ 2482464 h 4343113"/>
              <a:gd name="connsiteX6884" fmla="*/ 6028567 w 6666359"/>
              <a:gd name="connsiteY6884" fmla="*/ 2495363 h 4343113"/>
              <a:gd name="connsiteX6885" fmla="*/ 6035016 w 6666359"/>
              <a:gd name="connsiteY6885" fmla="*/ 2505037 h 4343113"/>
              <a:gd name="connsiteX6886" fmla="*/ 6041465 w 6666359"/>
              <a:gd name="connsiteY6886" fmla="*/ 2508262 h 4343113"/>
              <a:gd name="connsiteX6887" fmla="*/ 6047915 w 6666359"/>
              <a:gd name="connsiteY6887" fmla="*/ 2511487 h 4343113"/>
              <a:gd name="connsiteX6888" fmla="*/ 6051139 w 6666359"/>
              <a:gd name="connsiteY6888" fmla="*/ 2514711 h 4343113"/>
              <a:gd name="connsiteX6889" fmla="*/ 6054364 w 6666359"/>
              <a:gd name="connsiteY6889" fmla="*/ 2517935 h 4343113"/>
              <a:gd name="connsiteX6890" fmla="*/ 6064038 w 6666359"/>
              <a:gd name="connsiteY6890" fmla="*/ 2530835 h 4343113"/>
              <a:gd name="connsiteX6891" fmla="*/ 6070487 w 6666359"/>
              <a:gd name="connsiteY6891" fmla="*/ 2546958 h 4343113"/>
              <a:gd name="connsiteX6892" fmla="*/ 6073713 w 6666359"/>
              <a:gd name="connsiteY6892" fmla="*/ 2553408 h 4343113"/>
              <a:gd name="connsiteX6893" fmla="*/ 6076937 w 6666359"/>
              <a:gd name="connsiteY6893" fmla="*/ 2566306 h 4343113"/>
              <a:gd name="connsiteX6894" fmla="*/ 6076937 w 6666359"/>
              <a:gd name="connsiteY6894" fmla="*/ 2575980 h 4343113"/>
              <a:gd name="connsiteX6895" fmla="*/ 6076937 w 6666359"/>
              <a:gd name="connsiteY6895" fmla="*/ 2585655 h 4343113"/>
              <a:gd name="connsiteX6896" fmla="*/ 6080161 w 6666359"/>
              <a:gd name="connsiteY6896" fmla="*/ 2592103 h 4343113"/>
              <a:gd name="connsiteX6897" fmla="*/ 6076937 w 6666359"/>
              <a:gd name="connsiteY6897" fmla="*/ 2601778 h 4343113"/>
              <a:gd name="connsiteX6898" fmla="*/ 6076937 w 6666359"/>
              <a:gd name="connsiteY6898" fmla="*/ 2608227 h 4343113"/>
              <a:gd name="connsiteX6899" fmla="*/ 6073713 w 6666359"/>
              <a:gd name="connsiteY6899" fmla="*/ 2614677 h 4343113"/>
              <a:gd name="connsiteX6900" fmla="*/ 6067263 w 6666359"/>
              <a:gd name="connsiteY6900" fmla="*/ 2627576 h 4343113"/>
              <a:gd name="connsiteX6901" fmla="*/ 6051139 w 6666359"/>
              <a:gd name="connsiteY6901" fmla="*/ 2634024 h 4343113"/>
              <a:gd name="connsiteX6902" fmla="*/ 6035016 w 6666359"/>
              <a:gd name="connsiteY6902" fmla="*/ 2643699 h 4343113"/>
              <a:gd name="connsiteX6903" fmla="*/ 6018893 w 6666359"/>
              <a:gd name="connsiteY6903" fmla="*/ 2643699 h 4343113"/>
              <a:gd name="connsiteX6904" fmla="*/ 6012443 w 6666359"/>
              <a:gd name="connsiteY6904" fmla="*/ 2646924 h 4343113"/>
              <a:gd name="connsiteX6905" fmla="*/ 6022117 w 6666359"/>
              <a:gd name="connsiteY6905" fmla="*/ 2650148 h 4343113"/>
              <a:gd name="connsiteX6906" fmla="*/ 6018893 w 6666359"/>
              <a:gd name="connsiteY6906" fmla="*/ 2653373 h 4343113"/>
              <a:gd name="connsiteX6907" fmla="*/ 6015669 w 6666359"/>
              <a:gd name="connsiteY6907" fmla="*/ 2656598 h 4343113"/>
              <a:gd name="connsiteX6908" fmla="*/ 6015669 w 6666359"/>
              <a:gd name="connsiteY6908" fmla="*/ 2663047 h 4343113"/>
              <a:gd name="connsiteX6909" fmla="*/ 6009219 w 6666359"/>
              <a:gd name="connsiteY6909" fmla="*/ 2666271 h 4343113"/>
              <a:gd name="connsiteX6910" fmla="*/ 6005993 w 6666359"/>
              <a:gd name="connsiteY6910" fmla="*/ 2669497 h 4343113"/>
              <a:gd name="connsiteX6911" fmla="*/ 5999545 w 6666359"/>
              <a:gd name="connsiteY6911" fmla="*/ 2672721 h 4343113"/>
              <a:gd name="connsiteX6912" fmla="*/ 5993095 w 6666359"/>
              <a:gd name="connsiteY6912" fmla="*/ 2672721 h 4343113"/>
              <a:gd name="connsiteX6913" fmla="*/ 5989870 w 6666359"/>
              <a:gd name="connsiteY6913" fmla="*/ 2679171 h 4343113"/>
              <a:gd name="connsiteX6914" fmla="*/ 5980196 w 6666359"/>
              <a:gd name="connsiteY6914" fmla="*/ 2685620 h 4343113"/>
              <a:gd name="connsiteX6915" fmla="*/ 5976971 w 6666359"/>
              <a:gd name="connsiteY6915" fmla="*/ 2679171 h 4343113"/>
              <a:gd name="connsiteX6916" fmla="*/ 5976971 w 6666359"/>
              <a:gd name="connsiteY6916" fmla="*/ 2672721 h 4343113"/>
              <a:gd name="connsiteX6917" fmla="*/ 5980196 w 6666359"/>
              <a:gd name="connsiteY6917" fmla="*/ 2672721 h 4343113"/>
              <a:gd name="connsiteX6918" fmla="*/ 5980196 w 6666359"/>
              <a:gd name="connsiteY6918" fmla="*/ 2656598 h 4343113"/>
              <a:gd name="connsiteX6919" fmla="*/ 5986645 w 6666359"/>
              <a:gd name="connsiteY6919" fmla="*/ 2656598 h 4343113"/>
              <a:gd name="connsiteX6920" fmla="*/ 5980196 w 6666359"/>
              <a:gd name="connsiteY6920" fmla="*/ 2650148 h 4343113"/>
              <a:gd name="connsiteX6921" fmla="*/ 5970522 w 6666359"/>
              <a:gd name="connsiteY6921" fmla="*/ 2643699 h 4343113"/>
              <a:gd name="connsiteX6922" fmla="*/ 5964073 w 6666359"/>
              <a:gd name="connsiteY6922" fmla="*/ 2640474 h 4343113"/>
              <a:gd name="connsiteX6923" fmla="*/ 5957624 w 6666359"/>
              <a:gd name="connsiteY6923" fmla="*/ 2637250 h 4343113"/>
              <a:gd name="connsiteX6924" fmla="*/ 5951174 w 6666359"/>
              <a:gd name="connsiteY6924" fmla="*/ 2643699 h 4343113"/>
              <a:gd name="connsiteX6925" fmla="*/ 5954399 w 6666359"/>
              <a:gd name="connsiteY6925" fmla="*/ 2637250 h 4343113"/>
              <a:gd name="connsiteX6926" fmla="*/ 5954399 w 6666359"/>
              <a:gd name="connsiteY6926" fmla="*/ 2634024 h 4343113"/>
              <a:gd name="connsiteX6927" fmla="*/ 5951174 w 6666359"/>
              <a:gd name="connsiteY6927" fmla="*/ 2627576 h 4343113"/>
              <a:gd name="connsiteX6928" fmla="*/ 5947949 w 6666359"/>
              <a:gd name="connsiteY6928" fmla="*/ 2630800 h 4343113"/>
              <a:gd name="connsiteX6929" fmla="*/ 5941501 w 6666359"/>
              <a:gd name="connsiteY6929" fmla="*/ 2634024 h 4343113"/>
              <a:gd name="connsiteX6930" fmla="*/ 5941501 w 6666359"/>
              <a:gd name="connsiteY6930" fmla="*/ 2624350 h 4343113"/>
              <a:gd name="connsiteX6931" fmla="*/ 5941501 w 6666359"/>
              <a:gd name="connsiteY6931" fmla="*/ 2621126 h 4343113"/>
              <a:gd name="connsiteX6932" fmla="*/ 5938275 w 6666359"/>
              <a:gd name="connsiteY6932" fmla="*/ 2617902 h 4343113"/>
              <a:gd name="connsiteX6933" fmla="*/ 5931825 w 6666359"/>
              <a:gd name="connsiteY6933" fmla="*/ 2608227 h 4343113"/>
              <a:gd name="connsiteX6934" fmla="*/ 5922151 w 6666359"/>
              <a:gd name="connsiteY6934" fmla="*/ 2601778 h 4343113"/>
              <a:gd name="connsiteX6935" fmla="*/ 5912477 w 6666359"/>
              <a:gd name="connsiteY6935" fmla="*/ 2595329 h 4343113"/>
              <a:gd name="connsiteX6936" fmla="*/ 5899580 w 6666359"/>
              <a:gd name="connsiteY6936" fmla="*/ 2595329 h 4343113"/>
              <a:gd name="connsiteX6937" fmla="*/ 5893130 w 6666359"/>
              <a:gd name="connsiteY6937" fmla="*/ 2592103 h 4343113"/>
              <a:gd name="connsiteX6938" fmla="*/ 5893130 w 6666359"/>
              <a:gd name="connsiteY6938" fmla="*/ 2582430 h 4343113"/>
              <a:gd name="connsiteX6939" fmla="*/ 5893130 w 6666359"/>
              <a:gd name="connsiteY6939" fmla="*/ 2575980 h 4343113"/>
              <a:gd name="connsiteX6940" fmla="*/ 5889905 w 6666359"/>
              <a:gd name="connsiteY6940" fmla="*/ 2575980 h 4343113"/>
              <a:gd name="connsiteX6941" fmla="*/ 5886680 w 6666359"/>
              <a:gd name="connsiteY6941" fmla="*/ 2572756 h 4343113"/>
              <a:gd name="connsiteX6942" fmla="*/ 5880231 w 6666359"/>
              <a:gd name="connsiteY6942" fmla="*/ 2575980 h 4343113"/>
              <a:gd name="connsiteX6943" fmla="*/ 5873781 w 6666359"/>
              <a:gd name="connsiteY6943" fmla="*/ 2579205 h 4343113"/>
              <a:gd name="connsiteX6944" fmla="*/ 5873781 w 6666359"/>
              <a:gd name="connsiteY6944" fmla="*/ 2592103 h 4343113"/>
              <a:gd name="connsiteX6945" fmla="*/ 5870557 w 6666359"/>
              <a:gd name="connsiteY6945" fmla="*/ 2601778 h 4343113"/>
              <a:gd name="connsiteX6946" fmla="*/ 5860883 w 6666359"/>
              <a:gd name="connsiteY6946" fmla="*/ 2627576 h 4343113"/>
              <a:gd name="connsiteX6947" fmla="*/ 5857658 w 6666359"/>
              <a:gd name="connsiteY6947" fmla="*/ 2640474 h 4343113"/>
              <a:gd name="connsiteX6948" fmla="*/ 5854433 w 6666359"/>
              <a:gd name="connsiteY6948" fmla="*/ 2653373 h 4343113"/>
              <a:gd name="connsiteX6949" fmla="*/ 5854433 w 6666359"/>
              <a:gd name="connsiteY6949" fmla="*/ 2666271 h 4343113"/>
              <a:gd name="connsiteX6950" fmla="*/ 5857658 w 6666359"/>
              <a:gd name="connsiteY6950" fmla="*/ 2672721 h 4343113"/>
              <a:gd name="connsiteX6951" fmla="*/ 5870557 w 6666359"/>
              <a:gd name="connsiteY6951" fmla="*/ 2669497 h 4343113"/>
              <a:gd name="connsiteX6952" fmla="*/ 5873781 w 6666359"/>
              <a:gd name="connsiteY6952" fmla="*/ 2685620 h 4343113"/>
              <a:gd name="connsiteX6953" fmla="*/ 5877006 w 6666359"/>
              <a:gd name="connsiteY6953" fmla="*/ 2688845 h 4343113"/>
              <a:gd name="connsiteX6954" fmla="*/ 5880231 w 6666359"/>
              <a:gd name="connsiteY6954" fmla="*/ 2692070 h 4343113"/>
              <a:gd name="connsiteX6955" fmla="*/ 5883456 w 6666359"/>
              <a:gd name="connsiteY6955" fmla="*/ 2708192 h 4343113"/>
              <a:gd name="connsiteX6956" fmla="*/ 5880231 w 6666359"/>
              <a:gd name="connsiteY6956" fmla="*/ 2701744 h 4343113"/>
              <a:gd name="connsiteX6957" fmla="*/ 5877006 w 6666359"/>
              <a:gd name="connsiteY6957" fmla="*/ 2708192 h 4343113"/>
              <a:gd name="connsiteX6958" fmla="*/ 5880231 w 6666359"/>
              <a:gd name="connsiteY6958" fmla="*/ 2714642 h 4343113"/>
              <a:gd name="connsiteX6959" fmla="*/ 5886680 w 6666359"/>
              <a:gd name="connsiteY6959" fmla="*/ 2717867 h 4343113"/>
              <a:gd name="connsiteX6960" fmla="*/ 5896354 w 6666359"/>
              <a:gd name="connsiteY6960" fmla="*/ 2721092 h 4343113"/>
              <a:gd name="connsiteX6961" fmla="*/ 5906028 w 6666359"/>
              <a:gd name="connsiteY6961" fmla="*/ 2724316 h 4343113"/>
              <a:gd name="connsiteX6962" fmla="*/ 5918927 w 6666359"/>
              <a:gd name="connsiteY6962" fmla="*/ 2737215 h 4343113"/>
              <a:gd name="connsiteX6963" fmla="*/ 5925377 w 6666359"/>
              <a:gd name="connsiteY6963" fmla="*/ 2737215 h 4343113"/>
              <a:gd name="connsiteX6964" fmla="*/ 5935051 w 6666359"/>
              <a:gd name="connsiteY6964" fmla="*/ 2746889 h 4343113"/>
              <a:gd name="connsiteX6965" fmla="*/ 5944725 w 6666359"/>
              <a:gd name="connsiteY6965" fmla="*/ 2763013 h 4343113"/>
              <a:gd name="connsiteX6966" fmla="*/ 5947949 w 6666359"/>
              <a:gd name="connsiteY6966" fmla="*/ 2782360 h 4343113"/>
              <a:gd name="connsiteX6967" fmla="*/ 5947949 w 6666359"/>
              <a:gd name="connsiteY6967" fmla="*/ 2788810 h 4343113"/>
              <a:gd name="connsiteX6968" fmla="*/ 5947949 w 6666359"/>
              <a:gd name="connsiteY6968" fmla="*/ 2795260 h 4343113"/>
              <a:gd name="connsiteX6969" fmla="*/ 5954399 w 6666359"/>
              <a:gd name="connsiteY6969" fmla="*/ 2814607 h 4343113"/>
              <a:gd name="connsiteX6970" fmla="*/ 5957624 w 6666359"/>
              <a:gd name="connsiteY6970" fmla="*/ 2814607 h 4343113"/>
              <a:gd name="connsiteX6971" fmla="*/ 5960848 w 6666359"/>
              <a:gd name="connsiteY6971" fmla="*/ 2821057 h 4343113"/>
              <a:gd name="connsiteX6972" fmla="*/ 5964073 w 6666359"/>
              <a:gd name="connsiteY6972" fmla="*/ 2833956 h 4343113"/>
              <a:gd name="connsiteX6973" fmla="*/ 5964073 w 6666359"/>
              <a:gd name="connsiteY6973" fmla="*/ 2843630 h 4343113"/>
              <a:gd name="connsiteX6974" fmla="*/ 5954399 w 6666359"/>
              <a:gd name="connsiteY6974" fmla="*/ 2840406 h 4343113"/>
              <a:gd name="connsiteX6975" fmla="*/ 5941501 w 6666359"/>
              <a:gd name="connsiteY6975" fmla="*/ 2833956 h 4343113"/>
              <a:gd name="connsiteX6976" fmla="*/ 5931825 w 6666359"/>
              <a:gd name="connsiteY6976" fmla="*/ 2830731 h 4343113"/>
              <a:gd name="connsiteX6977" fmla="*/ 5928601 w 6666359"/>
              <a:gd name="connsiteY6977" fmla="*/ 2827507 h 4343113"/>
              <a:gd name="connsiteX6978" fmla="*/ 5909254 w 6666359"/>
              <a:gd name="connsiteY6978" fmla="*/ 2817833 h 4343113"/>
              <a:gd name="connsiteX6979" fmla="*/ 5902804 w 6666359"/>
              <a:gd name="connsiteY6979" fmla="*/ 2811383 h 4343113"/>
              <a:gd name="connsiteX6980" fmla="*/ 5902804 w 6666359"/>
              <a:gd name="connsiteY6980" fmla="*/ 2808159 h 4343113"/>
              <a:gd name="connsiteX6981" fmla="*/ 5893130 w 6666359"/>
              <a:gd name="connsiteY6981" fmla="*/ 2792035 h 4343113"/>
              <a:gd name="connsiteX6982" fmla="*/ 5889905 w 6666359"/>
              <a:gd name="connsiteY6982" fmla="*/ 2788810 h 4343113"/>
              <a:gd name="connsiteX6983" fmla="*/ 5893130 w 6666359"/>
              <a:gd name="connsiteY6983" fmla="*/ 2785586 h 4343113"/>
              <a:gd name="connsiteX6984" fmla="*/ 5886680 w 6666359"/>
              <a:gd name="connsiteY6984" fmla="*/ 2782360 h 4343113"/>
              <a:gd name="connsiteX6985" fmla="*/ 5886680 w 6666359"/>
              <a:gd name="connsiteY6985" fmla="*/ 2775912 h 4343113"/>
              <a:gd name="connsiteX6986" fmla="*/ 5883456 w 6666359"/>
              <a:gd name="connsiteY6986" fmla="*/ 2763013 h 4343113"/>
              <a:gd name="connsiteX6987" fmla="*/ 5880231 w 6666359"/>
              <a:gd name="connsiteY6987" fmla="*/ 2743665 h 4343113"/>
              <a:gd name="connsiteX6988" fmla="*/ 5877006 w 6666359"/>
              <a:gd name="connsiteY6988" fmla="*/ 2730765 h 4343113"/>
              <a:gd name="connsiteX6989" fmla="*/ 5867333 w 6666359"/>
              <a:gd name="connsiteY6989" fmla="*/ 2724316 h 4343113"/>
              <a:gd name="connsiteX6990" fmla="*/ 5867333 w 6666359"/>
              <a:gd name="connsiteY6990" fmla="*/ 2717867 h 4343113"/>
              <a:gd name="connsiteX6991" fmla="*/ 5857658 w 6666359"/>
              <a:gd name="connsiteY6991" fmla="*/ 2711418 h 4343113"/>
              <a:gd name="connsiteX6992" fmla="*/ 5851209 w 6666359"/>
              <a:gd name="connsiteY6992" fmla="*/ 2698518 h 4343113"/>
              <a:gd name="connsiteX6993" fmla="*/ 5844759 w 6666359"/>
              <a:gd name="connsiteY6993" fmla="*/ 2688845 h 4343113"/>
              <a:gd name="connsiteX6994" fmla="*/ 5838310 w 6666359"/>
              <a:gd name="connsiteY6994" fmla="*/ 2692070 h 4343113"/>
              <a:gd name="connsiteX6995" fmla="*/ 5838310 w 6666359"/>
              <a:gd name="connsiteY6995" fmla="*/ 2695294 h 4343113"/>
              <a:gd name="connsiteX6996" fmla="*/ 5835086 w 6666359"/>
              <a:gd name="connsiteY6996" fmla="*/ 2685620 h 4343113"/>
              <a:gd name="connsiteX6997" fmla="*/ 5838310 w 6666359"/>
              <a:gd name="connsiteY6997" fmla="*/ 2669497 h 4343113"/>
              <a:gd name="connsiteX6998" fmla="*/ 5841535 w 6666359"/>
              <a:gd name="connsiteY6998" fmla="*/ 2656598 h 4343113"/>
              <a:gd name="connsiteX6999" fmla="*/ 5841535 w 6666359"/>
              <a:gd name="connsiteY6999" fmla="*/ 2653373 h 4343113"/>
              <a:gd name="connsiteX7000" fmla="*/ 5838310 w 6666359"/>
              <a:gd name="connsiteY7000" fmla="*/ 2640474 h 4343113"/>
              <a:gd name="connsiteX7001" fmla="*/ 5838310 w 6666359"/>
              <a:gd name="connsiteY7001" fmla="*/ 2637250 h 4343113"/>
              <a:gd name="connsiteX7002" fmla="*/ 5841535 w 6666359"/>
              <a:gd name="connsiteY7002" fmla="*/ 2637250 h 4343113"/>
              <a:gd name="connsiteX7003" fmla="*/ 5844759 w 6666359"/>
              <a:gd name="connsiteY7003" fmla="*/ 2624350 h 4343113"/>
              <a:gd name="connsiteX7004" fmla="*/ 5844759 w 6666359"/>
              <a:gd name="connsiteY7004" fmla="*/ 2611452 h 4343113"/>
              <a:gd name="connsiteX7005" fmla="*/ 5841535 w 6666359"/>
              <a:gd name="connsiteY7005" fmla="*/ 2601778 h 4343113"/>
              <a:gd name="connsiteX7006" fmla="*/ 5844759 w 6666359"/>
              <a:gd name="connsiteY7006" fmla="*/ 2592103 h 4343113"/>
              <a:gd name="connsiteX7007" fmla="*/ 5838310 w 6666359"/>
              <a:gd name="connsiteY7007" fmla="*/ 2579205 h 4343113"/>
              <a:gd name="connsiteX7008" fmla="*/ 5835086 w 6666359"/>
              <a:gd name="connsiteY7008" fmla="*/ 2569531 h 4343113"/>
              <a:gd name="connsiteX7009" fmla="*/ 5835086 w 6666359"/>
              <a:gd name="connsiteY7009" fmla="*/ 2566306 h 4343113"/>
              <a:gd name="connsiteX7010" fmla="*/ 5831860 w 6666359"/>
              <a:gd name="connsiteY7010" fmla="*/ 2569531 h 4343113"/>
              <a:gd name="connsiteX7011" fmla="*/ 5825412 w 6666359"/>
              <a:gd name="connsiteY7011" fmla="*/ 2550182 h 4343113"/>
              <a:gd name="connsiteX7012" fmla="*/ 5825412 w 6666359"/>
              <a:gd name="connsiteY7012" fmla="*/ 2543734 h 4343113"/>
              <a:gd name="connsiteX7013" fmla="*/ 5825412 w 6666359"/>
              <a:gd name="connsiteY7013" fmla="*/ 2540509 h 4343113"/>
              <a:gd name="connsiteX7014" fmla="*/ 5825412 w 6666359"/>
              <a:gd name="connsiteY7014" fmla="*/ 2537284 h 4343113"/>
              <a:gd name="connsiteX7015" fmla="*/ 5825412 w 6666359"/>
              <a:gd name="connsiteY7015" fmla="*/ 2534059 h 4343113"/>
              <a:gd name="connsiteX7016" fmla="*/ 5822186 w 6666359"/>
              <a:gd name="connsiteY7016" fmla="*/ 2524385 h 4343113"/>
              <a:gd name="connsiteX7017" fmla="*/ 5822186 w 6666359"/>
              <a:gd name="connsiteY7017" fmla="*/ 2514711 h 4343113"/>
              <a:gd name="connsiteX7018" fmla="*/ 5822186 w 6666359"/>
              <a:gd name="connsiteY7018" fmla="*/ 2505037 h 4343113"/>
              <a:gd name="connsiteX7019" fmla="*/ 5815737 w 6666359"/>
              <a:gd name="connsiteY7019" fmla="*/ 2508262 h 4343113"/>
              <a:gd name="connsiteX7020" fmla="*/ 5812512 w 6666359"/>
              <a:gd name="connsiteY7020" fmla="*/ 2498588 h 4343113"/>
              <a:gd name="connsiteX7021" fmla="*/ 5809288 w 6666359"/>
              <a:gd name="connsiteY7021" fmla="*/ 2492138 h 4343113"/>
              <a:gd name="connsiteX7022" fmla="*/ 5806063 w 6666359"/>
              <a:gd name="connsiteY7022" fmla="*/ 2485688 h 4343113"/>
              <a:gd name="connsiteX7023" fmla="*/ 5806063 w 6666359"/>
              <a:gd name="connsiteY7023" fmla="*/ 2488914 h 4343113"/>
              <a:gd name="connsiteX7024" fmla="*/ 5799613 w 6666359"/>
              <a:gd name="connsiteY7024" fmla="*/ 2505037 h 4343113"/>
              <a:gd name="connsiteX7025" fmla="*/ 5793165 w 6666359"/>
              <a:gd name="connsiteY7025" fmla="*/ 2511487 h 4343113"/>
              <a:gd name="connsiteX7026" fmla="*/ 5786715 w 6666359"/>
              <a:gd name="connsiteY7026" fmla="*/ 2511487 h 4343113"/>
              <a:gd name="connsiteX7027" fmla="*/ 5780265 w 6666359"/>
              <a:gd name="connsiteY7027" fmla="*/ 2517935 h 4343113"/>
              <a:gd name="connsiteX7028" fmla="*/ 5770591 w 6666359"/>
              <a:gd name="connsiteY7028" fmla="*/ 2524385 h 4343113"/>
              <a:gd name="connsiteX7029" fmla="*/ 5760918 w 6666359"/>
              <a:gd name="connsiteY7029" fmla="*/ 2524385 h 4343113"/>
              <a:gd name="connsiteX7030" fmla="*/ 5757692 w 6666359"/>
              <a:gd name="connsiteY7030" fmla="*/ 2521161 h 4343113"/>
              <a:gd name="connsiteX7031" fmla="*/ 5757692 w 6666359"/>
              <a:gd name="connsiteY7031" fmla="*/ 2514711 h 4343113"/>
              <a:gd name="connsiteX7032" fmla="*/ 5757692 w 6666359"/>
              <a:gd name="connsiteY7032" fmla="*/ 2508262 h 4343113"/>
              <a:gd name="connsiteX7033" fmla="*/ 5751244 w 6666359"/>
              <a:gd name="connsiteY7033" fmla="*/ 2517935 h 4343113"/>
              <a:gd name="connsiteX7034" fmla="*/ 5748018 w 6666359"/>
              <a:gd name="connsiteY7034" fmla="*/ 2521161 h 4343113"/>
              <a:gd name="connsiteX7035" fmla="*/ 5744794 w 6666359"/>
              <a:gd name="connsiteY7035" fmla="*/ 2514711 h 4343113"/>
              <a:gd name="connsiteX7036" fmla="*/ 5754468 w 6666359"/>
              <a:gd name="connsiteY7036" fmla="*/ 2488914 h 4343113"/>
              <a:gd name="connsiteX7037" fmla="*/ 5754468 w 6666359"/>
              <a:gd name="connsiteY7037" fmla="*/ 2482464 h 4343113"/>
              <a:gd name="connsiteX7038" fmla="*/ 5751244 w 6666359"/>
              <a:gd name="connsiteY7038" fmla="*/ 2479240 h 4343113"/>
              <a:gd name="connsiteX7039" fmla="*/ 5751244 w 6666359"/>
              <a:gd name="connsiteY7039" fmla="*/ 2469566 h 4343113"/>
              <a:gd name="connsiteX7040" fmla="*/ 5751244 w 6666359"/>
              <a:gd name="connsiteY7040" fmla="*/ 2466341 h 4343113"/>
              <a:gd name="connsiteX7041" fmla="*/ 5748018 w 6666359"/>
              <a:gd name="connsiteY7041" fmla="*/ 2459891 h 4343113"/>
              <a:gd name="connsiteX7042" fmla="*/ 5744794 w 6666359"/>
              <a:gd name="connsiteY7042" fmla="*/ 2456667 h 4343113"/>
              <a:gd name="connsiteX7043" fmla="*/ 5741569 w 6666359"/>
              <a:gd name="connsiteY7043" fmla="*/ 2453442 h 4343113"/>
              <a:gd name="connsiteX7044" fmla="*/ 5741569 w 6666359"/>
              <a:gd name="connsiteY7044" fmla="*/ 2440543 h 4343113"/>
              <a:gd name="connsiteX7045" fmla="*/ 5735120 w 6666359"/>
              <a:gd name="connsiteY7045" fmla="*/ 2434094 h 4343113"/>
              <a:gd name="connsiteX7046" fmla="*/ 5731895 w 6666359"/>
              <a:gd name="connsiteY7046" fmla="*/ 2430869 h 4343113"/>
              <a:gd name="connsiteX7047" fmla="*/ 5725445 w 6666359"/>
              <a:gd name="connsiteY7047" fmla="*/ 2427644 h 4343113"/>
              <a:gd name="connsiteX7048" fmla="*/ 5722221 w 6666359"/>
              <a:gd name="connsiteY7048" fmla="*/ 2427644 h 4343113"/>
              <a:gd name="connsiteX7049" fmla="*/ 5709323 w 6666359"/>
              <a:gd name="connsiteY7049" fmla="*/ 2417970 h 4343113"/>
              <a:gd name="connsiteX7050" fmla="*/ 5702873 w 6666359"/>
              <a:gd name="connsiteY7050" fmla="*/ 2401847 h 4343113"/>
              <a:gd name="connsiteX7051" fmla="*/ 5703730 w 6666359"/>
              <a:gd name="connsiteY7051" fmla="*/ 2399277 h 4343113"/>
              <a:gd name="connsiteX7052" fmla="*/ 5703730 w 6666359"/>
              <a:gd name="connsiteY7052" fmla="*/ 2399276 h 4343113"/>
              <a:gd name="connsiteX7053" fmla="*/ 5702873 w 6666359"/>
              <a:gd name="connsiteY7053" fmla="*/ 2401845 h 4343113"/>
              <a:gd name="connsiteX7054" fmla="*/ 5693199 w 6666359"/>
              <a:gd name="connsiteY7054" fmla="*/ 2372824 h 4343113"/>
              <a:gd name="connsiteX7055" fmla="*/ 5683524 w 6666359"/>
              <a:gd name="connsiteY7055" fmla="*/ 2363150 h 4343113"/>
              <a:gd name="connsiteX7056" fmla="*/ 5677076 w 6666359"/>
              <a:gd name="connsiteY7056" fmla="*/ 2359925 h 4343113"/>
              <a:gd name="connsiteX7057" fmla="*/ 5667401 w 6666359"/>
              <a:gd name="connsiteY7057" fmla="*/ 2356700 h 4343113"/>
              <a:gd name="connsiteX7058" fmla="*/ 5667401 w 6666359"/>
              <a:gd name="connsiteY7058" fmla="*/ 2366374 h 4343113"/>
              <a:gd name="connsiteX7059" fmla="*/ 5667401 w 6666359"/>
              <a:gd name="connsiteY7059" fmla="*/ 2376048 h 4343113"/>
              <a:gd name="connsiteX7060" fmla="*/ 5657727 w 6666359"/>
              <a:gd name="connsiteY7060" fmla="*/ 2385722 h 4343113"/>
              <a:gd name="connsiteX7061" fmla="*/ 5651278 w 6666359"/>
              <a:gd name="connsiteY7061" fmla="*/ 2382498 h 4343113"/>
              <a:gd name="connsiteX7062" fmla="*/ 5644829 w 6666359"/>
              <a:gd name="connsiteY7062" fmla="*/ 2388947 h 4343113"/>
              <a:gd name="connsiteX7063" fmla="*/ 5638379 w 6666359"/>
              <a:gd name="connsiteY7063" fmla="*/ 2388947 h 4343113"/>
              <a:gd name="connsiteX7064" fmla="*/ 5635155 w 6666359"/>
              <a:gd name="connsiteY7064" fmla="*/ 2388947 h 4343113"/>
              <a:gd name="connsiteX7065" fmla="*/ 5634913 w 6666359"/>
              <a:gd name="connsiteY7065" fmla="*/ 2388222 h 4343113"/>
              <a:gd name="connsiteX7066" fmla="*/ 5635155 w 6666359"/>
              <a:gd name="connsiteY7066" fmla="*/ 2388948 h 4343113"/>
              <a:gd name="connsiteX7067" fmla="*/ 5632735 w 6666359"/>
              <a:gd name="connsiteY7067" fmla="*/ 2388948 h 4343113"/>
              <a:gd name="connsiteX7068" fmla="*/ 5631929 w 6666359"/>
              <a:gd name="connsiteY7068" fmla="*/ 2388948 h 4343113"/>
              <a:gd name="connsiteX7069" fmla="*/ 5625480 w 6666359"/>
              <a:gd name="connsiteY7069" fmla="*/ 2392173 h 4343113"/>
              <a:gd name="connsiteX7070" fmla="*/ 5612582 w 6666359"/>
              <a:gd name="connsiteY7070" fmla="*/ 2382499 h 4343113"/>
              <a:gd name="connsiteX7071" fmla="*/ 5609356 w 6666359"/>
              <a:gd name="connsiteY7071" fmla="*/ 2382499 h 4343113"/>
              <a:gd name="connsiteX7072" fmla="*/ 5599682 w 6666359"/>
              <a:gd name="connsiteY7072" fmla="*/ 2388948 h 4343113"/>
              <a:gd name="connsiteX7073" fmla="*/ 5586784 w 6666359"/>
              <a:gd name="connsiteY7073" fmla="*/ 2395398 h 4343113"/>
              <a:gd name="connsiteX7074" fmla="*/ 5586784 w 6666359"/>
              <a:gd name="connsiteY7074" fmla="*/ 2405072 h 4343113"/>
              <a:gd name="connsiteX7075" fmla="*/ 5590008 w 6666359"/>
              <a:gd name="connsiteY7075" fmla="*/ 2411520 h 4343113"/>
              <a:gd name="connsiteX7076" fmla="*/ 5573885 w 6666359"/>
              <a:gd name="connsiteY7076" fmla="*/ 2427644 h 4343113"/>
              <a:gd name="connsiteX7077" fmla="*/ 5560987 w 6666359"/>
              <a:gd name="connsiteY7077" fmla="*/ 2434094 h 4343113"/>
              <a:gd name="connsiteX7078" fmla="*/ 5538414 w 6666359"/>
              <a:gd name="connsiteY7078" fmla="*/ 2446993 h 4343113"/>
              <a:gd name="connsiteX7079" fmla="*/ 5528740 w 6666359"/>
              <a:gd name="connsiteY7079" fmla="*/ 2463116 h 4343113"/>
              <a:gd name="connsiteX7080" fmla="*/ 5525514 w 6666359"/>
              <a:gd name="connsiteY7080" fmla="*/ 2466341 h 4343113"/>
              <a:gd name="connsiteX7081" fmla="*/ 5512616 w 6666359"/>
              <a:gd name="connsiteY7081" fmla="*/ 2472790 h 4343113"/>
              <a:gd name="connsiteX7082" fmla="*/ 5502942 w 6666359"/>
              <a:gd name="connsiteY7082" fmla="*/ 2485688 h 4343113"/>
              <a:gd name="connsiteX7083" fmla="*/ 5490043 w 6666359"/>
              <a:gd name="connsiteY7083" fmla="*/ 2492138 h 4343113"/>
              <a:gd name="connsiteX7084" fmla="*/ 5483593 w 6666359"/>
              <a:gd name="connsiteY7084" fmla="*/ 2495363 h 4343113"/>
              <a:gd name="connsiteX7085" fmla="*/ 5486819 w 6666359"/>
              <a:gd name="connsiteY7085" fmla="*/ 2501812 h 4343113"/>
              <a:gd name="connsiteX7086" fmla="*/ 5483593 w 6666359"/>
              <a:gd name="connsiteY7086" fmla="*/ 2505037 h 4343113"/>
              <a:gd name="connsiteX7087" fmla="*/ 5473920 w 6666359"/>
              <a:gd name="connsiteY7087" fmla="*/ 2511487 h 4343113"/>
              <a:gd name="connsiteX7088" fmla="*/ 5464246 w 6666359"/>
              <a:gd name="connsiteY7088" fmla="*/ 2511487 h 4343113"/>
              <a:gd name="connsiteX7089" fmla="*/ 5461021 w 6666359"/>
              <a:gd name="connsiteY7089" fmla="*/ 2517935 h 4343113"/>
              <a:gd name="connsiteX7090" fmla="*/ 5454572 w 6666359"/>
              <a:gd name="connsiteY7090" fmla="*/ 2517935 h 4343113"/>
              <a:gd name="connsiteX7091" fmla="*/ 5448122 w 6666359"/>
              <a:gd name="connsiteY7091" fmla="*/ 2521161 h 4343113"/>
              <a:gd name="connsiteX7092" fmla="*/ 5444898 w 6666359"/>
              <a:gd name="connsiteY7092" fmla="*/ 2524385 h 4343113"/>
              <a:gd name="connsiteX7093" fmla="*/ 5438448 w 6666359"/>
              <a:gd name="connsiteY7093" fmla="*/ 2527610 h 4343113"/>
              <a:gd name="connsiteX7094" fmla="*/ 5435223 w 6666359"/>
              <a:gd name="connsiteY7094" fmla="*/ 2540509 h 4343113"/>
              <a:gd name="connsiteX7095" fmla="*/ 5438448 w 6666359"/>
              <a:gd name="connsiteY7095" fmla="*/ 2550182 h 4343113"/>
              <a:gd name="connsiteX7096" fmla="*/ 5438448 w 6666359"/>
              <a:gd name="connsiteY7096" fmla="*/ 2563082 h 4343113"/>
              <a:gd name="connsiteX7097" fmla="*/ 5438448 w 6666359"/>
              <a:gd name="connsiteY7097" fmla="*/ 2569531 h 4343113"/>
              <a:gd name="connsiteX7098" fmla="*/ 5441673 w 6666359"/>
              <a:gd name="connsiteY7098" fmla="*/ 2579205 h 4343113"/>
              <a:gd name="connsiteX7099" fmla="*/ 5435223 w 6666359"/>
              <a:gd name="connsiteY7099" fmla="*/ 2601778 h 4343113"/>
              <a:gd name="connsiteX7100" fmla="*/ 5428774 w 6666359"/>
              <a:gd name="connsiteY7100" fmla="*/ 2621126 h 4343113"/>
              <a:gd name="connsiteX7101" fmla="*/ 5431999 w 6666359"/>
              <a:gd name="connsiteY7101" fmla="*/ 2630800 h 4343113"/>
              <a:gd name="connsiteX7102" fmla="*/ 5431999 w 6666359"/>
              <a:gd name="connsiteY7102" fmla="*/ 2643699 h 4343113"/>
              <a:gd name="connsiteX7103" fmla="*/ 5425549 w 6666359"/>
              <a:gd name="connsiteY7103" fmla="*/ 2646924 h 4343113"/>
              <a:gd name="connsiteX7104" fmla="*/ 5419099 w 6666359"/>
              <a:gd name="connsiteY7104" fmla="*/ 2650148 h 4343113"/>
              <a:gd name="connsiteX7105" fmla="*/ 5412651 w 6666359"/>
              <a:gd name="connsiteY7105" fmla="*/ 2659823 h 4343113"/>
              <a:gd name="connsiteX7106" fmla="*/ 5406201 w 6666359"/>
              <a:gd name="connsiteY7106" fmla="*/ 2666271 h 4343113"/>
              <a:gd name="connsiteX7107" fmla="*/ 5396527 w 6666359"/>
              <a:gd name="connsiteY7107" fmla="*/ 2675946 h 4343113"/>
              <a:gd name="connsiteX7108" fmla="*/ 5393302 w 6666359"/>
              <a:gd name="connsiteY7108" fmla="*/ 2682395 h 4343113"/>
              <a:gd name="connsiteX7109" fmla="*/ 5393302 w 6666359"/>
              <a:gd name="connsiteY7109" fmla="*/ 2685620 h 4343113"/>
              <a:gd name="connsiteX7110" fmla="*/ 5383628 w 6666359"/>
              <a:gd name="connsiteY7110" fmla="*/ 2692070 h 4343113"/>
              <a:gd name="connsiteX7111" fmla="*/ 5377178 w 6666359"/>
              <a:gd name="connsiteY7111" fmla="*/ 2695294 h 4343113"/>
              <a:gd name="connsiteX7112" fmla="*/ 5370730 w 6666359"/>
              <a:gd name="connsiteY7112" fmla="*/ 2692070 h 4343113"/>
              <a:gd name="connsiteX7113" fmla="*/ 5364280 w 6666359"/>
              <a:gd name="connsiteY7113" fmla="*/ 2685620 h 4343113"/>
              <a:gd name="connsiteX7114" fmla="*/ 5357831 w 6666359"/>
              <a:gd name="connsiteY7114" fmla="*/ 2675946 h 4343113"/>
              <a:gd name="connsiteX7115" fmla="*/ 5354606 w 6666359"/>
              <a:gd name="connsiteY7115" fmla="*/ 2659823 h 4343113"/>
              <a:gd name="connsiteX7116" fmla="*/ 5348157 w 6666359"/>
              <a:gd name="connsiteY7116" fmla="*/ 2646924 h 4343113"/>
              <a:gd name="connsiteX7117" fmla="*/ 5341707 w 6666359"/>
              <a:gd name="connsiteY7117" fmla="*/ 2630800 h 4343113"/>
              <a:gd name="connsiteX7118" fmla="*/ 5335258 w 6666359"/>
              <a:gd name="connsiteY7118" fmla="*/ 2614677 h 4343113"/>
              <a:gd name="connsiteX7119" fmla="*/ 5332033 w 6666359"/>
              <a:gd name="connsiteY7119" fmla="*/ 2608227 h 4343113"/>
              <a:gd name="connsiteX7120" fmla="*/ 5328809 w 6666359"/>
              <a:gd name="connsiteY7120" fmla="*/ 2608227 h 4343113"/>
              <a:gd name="connsiteX7121" fmla="*/ 5322359 w 6666359"/>
              <a:gd name="connsiteY7121" fmla="*/ 2592103 h 4343113"/>
              <a:gd name="connsiteX7122" fmla="*/ 5319134 w 6666359"/>
              <a:gd name="connsiteY7122" fmla="*/ 2572756 h 4343113"/>
              <a:gd name="connsiteX7123" fmla="*/ 5315910 w 6666359"/>
              <a:gd name="connsiteY7123" fmla="*/ 2566306 h 4343113"/>
              <a:gd name="connsiteX7124" fmla="*/ 5312685 w 6666359"/>
              <a:gd name="connsiteY7124" fmla="*/ 2559856 h 4343113"/>
              <a:gd name="connsiteX7125" fmla="*/ 5309460 w 6666359"/>
              <a:gd name="connsiteY7125" fmla="*/ 2553408 h 4343113"/>
              <a:gd name="connsiteX7126" fmla="*/ 5303010 w 6666359"/>
              <a:gd name="connsiteY7126" fmla="*/ 2543734 h 4343113"/>
              <a:gd name="connsiteX7127" fmla="*/ 5299786 w 6666359"/>
              <a:gd name="connsiteY7127" fmla="*/ 2530835 h 4343113"/>
              <a:gd name="connsiteX7128" fmla="*/ 5296562 w 6666359"/>
              <a:gd name="connsiteY7128" fmla="*/ 2524385 h 4343113"/>
              <a:gd name="connsiteX7129" fmla="*/ 5290112 w 6666359"/>
              <a:gd name="connsiteY7129" fmla="*/ 2514711 h 4343113"/>
              <a:gd name="connsiteX7130" fmla="*/ 5286887 w 6666359"/>
              <a:gd name="connsiteY7130" fmla="*/ 2508262 h 4343113"/>
              <a:gd name="connsiteX7131" fmla="*/ 5290112 w 6666359"/>
              <a:gd name="connsiteY7131" fmla="*/ 2508262 h 4343113"/>
              <a:gd name="connsiteX7132" fmla="*/ 5286887 w 6666359"/>
              <a:gd name="connsiteY7132" fmla="*/ 2495363 h 4343113"/>
              <a:gd name="connsiteX7133" fmla="*/ 5283663 w 6666359"/>
              <a:gd name="connsiteY7133" fmla="*/ 2488914 h 4343113"/>
              <a:gd name="connsiteX7134" fmla="*/ 5283663 w 6666359"/>
              <a:gd name="connsiteY7134" fmla="*/ 2485688 h 4343113"/>
              <a:gd name="connsiteX7135" fmla="*/ 5283663 w 6666359"/>
              <a:gd name="connsiteY7135" fmla="*/ 2482464 h 4343113"/>
              <a:gd name="connsiteX7136" fmla="*/ 5283663 w 6666359"/>
              <a:gd name="connsiteY7136" fmla="*/ 2479240 h 4343113"/>
              <a:gd name="connsiteX7137" fmla="*/ 5280438 w 6666359"/>
              <a:gd name="connsiteY7137" fmla="*/ 2476015 h 4343113"/>
              <a:gd name="connsiteX7138" fmla="*/ 5280438 w 6666359"/>
              <a:gd name="connsiteY7138" fmla="*/ 2469566 h 4343113"/>
              <a:gd name="connsiteX7139" fmla="*/ 5280438 w 6666359"/>
              <a:gd name="connsiteY7139" fmla="*/ 2466341 h 4343113"/>
              <a:gd name="connsiteX7140" fmla="*/ 5277213 w 6666359"/>
              <a:gd name="connsiteY7140" fmla="*/ 2450217 h 4343113"/>
              <a:gd name="connsiteX7141" fmla="*/ 5277213 w 6666359"/>
              <a:gd name="connsiteY7141" fmla="*/ 2443767 h 4343113"/>
              <a:gd name="connsiteX7142" fmla="*/ 5273989 w 6666359"/>
              <a:gd name="connsiteY7142" fmla="*/ 2440543 h 4343113"/>
              <a:gd name="connsiteX7143" fmla="*/ 5273989 w 6666359"/>
              <a:gd name="connsiteY7143" fmla="*/ 2430869 h 4343113"/>
              <a:gd name="connsiteX7144" fmla="*/ 5280438 w 6666359"/>
              <a:gd name="connsiteY7144" fmla="*/ 2408296 h 4343113"/>
              <a:gd name="connsiteX7145" fmla="*/ 5277213 w 6666359"/>
              <a:gd name="connsiteY7145" fmla="*/ 2408296 h 4343113"/>
              <a:gd name="connsiteX7146" fmla="*/ 5273989 w 6666359"/>
              <a:gd name="connsiteY7146" fmla="*/ 2401847 h 4343113"/>
              <a:gd name="connsiteX7147" fmla="*/ 5270763 w 6666359"/>
              <a:gd name="connsiteY7147" fmla="*/ 2395398 h 4343113"/>
              <a:gd name="connsiteX7148" fmla="*/ 5273989 w 6666359"/>
              <a:gd name="connsiteY7148" fmla="*/ 2388948 h 4343113"/>
              <a:gd name="connsiteX7149" fmla="*/ 5270763 w 6666359"/>
              <a:gd name="connsiteY7149" fmla="*/ 2379274 h 4343113"/>
              <a:gd name="connsiteX7150" fmla="*/ 5270763 w 6666359"/>
              <a:gd name="connsiteY7150" fmla="*/ 2376049 h 4343113"/>
              <a:gd name="connsiteX7151" fmla="*/ 5264315 w 6666359"/>
              <a:gd name="connsiteY7151" fmla="*/ 2372825 h 4343113"/>
              <a:gd name="connsiteX7152" fmla="*/ 5261090 w 6666359"/>
              <a:gd name="connsiteY7152" fmla="*/ 2376049 h 4343113"/>
              <a:gd name="connsiteX7153" fmla="*/ 5264315 w 6666359"/>
              <a:gd name="connsiteY7153" fmla="*/ 2385723 h 4343113"/>
              <a:gd name="connsiteX7154" fmla="*/ 5267539 w 6666359"/>
              <a:gd name="connsiteY7154" fmla="*/ 2388948 h 4343113"/>
              <a:gd name="connsiteX7155" fmla="*/ 5264315 w 6666359"/>
              <a:gd name="connsiteY7155" fmla="*/ 2392173 h 4343113"/>
              <a:gd name="connsiteX7156" fmla="*/ 5257865 w 6666359"/>
              <a:gd name="connsiteY7156" fmla="*/ 2401847 h 4343113"/>
              <a:gd name="connsiteX7157" fmla="*/ 5235292 w 6666359"/>
              <a:gd name="connsiteY7157" fmla="*/ 2411520 h 4343113"/>
              <a:gd name="connsiteX7158" fmla="*/ 5222394 w 6666359"/>
              <a:gd name="connsiteY7158" fmla="*/ 2405072 h 4343113"/>
              <a:gd name="connsiteX7159" fmla="*/ 5215944 w 6666359"/>
              <a:gd name="connsiteY7159" fmla="*/ 2398622 h 4343113"/>
              <a:gd name="connsiteX7160" fmla="*/ 5196597 w 6666359"/>
              <a:gd name="connsiteY7160" fmla="*/ 2379274 h 4343113"/>
              <a:gd name="connsiteX7161" fmla="*/ 5196597 w 6666359"/>
              <a:gd name="connsiteY7161" fmla="*/ 2372825 h 4343113"/>
              <a:gd name="connsiteX7162" fmla="*/ 5209495 w 6666359"/>
              <a:gd name="connsiteY7162" fmla="*/ 2372825 h 4343113"/>
              <a:gd name="connsiteX7163" fmla="*/ 5219169 w 6666359"/>
              <a:gd name="connsiteY7163" fmla="*/ 2366375 h 4343113"/>
              <a:gd name="connsiteX7164" fmla="*/ 5225618 w 6666359"/>
              <a:gd name="connsiteY7164" fmla="*/ 2356701 h 4343113"/>
              <a:gd name="connsiteX7165" fmla="*/ 5219169 w 6666359"/>
              <a:gd name="connsiteY7165" fmla="*/ 2356701 h 4343113"/>
              <a:gd name="connsiteX7166" fmla="*/ 5209495 w 6666359"/>
              <a:gd name="connsiteY7166" fmla="*/ 2363151 h 4343113"/>
              <a:gd name="connsiteX7167" fmla="*/ 5206270 w 6666359"/>
              <a:gd name="connsiteY7167" fmla="*/ 2363151 h 4343113"/>
              <a:gd name="connsiteX7168" fmla="*/ 5199821 w 6666359"/>
              <a:gd name="connsiteY7168" fmla="*/ 2359926 h 4343113"/>
              <a:gd name="connsiteX7169" fmla="*/ 5186922 w 6666359"/>
              <a:gd name="connsiteY7169" fmla="*/ 2353476 h 4343113"/>
              <a:gd name="connsiteX7170" fmla="*/ 5180473 w 6666359"/>
              <a:gd name="connsiteY7170" fmla="*/ 2347027 h 4343113"/>
              <a:gd name="connsiteX7171" fmla="*/ 5180473 w 6666359"/>
              <a:gd name="connsiteY7171" fmla="*/ 2343802 h 4343113"/>
              <a:gd name="connsiteX7172" fmla="*/ 5177248 w 6666359"/>
              <a:gd name="connsiteY7172" fmla="*/ 2337352 h 4343113"/>
              <a:gd name="connsiteX7173" fmla="*/ 5170798 w 6666359"/>
              <a:gd name="connsiteY7173" fmla="*/ 2334128 h 4343113"/>
              <a:gd name="connsiteX7174" fmla="*/ 5161124 w 6666359"/>
              <a:gd name="connsiteY7174" fmla="*/ 2330904 h 4343113"/>
              <a:gd name="connsiteX7175" fmla="*/ 5154675 w 6666359"/>
              <a:gd name="connsiteY7175" fmla="*/ 2327679 h 4343113"/>
              <a:gd name="connsiteX7176" fmla="*/ 5151450 w 6666359"/>
              <a:gd name="connsiteY7176" fmla="*/ 2318005 h 4343113"/>
              <a:gd name="connsiteX7177" fmla="*/ 5138551 w 6666359"/>
              <a:gd name="connsiteY7177" fmla="*/ 2295432 h 4343113"/>
              <a:gd name="connsiteX7178" fmla="*/ 5135327 w 6666359"/>
              <a:gd name="connsiteY7178" fmla="*/ 2295432 h 4343113"/>
              <a:gd name="connsiteX7179" fmla="*/ 5132102 w 6666359"/>
              <a:gd name="connsiteY7179" fmla="*/ 2295432 h 4343113"/>
              <a:gd name="connsiteX7180" fmla="*/ 5128877 w 6666359"/>
              <a:gd name="connsiteY7180" fmla="*/ 2298657 h 4343113"/>
              <a:gd name="connsiteX7181" fmla="*/ 5125653 w 6666359"/>
              <a:gd name="connsiteY7181" fmla="*/ 2298657 h 4343113"/>
              <a:gd name="connsiteX7182" fmla="*/ 5106305 w 6666359"/>
              <a:gd name="connsiteY7182" fmla="*/ 2301881 h 4343113"/>
              <a:gd name="connsiteX7183" fmla="*/ 5099855 w 6666359"/>
              <a:gd name="connsiteY7183" fmla="*/ 2301881 h 4343113"/>
              <a:gd name="connsiteX7184" fmla="*/ 5096630 w 6666359"/>
              <a:gd name="connsiteY7184" fmla="*/ 2305106 h 4343113"/>
              <a:gd name="connsiteX7185" fmla="*/ 5083732 w 6666359"/>
              <a:gd name="connsiteY7185" fmla="*/ 2301881 h 4343113"/>
              <a:gd name="connsiteX7186" fmla="*/ 5074058 w 6666359"/>
              <a:gd name="connsiteY7186" fmla="*/ 2301881 h 4343113"/>
              <a:gd name="connsiteX7187" fmla="*/ 5061159 w 6666359"/>
              <a:gd name="connsiteY7187" fmla="*/ 2301881 h 4343113"/>
              <a:gd name="connsiteX7188" fmla="*/ 5041811 w 6666359"/>
              <a:gd name="connsiteY7188" fmla="*/ 2305106 h 4343113"/>
              <a:gd name="connsiteX7189" fmla="*/ 5037904 w 6666359"/>
              <a:gd name="connsiteY7189" fmla="*/ 2305106 h 4343113"/>
              <a:gd name="connsiteX7190" fmla="*/ 5032942 w 6666359"/>
              <a:gd name="connsiteY7190" fmla="*/ 2306718 h 4343113"/>
              <a:gd name="connsiteX7191" fmla="*/ 5030255 w 6666359"/>
              <a:gd name="connsiteY7191" fmla="*/ 2306046 h 4343113"/>
              <a:gd name="connsiteX7192" fmla="*/ 5025687 w 6666359"/>
              <a:gd name="connsiteY7192" fmla="*/ 2308330 h 4343113"/>
              <a:gd name="connsiteX7193" fmla="*/ 5019238 w 6666359"/>
              <a:gd name="connsiteY7193" fmla="*/ 2305105 h 4343113"/>
              <a:gd name="connsiteX7194" fmla="*/ 5012788 w 6666359"/>
              <a:gd name="connsiteY7194" fmla="*/ 2301880 h 4343113"/>
              <a:gd name="connsiteX7195" fmla="*/ 5006339 w 6666359"/>
              <a:gd name="connsiteY7195" fmla="*/ 2301880 h 4343113"/>
              <a:gd name="connsiteX7196" fmla="*/ 4990216 w 6666359"/>
              <a:gd name="connsiteY7196" fmla="*/ 2298656 h 4343113"/>
              <a:gd name="connsiteX7197" fmla="*/ 4977317 w 6666359"/>
              <a:gd name="connsiteY7197" fmla="*/ 2298656 h 4343113"/>
              <a:gd name="connsiteX7198" fmla="*/ 4967643 w 6666359"/>
              <a:gd name="connsiteY7198" fmla="*/ 2295430 h 4343113"/>
              <a:gd name="connsiteX7199" fmla="*/ 4951519 w 6666359"/>
              <a:gd name="connsiteY7199" fmla="*/ 2292206 h 4343113"/>
              <a:gd name="connsiteX7200" fmla="*/ 4938620 w 6666359"/>
              <a:gd name="connsiteY7200" fmla="*/ 2292206 h 4343113"/>
              <a:gd name="connsiteX7201" fmla="*/ 4935396 w 6666359"/>
              <a:gd name="connsiteY7201" fmla="*/ 2285757 h 4343113"/>
              <a:gd name="connsiteX7202" fmla="*/ 4932172 w 6666359"/>
              <a:gd name="connsiteY7202" fmla="*/ 2279307 h 4343113"/>
              <a:gd name="connsiteX7203" fmla="*/ 4932172 w 6666359"/>
              <a:gd name="connsiteY7203" fmla="*/ 2272858 h 4343113"/>
              <a:gd name="connsiteX7204" fmla="*/ 4932172 w 6666359"/>
              <a:gd name="connsiteY7204" fmla="*/ 2269633 h 4343113"/>
              <a:gd name="connsiteX7205" fmla="*/ 4925722 w 6666359"/>
              <a:gd name="connsiteY7205" fmla="*/ 2256735 h 4343113"/>
              <a:gd name="connsiteX7206" fmla="*/ 4916048 w 6666359"/>
              <a:gd name="connsiteY7206" fmla="*/ 2256735 h 4343113"/>
              <a:gd name="connsiteX7207" fmla="*/ 4909599 w 6666359"/>
              <a:gd name="connsiteY7207" fmla="*/ 2256735 h 4343113"/>
              <a:gd name="connsiteX7208" fmla="*/ 4899925 w 6666359"/>
              <a:gd name="connsiteY7208" fmla="*/ 2259959 h 4343113"/>
              <a:gd name="connsiteX7209" fmla="*/ 4893475 w 6666359"/>
              <a:gd name="connsiteY7209" fmla="*/ 2266409 h 4343113"/>
              <a:gd name="connsiteX7210" fmla="*/ 4880576 w 6666359"/>
              <a:gd name="connsiteY7210" fmla="*/ 2272858 h 4343113"/>
              <a:gd name="connsiteX7211" fmla="*/ 4864452 w 6666359"/>
              <a:gd name="connsiteY7211" fmla="*/ 2269633 h 4343113"/>
              <a:gd name="connsiteX7212" fmla="*/ 4841880 w 6666359"/>
              <a:gd name="connsiteY7212" fmla="*/ 2256735 h 4343113"/>
              <a:gd name="connsiteX7213" fmla="*/ 4835431 w 6666359"/>
              <a:gd name="connsiteY7213" fmla="*/ 2253510 h 4343113"/>
              <a:gd name="connsiteX7214" fmla="*/ 4832205 w 6666359"/>
              <a:gd name="connsiteY7214" fmla="*/ 2247061 h 4343113"/>
              <a:gd name="connsiteX7215" fmla="*/ 4822531 w 6666359"/>
              <a:gd name="connsiteY7215" fmla="*/ 2240611 h 4343113"/>
              <a:gd name="connsiteX7216" fmla="*/ 4812857 w 6666359"/>
              <a:gd name="connsiteY7216" fmla="*/ 2240611 h 4343113"/>
              <a:gd name="connsiteX7217" fmla="*/ 4806408 w 6666359"/>
              <a:gd name="connsiteY7217" fmla="*/ 2230937 h 4343113"/>
              <a:gd name="connsiteX7218" fmla="*/ 4799959 w 6666359"/>
              <a:gd name="connsiteY7218" fmla="*/ 2218038 h 4343113"/>
              <a:gd name="connsiteX7219" fmla="*/ 4790284 w 6666359"/>
              <a:gd name="connsiteY7219" fmla="*/ 2201915 h 4343113"/>
              <a:gd name="connsiteX7220" fmla="*/ 4783836 w 6666359"/>
              <a:gd name="connsiteY7220" fmla="*/ 2189017 h 4343113"/>
              <a:gd name="connsiteX7221" fmla="*/ 4770936 w 6666359"/>
              <a:gd name="connsiteY7221" fmla="*/ 2182567 h 4343113"/>
              <a:gd name="connsiteX7222" fmla="*/ 4767712 w 6666359"/>
              <a:gd name="connsiteY7222" fmla="*/ 2185791 h 4343113"/>
              <a:gd name="connsiteX7223" fmla="*/ 4761263 w 6666359"/>
              <a:gd name="connsiteY7223" fmla="*/ 2182567 h 4343113"/>
              <a:gd name="connsiteX7224" fmla="*/ 4754813 w 6666359"/>
              <a:gd name="connsiteY7224" fmla="*/ 2182567 h 4343113"/>
              <a:gd name="connsiteX7225" fmla="*/ 4751589 w 6666359"/>
              <a:gd name="connsiteY7225" fmla="*/ 2185791 h 4343113"/>
              <a:gd name="connsiteX7226" fmla="*/ 4745139 w 6666359"/>
              <a:gd name="connsiteY7226" fmla="*/ 2189017 h 4343113"/>
              <a:gd name="connsiteX7227" fmla="*/ 4739986 w 6666359"/>
              <a:gd name="connsiteY7227" fmla="*/ 2187728 h 4343113"/>
              <a:gd name="connsiteX7228" fmla="*/ 4732240 w 6666359"/>
              <a:gd name="connsiteY7228" fmla="*/ 2187082 h 4343113"/>
              <a:gd name="connsiteX7229" fmla="*/ 4732240 w 6666359"/>
              <a:gd name="connsiteY7229" fmla="*/ 2195465 h 4343113"/>
              <a:gd name="connsiteX7230" fmla="*/ 4732240 w 6666359"/>
              <a:gd name="connsiteY7230" fmla="*/ 2205139 h 4343113"/>
              <a:gd name="connsiteX7231" fmla="*/ 4737188 w 6666359"/>
              <a:gd name="connsiteY7231" fmla="*/ 2215035 h 4343113"/>
              <a:gd name="connsiteX7232" fmla="*/ 4741116 w 6666359"/>
              <a:gd name="connsiteY7232" fmla="*/ 2222891 h 4343113"/>
              <a:gd name="connsiteX7233" fmla="*/ 4741915 w 6666359"/>
              <a:gd name="connsiteY7233" fmla="*/ 2224488 h 4343113"/>
              <a:gd name="connsiteX7234" fmla="*/ 4741219 w 6666359"/>
              <a:gd name="connsiteY7234" fmla="*/ 2224488 h 4343113"/>
              <a:gd name="connsiteX7235" fmla="*/ 4741219 w 6666359"/>
              <a:gd name="connsiteY7235" fmla="*/ 2224489 h 4343113"/>
              <a:gd name="connsiteX7236" fmla="*/ 4741914 w 6666359"/>
              <a:gd name="connsiteY7236" fmla="*/ 2224489 h 4343113"/>
              <a:gd name="connsiteX7237" fmla="*/ 4745138 w 6666359"/>
              <a:gd name="connsiteY7237" fmla="*/ 2224489 h 4343113"/>
              <a:gd name="connsiteX7238" fmla="*/ 4745138 w 6666359"/>
              <a:gd name="connsiteY7238" fmla="*/ 2234163 h 4343113"/>
              <a:gd name="connsiteX7239" fmla="*/ 4751588 w 6666359"/>
              <a:gd name="connsiteY7239" fmla="*/ 2243837 h 4343113"/>
              <a:gd name="connsiteX7240" fmla="*/ 4758037 w 6666359"/>
              <a:gd name="connsiteY7240" fmla="*/ 2247062 h 4343113"/>
              <a:gd name="connsiteX7241" fmla="*/ 4764486 w 6666359"/>
              <a:gd name="connsiteY7241" fmla="*/ 2256736 h 4343113"/>
              <a:gd name="connsiteX7242" fmla="*/ 4777385 w 6666359"/>
              <a:gd name="connsiteY7242" fmla="*/ 2266410 h 4343113"/>
              <a:gd name="connsiteX7243" fmla="*/ 4780609 w 6666359"/>
              <a:gd name="connsiteY7243" fmla="*/ 2282533 h 4343113"/>
              <a:gd name="connsiteX7244" fmla="*/ 4777385 w 6666359"/>
              <a:gd name="connsiteY7244" fmla="*/ 2282533 h 4343113"/>
              <a:gd name="connsiteX7245" fmla="*/ 4780609 w 6666359"/>
              <a:gd name="connsiteY7245" fmla="*/ 2292207 h 4343113"/>
              <a:gd name="connsiteX7246" fmla="*/ 4790283 w 6666359"/>
              <a:gd name="connsiteY7246" fmla="*/ 2308331 h 4343113"/>
              <a:gd name="connsiteX7247" fmla="*/ 4793509 w 6666359"/>
              <a:gd name="connsiteY7247" fmla="*/ 2314780 h 4343113"/>
              <a:gd name="connsiteX7248" fmla="*/ 4799958 w 6666359"/>
              <a:gd name="connsiteY7248" fmla="*/ 2321230 h 4343113"/>
              <a:gd name="connsiteX7249" fmla="*/ 4809632 w 6666359"/>
              <a:gd name="connsiteY7249" fmla="*/ 2318005 h 4343113"/>
              <a:gd name="connsiteX7250" fmla="*/ 4809632 w 6666359"/>
              <a:gd name="connsiteY7250" fmla="*/ 2324454 h 4343113"/>
              <a:gd name="connsiteX7251" fmla="*/ 4816082 w 6666359"/>
              <a:gd name="connsiteY7251" fmla="*/ 2330904 h 4343113"/>
              <a:gd name="connsiteX7252" fmla="*/ 4828981 w 6666359"/>
              <a:gd name="connsiteY7252" fmla="*/ 2334128 h 4343113"/>
              <a:gd name="connsiteX7253" fmla="*/ 4835431 w 6666359"/>
              <a:gd name="connsiteY7253" fmla="*/ 2330904 h 4343113"/>
              <a:gd name="connsiteX7254" fmla="*/ 4841880 w 6666359"/>
              <a:gd name="connsiteY7254" fmla="*/ 2330904 h 4343113"/>
              <a:gd name="connsiteX7255" fmla="*/ 4854778 w 6666359"/>
              <a:gd name="connsiteY7255" fmla="*/ 2330904 h 4343113"/>
              <a:gd name="connsiteX7256" fmla="*/ 4874127 w 6666359"/>
              <a:gd name="connsiteY7256" fmla="*/ 2324454 h 4343113"/>
              <a:gd name="connsiteX7257" fmla="*/ 4877351 w 6666359"/>
              <a:gd name="connsiteY7257" fmla="*/ 2318005 h 4343113"/>
              <a:gd name="connsiteX7258" fmla="*/ 4880576 w 6666359"/>
              <a:gd name="connsiteY7258" fmla="*/ 2314780 h 4343113"/>
              <a:gd name="connsiteX7259" fmla="*/ 4893475 w 6666359"/>
              <a:gd name="connsiteY7259" fmla="*/ 2301881 h 4343113"/>
              <a:gd name="connsiteX7260" fmla="*/ 4903149 w 6666359"/>
              <a:gd name="connsiteY7260" fmla="*/ 2295432 h 4343113"/>
              <a:gd name="connsiteX7261" fmla="*/ 4909599 w 6666359"/>
              <a:gd name="connsiteY7261" fmla="*/ 2282533 h 4343113"/>
              <a:gd name="connsiteX7262" fmla="*/ 4912823 w 6666359"/>
              <a:gd name="connsiteY7262" fmla="*/ 2288983 h 4343113"/>
              <a:gd name="connsiteX7263" fmla="*/ 4912823 w 6666359"/>
              <a:gd name="connsiteY7263" fmla="*/ 2288982 h 4343113"/>
              <a:gd name="connsiteX7264" fmla="*/ 4909599 w 6666359"/>
              <a:gd name="connsiteY7264" fmla="*/ 2282532 h 4343113"/>
              <a:gd name="connsiteX7265" fmla="*/ 4919272 w 6666359"/>
              <a:gd name="connsiteY7265" fmla="*/ 2279307 h 4343113"/>
              <a:gd name="connsiteX7266" fmla="*/ 4912823 w 6666359"/>
              <a:gd name="connsiteY7266" fmla="*/ 2295430 h 4343113"/>
              <a:gd name="connsiteX7267" fmla="*/ 4912823 w 6666359"/>
              <a:gd name="connsiteY7267" fmla="*/ 2295432 h 4343113"/>
              <a:gd name="connsiteX7268" fmla="*/ 4916048 w 6666359"/>
              <a:gd name="connsiteY7268" fmla="*/ 2305106 h 4343113"/>
              <a:gd name="connsiteX7269" fmla="*/ 4916048 w 6666359"/>
              <a:gd name="connsiteY7269" fmla="*/ 2311555 h 4343113"/>
              <a:gd name="connsiteX7270" fmla="*/ 4928946 w 6666359"/>
              <a:gd name="connsiteY7270" fmla="*/ 2330904 h 4343113"/>
              <a:gd name="connsiteX7271" fmla="*/ 4948294 w 6666359"/>
              <a:gd name="connsiteY7271" fmla="*/ 2340578 h 4343113"/>
              <a:gd name="connsiteX7272" fmla="*/ 4954744 w 6666359"/>
              <a:gd name="connsiteY7272" fmla="*/ 2340578 h 4343113"/>
              <a:gd name="connsiteX7273" fmla="*/ 4964418 w 6666359"/>
              <a:gd name="connsiteY7273" fmla="*/ 2343802 h 4343113"/>
              <a:gd name="connsiteX7274" fmla="*/ 4974093 w 6666359"/>
              <a:gd name="connsiteY7274" fmla="*/ 2353476 h 4343113"/>
              <a:gd name="connsiteX7275" fmla="*/ 4980541 w 6666359"/>
              <a:gd name="connsiteY7275" fmla="*/ 2359926 h 4343113"/>
              <a:gd name="connsiteX7276" fmla="*/ 4983767 w 6666359"/>
              <a:gd name="connsiteY7276" fmla="*/ 2366375 h 4343113"/>
              <a:gd name="connsiteX7277" fmla="*/ 4986991 w 6666359"/>
              <a:gd name="connsiteY7277" fmla="*/ 2366375 h 4343113"/>
              <a:gd name="connsiteX7278" fmla="*/ 4993440 w 6666359"/>
              <a:gd name="connsiteY7278" fmla="*/ 2369600 h 4343113"/>
              <a:gd name="connsiteX7279" fmla="*/ 4993440 w 6666359"/>
              <a:gd name="connsiteY7279" fmla="*/ 2376049 h 4343113"/>
              <a:gd name="connsiteX7280" fmla="*/ 4983767 w 6666359"/>
              <a:gd name="connsiteY7280" fmla="*/ 2388948 h 4343113"/>
              <a:gd name="connsiteX7281" fmla="*/ 4980541 w 6666359"/>
              <a:gd name="connsiteY7281" fmla="*/ 2395398 h 4343113"/>
              <a:gd name="connsiteX7282" fmla="*/ 4977317 w 6666359"/>
              <a:gd name="connsiteY7282" fmla="*/ 2395398 h 4343113"/>
              <a:gd name="connsiteX7283" fmla="*/ 4964418 w 6666359"/>
              <a:gd name="connsiteY7283" fmla="*/ 2417970 h 4343113"/>
              <a:gd name="connsiteX7284" fmla="*/ 4957969 w 6666359"/>
              <a:gd name="connsiteY7284" fmla="*/ 2417970 h 4343113"/>
              <a:gd name="connsiteX7285" fmla="*/ 4957969 w 6666359"/>
              <a:gd name="connsiteY7285" fmla="*/ 2414746 h 4343113"/>
              <a:gd name="connsiteX7286" fmla="*/ 4951519 w 6666359"/>
              <a:gd name="connsiteY7286" fmla="*/ 2417970 h 4343113"/>
              <a:gd name="connsiteX7287" fmla="*/ 4948294 w 6666359"/>
              <a:gd name="connsiteY7287" fmla="*/ 2427644 h 4343113"/>
              <a:gd name="connsiteX7288" fmla="*/ 4945070 w 6666359"/>
              <a:gd name="connsiteY7288" fmla="*/ 2437319 h 4343113"/>
              <a:gd name="connsiteX7289" fmla="*/ 4948294 w 6666359"/>
              <a:gd name="connsiteY7289" fmla="*/ 2450217 h 4343113"/>
              <a:gd name="connsiteX7290" fmla="*/ 4941846 w 6666359"/>
              <a:gd name="connsiteY7290" fmla="*/ 2450217 h 4343113"/>
              <a:gd name="connsiteX7291" fmla="*/ 4928946 w 6666359"/>
              <a:gd name="connsiteY7291" fmla="*/ 2453442 h 4343113"/>
              <a:gd name="connsiteX7292" fmla="*/ 4922497 w 6666359"/>
              <a:gd name="connsiteY7292" fmla="*/ 2463116 h 4343113"/>
              <a:gd name="connsiteX7293" fmla="*/ 4916048 w 6666359"/>
              <a:gd name="connsiteY7293" fmla="*/ 2472790 h 4343113"/>
              <a:gd name="connsiteX7294" fmla="*/ 4903149 w 6666359"/>
              <a:gd name="connsiteY7294" fmla="*/ 2476015 h 4343113"/>
              <a:gd name="connsiteX7295" fmla="*/ 4893475 w 6666359"/>
              <a:gd name="connsiteY7295" fmla="*/ 2482464 h 4343113"/>
              <a:gd name="connsiteX7296" fmla="*/ 4890250 w 6666359"/>
              <a:gd name="connsiteY7296" fmla="*/ 2485688 h 4343113"/>
              <a:gd name="connsiteX7297" fmla="*/ 4893475 w 6666359"/>
              <a:gd name="connsiteY7297" fmla="*/ 2485688 h 4343113"/>
              <a:gd name="connsiteX7298" fmla="*/ 4887025 w 6666359"/>
              <a:gd name="connsiteY7298" fmla="*/ 2495363 h 4343113"/>
              <a:gd name="connsiteX7299" fmla="*/ 4883801 w 6666359"/>
              <a:gd name="connsiteY7299" fmla="*/ 2498588 h 4343113"/>
              <a:gd name="connsiteX7300" fmla="*/ 4883801 w 6666359"/>
              <a:gd name="connsiteY7300" fmla="*/ 2495363 h 4343113"/>
              <a:gd name="connsiteX7301" fmla="*/ 4880576 w 6666359"/>
              <a:gd name="connsiteY7301" fmla="*/ 2498588 h 4343113"/>
              <a:gd name="connsiteX7302" fmla="*/ 4880576 w 6666359"/>
              <a:gd name="connsiteY7302" fmla="*/ 2495363 h 4343113"/>
              <a:gd name="connsiteX7303" fmla="*/ 4870902 w 6666359"/>
              <a:gd name="connsiteY7303" fmla="*/ 2495363 h 4343113"/>
              <a:gd name="connsiteX7304" fmla="*/ 4845104 w 6666359"/>
              <a:gd name="connsiteY7304" fmla="*/ 2505037 h 4343113"/>
              <a:gd name="connsiteX7305" fmla="*/ 4832205 w 6666359"/>
              <a:gd name="connsiteY7305" fmla="*/ 2511487 h 4343113"/>
              <a:gd name="connsiteX7306" fmla="*/ 4825757 w 6666359"/>
              <a:gd name="connsiteY7306" fmla="*/ 2521161 h 4343113"/>
              <a:gd name="connsiteX7307" fmla="*/ 4825757 w 6666359"/>
              <a:gd name="connsiteY7307" fmla="*/ 2527610 h 4343113"/>
              <a:gd name="connsiteX7308" fmla="*/ 4822531 w 6666359"/>
              <a:gd name="connsiteY7308" fmla="*/ 2530835 h 4343113"/>
              <a:gd name="connsiteX7309" fmla="*/ 4816082 w 6666359"/>
              <a:gd name="connsiteY7309" fmla="*/ 2534059 h 4343113"/>
              <a:gd name="connsiteX7310" fmla="*/ 4796734 w 6666359"/>
              <a:gd name="connsiteY7310" fmla="*/ 2540509 h 4343113"/>
              <a:gd name="connsiteX7311" fmla="*/ 4780610 w 6666359"/>
              <a:gd name="connsiteY7311" fmla="*/ 2543734 h 4343113"/>
              <a:gd name="connsiteX7312" fmla="*/ 4777386 w 6666359"/>
              <a:gd name="connsiteY7312" fmla="*/ 2543734 h 4343113"/>
              <a:gd name="connsiteX7313" fmla="*/ 4774161 w 6666359"/>
              <a:gd name="connsiteY7313" fmla="*/ 2543734 h 4343113"/>
              <a:gd name="connsiteX7314" fmla="*/ 4758037 w 6666359"/>
              <a:gd name="connsiteY7314" fmla="*/ 2553408 h 4343113"/>
              <a:gd name="connsiteX7315" fmla="*/ 4754813 w 6666359"/>
              <a:gd name="connsiteY7315" fmla="*/ 2556632 h 4343113"/>
              <a:gd name="connsiteX7316" fmla="*/ 4748363 w 6666359"/>
              <a:gd name="connsiteY7316" fmla="*/ 2563082 h 4343113"/>
              <a:gd name="connsiteX7317" fmla="*/ 4738689 w 6666359"/>
              <a:gd name="connsiteY7317" fmla="*/ 2563082 h 4343113"/>
              <a:gd name="connsiteX7318" fmla="*/ 4732240 w 6666359"/>
              <a:gd name="connsiteY7318" fmla="*/ 2563082 h 4343113"/>
              <a:gd name="connsiteX7319" fmla="*/ 4722566 w 6666359"/>
              <a:gd name="connsiteY7319" fmla="*/ 2569531 h 4343113"/>
              <a:gd name="connsiteX7320" fmla="*/ 4719342 w 6666359"/>
              <a:gd name="connsiteY7320" fmla="*/ 2572756 h 4343113"/>
              <a:gd name="connsiteX7321" fmla="*/ 4712892 w 6666359"/>
              <a:gd name="connsiteY7321" fmla="*/ 2572756 h 4343113"/>
              <a:gd name="connsiteX7322" fmla="*/ 4699993 w 6666359"/>
              <a:gd name="connsiteY7322" fmla="*/ 2575980 h 4343113"/>
              <a:gd name="connsiteX7323" fmla="*/ 4693544 w 6666359"/>
              <a:gd name="connsiteY7323" fmla="*/ 2579205 h 4343113"/>
              <a:gd name="connsiteX7324" fmla="*/ 4680645 w 6666359"/>
              <a:gd name="connsiteY7324" fmla="*/ 2579205 h 4343113"/>
              <a:gd name="connsiteX7325" fmla="*/ 4677421 w 6666359"/>
              <a:gd name="connsiteY7325" fmla="*/ 2582430 h 4343113"/>
              <a:gd name="connsiteX7326" fmla="*/ 4674195 w 6666359"/>
              <a:gd name="connsiteY7326" fmla="*/ 2585655 h 4343113"/>
              <a:gd name="connsiteX7327" fmla="*/ 4661297 w 6666359"/>
              <a:gd name="connsiteY7327" fmla="*/ 2592103 h 4343113"/>
              <a:gd name="connsiteX7328" fmla="*/ 4648398 w 6666359"/>
              <a:gd name="connsiteY7328" fmla="*/ 2595329 h 4343113"/>
              <a:gd name="connsiteX7329" fmla="*/ 4635500 w 6666359"/>
              <a:gd name="connsiteY7329" fmla="*/ 2592103 h 4343113"/>
              <a:gd name="connsiteX7330" fmla="*/ 4629050 w 6666359"/>
              <a:gd name="connsiteY7330" fmla="*/ 2579205 h 4343113"/>
              <a:gd name="connsiteX7331" fmla="*/ 4629050 w 6666359"/>
              <a:gd name="connsiteY7331" fmla="*/ 2569531 h 4343113"/>
              <a:gd name="connsiteX7332" fmla="*/ 4625825 w 6666359"/>
              <a:gd name="connsiteY7332" fmla="*/ 2553408 h 4343113"/>
              <a:gd name="connsiteX7333" fmla="*/ 4622601 w 6666359"/>
              <a:gd name="connsiteY7333" fmla="*/ 2540509 h 4343113"/>
              <a:gd name="connsiteX7334" fmla="*/ 4619376 w 6666359"/>
              <a:gd name="connsiteY7334" fmla="*/ 2521161 h 4343113"/>
              <a:gd name="connsiteX7335" fmla="*/ 4619376 w 6666359"/>
              <a:gd name="connsiteY7335" fmla="*/ 2512292 h 4343113"/>
              <a:gd name="connsiteX7336" fmla="*/ 4618962 w 6666359"/>
              <a:gd name="connsiteY7336" fmla="*/ 2509836 h 4343113"/>
              <a:gd name="connsiteX7337" fmla="*/ 4616150 w 6666359"/>
              <a:gd name="connsiteY7337" fmla="*/ 2498588 h 4343113"/>
              <a:gd name="connsiteX7338" fmla="*/ 4606476 w 6666359"/>
              <a:gd name="connsiteY7338" fmla="*/ 2485688 h 4343113"/>
              <a:gd name="connsiteX7339" fmla="*/ 4596802 w 6666359"/>
              <a:gd name="connsiteY7339" fmla="*/ 2476015 h 4343113"/>
              <a:gd name="connsiteX7340" fmla="*/ 4587128 w 6666359"/>
              <a:gd name="connsiteY7340" fmla="*/ 2463116 h 4343113"/>
              <a:gd name="connsiteX7341" fmla="*/ 4583903 w 6666359"/>
              <a:gd name="connsiteY7341" fmla="*/ 2450217 h 4343113"/>
              <a:gd name="connsiteX7342" fmla="*/ 4567779 w 6666359"/>
              <a:gd name="connsiteY7342" fmla="*/ 2427644 h 4343113"/>
              <a:gd name="connsiteX7343" fmla="*/ 4558105 w 6666359"/>
              <a:gd name="connsiteY7343" fmla="*/ 2421195 h 4343113"/>
              <a:gd name="connsiteX7344" fmla="*/ 4548431 w 6666359"/>
              <a:gd name="connsiteY7344" fmla="*/ 2414746 h 4343113"/>
              <a:gd name="connsiteX7345" fmla="*/ 4541982 w 6666359"/>
              <a:gd name="connsiteY7345" fmla="*/ 2405072 h 4343113"/>
              <a:gd name="connsiteX7346" fmla="*/ 4538758 w 6666359"/>
              <a:gd name="connsiteY7346" fmla="*/ 2395398 h 4343113"/>
              <a:gd name="connsiteX7347" fmla="*/ 4538758 w 6666359"/>
              <a:gd name="connsiteY7347" fmla="*/ 2366375 h 4343113"/>
              <a:gd name="connsiteX7348" fmla="*/ 4535533 w 6666359"/>
              <a:gd name="connsiteY7348" fmla="*/ 2363151 h 4343113"/>
              <a:gd name="connsiteX7349" fmla="*/ 4532308 w 6666359"/>
              <a:gd name="connsiteY7349" fmla="*/ 2353476 h 4343113"/>
              <a:gd name="connsiteX7350" fmla="*/ 4525858 w 6666359"/>
              <a:gd name="connsiteY7350" fmla="*/ 2343802 h 4343113"/>
              <a:gd name="connsiteX7351" fmla="*/ 4519410 w 6666359"/>
              <a:gd name="connsiteY7351" fmla="*/ 2334128 h 4343113"/>
              <a:gd name="connsiteX7352" fmla="*/ 4509735 w 6666359"/>
              <a:gd name="connsiteY7352" fmla="*/ 2330904 h 4343113"/>
              <a:gd name="connsiteX7353" fmla="*/ 4500061 w 6666359"/>
              <a:gd name="connsiteY7353" fmla="*/ 2321230 h 4343113"/>
              <a:gd name="connsiteX7354" fmla="*/ 4496837 w 6666359"/>
              <a:gd name="connsiteY7354" fmla="*/ 2314780 h 4343113"/>
              <a:gd name="connsiteX7355" fmla="*/ 4496837 w 6666359"/>
              <a:gd name="connsiteY7355" fmla="*/ 2308331 h 4343113"/>
              <a:gd name="connsiteX7356" fmla="*/ 4480713 w 6666359"/>
              <a:gd name="connsiteY7356" fmla="*/ 2282533 h 4343113"/>
              <a:gd name="connsiteX7357" fmla="*/ 4464590 w 6666359"/>
              <a:gd name="connsiteY7357" fmla="*/ 2259960 h 4343113"/>
              <a:gd name="connsiteX7358" fmla="*/ 4461364 w 6666359"/>
              <a:gd name="connsiteY7358" fmla="*/ 2250286 h 4343113"/>
              <a:gd name="connsiteX7359" fmla="*/ 4458140 w 6666359"/>
              <a:gd name="connsiteY7359" fmla="*/ 2247062 h 4343113"/>
              <a:gd name="connsiteX7360" fmla="*/ 4451690 w 6666359"/>
              <a:gd name="connsiteY7360" fmla="*/ 2237387 h 4343113"/>
              <a:gd name="connsiteX7361" fmla="*/ 4445241 w 6666359"/>
              <a:gd name="connsiteY7361" fmla="*/ 2234163 h 4343113"/>
              <a:gd name="connsiteX7362" fmla="*/ 4442016 w 6666359"/>
              <a:gd name="connsiteY7362" fmla="*/ 2234163 h 4343113"/>
              <a:gd name="connsiteX7363" fmla="*/ 4442016 w 6666359"/>
              <a:gd name="connsiteY7363" fmla="*/ 2230939 h 4343113"/>
              <a:gd name="connsiteX7364" fmla="*/ 4445241 w 6666359"/>
              <a:gd name="connsiteY7364" fmla="*/ 2221264 h 4343113"/>
              <a:gd name="connsiteX7365" fmla="*/ 4448466 w 6666359"/>
              <a:gd name="connsiteY7365" fmla="*/ 2201916 h 4343113"/>
              <a:gd name="connsiteX7366" fmla="*/ 4451596 w 6666359"/>
              <a:gd name="connsiteY7366" fmla="*/ 2202438 h 4343113"/>
              <a:gd name="connsiteX7367" fmla="*/ 4448467 w 6666359"/>
              <a:gd name="connsiteY7367" fmla="*/ 2201916 h 4343113"/>
              <a:gd name="connsiteX7368" fmla="*/ 4448467 w 6666359"/>
              <a:gd name="connsiteY7368" fmla="*/ 2198691 h 4343113"/>
              <a:gd name="connsiteX7369" fmla="*/ 4445242 w 6666359"/>
              <a:gd name="connsiteY7369" fmla="*/ 2198691 h 4343113"/>
              <a:gd name="connsiteX7370" fmla="*/ 4438792 w 6666359"/>
              <a:gd name="connsiteY7370" fmla="*/ 2214815 h 4343113"/>
              <a:gd name="connsiteX7371" fmla="*/ 4438792 w 6666359"/>
              <a:gd name="connsiteY7371" fmla="*/ 2224489 h 4343113"/>
              <a:gd name="connsiteX7372" fmla="*/ 4435568 w 6666359"/>
              <a:gd name="connsiteY7372" fmla="*/ 2230939 h 4343113"/>
              <a:gd name="connsiteX7373" fmla="*/ 4435568 w 6666359"/>
              <a:gd name="connsiteY7373" fmla="*/ 2237387 h 4343113"/>
              <a:gd name="connsiteX7374" fmla="*/ 4432344 w 6666359"/>
              <a:gd name="connsiteY7374" fmla="*/ 2240612 h 4343113"/>
              <a:gd name="connsiteX7375" fmla="*/ 4432344 w 6666359"/>
              <a:gd name="connsiteY7375" fmla="*/ 2243837 h 4343113"/>
              <a:gd name="connsiteX7376" fmla="*/ 4425894 w 6666359"/>
              <a:gd name="connsiteY7376" fmla="*/ 2240612 h 4343113"/>
              <a:gd name="connsiteX7377" fmla="*/ 4416220 w 6666359"/>
              <a:gd name="connsiteY7377" fmla="*/ 2227713 h 4343113"/>
              <a:gd name="connsiteX7378" fmla="*/ 4409771 w 6666359"/>
              <a:gd name="connsiteY7378" fmla="*/ 2218039 h 4343113"/>
              <a:gd name="connsiteX7379" fmla="*/ 4409771 w 6666359"/>
              <a:gd name="connsiteY7379" fmla="*/ 2214815 h 4343113"/>
              <a:gd name="connsiteX7380" fmla="*/ 4406545 w 6666359"/>
              <a:gd name="connsiteY7380" fmla="*/ 2211590 h 4343113"/>
              <a:gd name="connsiteX7381" fmla="*/ 4406545 w 6666359"/>
              <a:gd name="connsiteY7381" fmla="*/ 2208365 h 4343113"/>
              <a:gd name="connsiteX7382" fmla="*/ 4400097 w 6666359"/>
              <a:gd name="connsiteY7382" fmla="*/ 2205140 h 4343113"/>
              <a:gd name="connsiteX7383" fmla="*/ 4396687 w 6666359"/>
              <a:gd name="connsiteY7383" fmla="*/ 2196617 h 4343113"/>
              <a:gd name="connsiteX7384" fmla="*/ 4396684 w 6666359"/>
              <a:gd name="connsiteY7384" fmla="*/ 2196607 h 4343113"/>
              <a:gd name="connsiteX7385" fmla="*/ 4393648 w 6666359"/>
              <a:gd name="connsiteY7385" fmla="*/ 2189019 h 4343113"/>
              <a:gd name="connsiteX7386" fmla="*/ 4390424 w 6666359"/>
              <a:gd name="connsiteY7386" fmla="*/ 2192243 h 4343113"/>
              <a:gd name="connsiteX7387" fmla="*/ 4390424 w 6666359"/>
              <a:gd name="connsiteY7387" fmla="*/ 2198693 h 4343113"/>
              <a:gd name="connsiteX7388" fmla="*/ 4400098 w 6666359"/>
              <a:gd name="connsiteY7388" fmla="*/ 2218040 h 4343113"/>
              <a:gd name="connsiteX7389" fmla="*/ 4403322 w 6666359"/>
              <a:gd name="connsiteY7389" fmla="*/ 2218040 h 4343113"/>
              <a:gd name="connsiteX7390" fmla="*/ 4404124 w 6666359"/>
              <a:gd name="connsiteY7390" fmla="*/ 2219643 h 4343113"/>
              <a:gd name="connsiteX7391" fmla="*/ 4404125 w 6666359"/>
              <a:gd name="connsiteY7391" fmla="*/ 2219647 h 4343113"/>
              <a:gd name="connsiteX7392" fmla="*/ 4409771 w 6666359"/>
              <a:gd name="connsiteY7392" fmla="*/ 2230939 h 4343113"/>
              <a:gd name="connsiteX7393" fmla="*/ 4416220 w 6666359"/>
              <a:gd name="connsiteY7393" fmla="*/ 2240612 h 4343113"/>
              <a:gd name="connsiteX7394" fmla="*/ 4416220 w 6666359"/>
              <a:gd name="connsiteY7394" fmla="*/ 2241419 h 4343113"/>
              <a:gd name="connsiteX7395" fmla="*/ 4416221 w 6666359"/>
              <a:gd name="connsiteY7395" fmla="*/ 2241421 h 4343113"/>
              <a:gd name="connsiteX7396" fmla="*/ 4416221 w 6666359"/>
              <a:gd name="connsiteY7396" fmla="*/ 2247063 h 4343113"/>
              <a:gd name="connsiteX7397" fmla="*/ 4422671 w 6666359"/>
              <a:gd name="connsiteY7397" fmla="*/ 2259962 h 4343113"/>
              <a:gd name="connsiteX7398" fmla="*/ 4425895 w 6666359"/>
              <a:gd name="connsiteY7398" fmla="*/ 2272861 h 4343113"/>
              <a:gd name="connsiteX7399" fmla="*/ 4442019 w 6666359"/>
              <a:gd name="connsiteY7399" fmla="*/ 2301883 h 4343113"/>
              <a:gd name="connsiteX7400" fmla="*/ 4458142 w 6666359"/>
              <a:gd name="connsiteY7400" fmla="*/ 2327681 h 4343113"/>
              <a:gd name="connsiteX7401" fmla="*/ 4461366 w 6666359"/>
              <a:gd name="connsiteY7401" fmla="*/ 2353478 h 4343113"/>
              <a:gd name="connsiteX7402" fmla="*/ 4467816 w 6666359"/>
              <a:gd name="connsiteY7402" fmla="*/ 2363152 h 4343113"/>
              <a:gd name="connsiteX7403" fmla="*/ 4474266 w 6666359"/>
              <a:gd name="connsiteY7403" fmla="*/ 2366377 h 4343113"/>
              <a:gd name="connsiteX7404" fmla="*/ 4483940 w 6666359"/>
              <a:gd name="connsiteY7404" fmla="*/ 2376051 h 4343113"/>
              <a:gd name="connsiteX7405" fmla="*/ 4490389 w 6666359"/>
              <a:gd name="connsiteY7405" fmla="*/ 2379276 h 4343113"/>
              <a:gd name="connsiteX7406" fmla="*/ 4493613 w 6666359"/>
              <a:gd name="connsiteY7406" fmla="*/ 2395399 h 4343113"/>
              <a:gd name="connsiteX7407" fmla="*/ 4496839 w 6666359"/>
              <a:gd name="connsiteY7407" fmla="*/ 2414747 h 4343113"/>
              <a:gd name="connsiteX7408" fmla="*/ 4496839 w 6666359"/>
              <a:gd name="connsiteY7408" fmla="*/ 2427646 h 4343113"/>
              <a:gd name="connsiteX7409" fmla="*/ 4500063 w 6666359"/>
              <a:gd name="connsiteY7409" fmla="*/ 2450219 h 4343113"/>
              <a:gd name="connsiteX7410" fmla="*/ 4503287 w 6666359"/>
              <a:gd name="connsiteY7410" fmla="*/ 2456669 h 4343113"/>
              <a:gd name="connsiteX7411" fmla="*/ 4509737 w 6666359"/>
              <a:gd name="connsiteY7411" fmla="*/ 2456669 h 4343113"/>
              <a:gd name="connsiteX7412" fmla="*/ 4509737 w 6666359"/>
              <a:gd name="connsiteY7412" fmla="*/ 2459893 h 4343113"/>
              <a:gd name="connsiteX7413" fmla="*/ 4512962 w 6666359"/>
              <a:gd name="connsiteY7413" fmla="*/ 2459893 h 4343113"/>
              <a:gd name="connsiteX7414" fmla="*/ 4516187 w 6666359"/>
              <a:gd name="connsiteY7414" fmla="*/ 2463117 h 4343113"/>
              <a:gd name="connsiteX7415" fmla="*/ 4516187 w 6666359"/>
              <a:gd name="connsiteY7415" fmla="*/ 2466343 h 4343113"/>
              <a:gd name="connsiteX7416" fmla="*/ 4525860 w 6666359"/>
              <a:gd name="connsiteY7416" fmla="*/ 2472792 h 4343113"/>
              <a:gd name="connsiteX7417" fmla="*/ 4535534 w 6666359"/>
              <a:gd name="connsiteY7417" fmla="*/ 2488915 h 4343113"/>
              <a:gd name="connsiteX7418" fmla="*/ 4538760 w 6666359"/>
              <a:gd name="connsiteY7418" fmla="*/ 2505038 h 4343113"/>
              <a:gd name="connsiteX7419" fmla="*/ 4541984 w 6666359"/>
              <a:gd name="connsiteY7419" fmla="*/ 2521162 h 4343113"/>
              <a:gd name="connsiteX7420" fmla="*/ 4554883 w 6666359"/>
              <a:gd name="connsiteY7420" fmla="*/ 2537285 h 4343113"/>
              <a:gd name="connsiteX7421" fmla="*/ 4561332 w 6666359"/>
              <a:gd name="connsiteY7421" fmla="*/ 2543735 h 4343113"/>
              <a:gd name="connsiteX7422" fmla="*/ 4564557 w 6666359"/>
              <a:gd name="connsiteY7422" fmla="*/ 2543735 h 4343113"/>
              <a:gd name="connsiteX7423" fmla="*/ 4567781 w 6666359"/>
              <a:gd name="connsiteY7423" fmla="*/ 2543735 h 4343113"/>
              <a:gd name="connsiteX7424" fmla="*/ 4583905 w 6666359"/>
              <a:gd name="connsiteY7424" fmla="*/ 2553409 h 4343113"/>
              <a:gd name="connsiteX7425" fmla="*/ 4596804 w 6666359"/>
              <a:gd name="connsiteY7425" fmla="*/ 2566308 h 4343113"/>
              <a:gd name="connsiteX7426" fmla="*/ 4603254 w 6666359"/>
              <a:gd name="connsiteY7426" fmla="*/ 2572758 h 4343113"/>
              <a:gd name="connsiteX7427" fmla="*/ 4616152 w 6666359"/>
              <a:gd name="connsiteY7427" fmla="*/ 2585656 h 4343113"/>
              <a:gd name="connsiteX7428" fmla="*/ 4625826 w 6666359"/>
              <a:gd name="connsiteY7428" fmla="*/ 2592106 h 4343113"/>
              <a:gd name="connsiteX7429" fmla="*/ 4632275 w 6666359"/>
              <a:gd name="connsiteY7429" fmla="*/ 2608229 h 4343113"/>
              <a:gd name="connsiteX7430" fmla="*/ 4625826 w 6666359"/>
              <a:gd name="connsiteY7430" fmla="*/ 2611453 h 4343113"/>
              <a:gd name="connsiteX7431" fmla="*/ 4616152 w 6666359"/>
              <a:gd name="connsiteY7431" fmla="*/ 2614679 h 4343113"/>
              <a:gd name="connsiteX7432" fmla="*/ 4616152 w 6666359"/>
              <a:gd name="connsiteY7432" fmla="*/ 2617903 h 4343113"/>
              <a:gd name="connsiteX7433" fmla="*/ 4629051 w 6666359"/>
              <a:gd name="connsiteY7433" fmla="*/ 2621128 h 4343113"/>
              <a:gd name="connsiteX7434" fmla="*/ 4632275 w 6666359"/>
              <a:gd name="connsiteY7434" fmla="*/ 2624353 h 4343113"/>
              <a:gd name="connsiteX7435" fmla="*/ 4635500 w 6666359"/>
              <a:gd name="connsiteY7435" fmla="*/ 2627577 h 4343113"/>
              <a:gd name="connsiteX7436" fmla="*/ 4641949 w 6666359"/>
              <a:gd name="connsiteY7436" fmla="*/ 2637252 h 4343113"/>
              <a:gd name="connsiteX7437" fmla="*/ 4654849 w 6666359"/>
              <a:gd name="connsiteY7437" fmla="*/ 2643700 h 4343113"/>
              <a:gd name="connsiteX7438" fmla="*/ 4667747 w 6666359"/>
              <a:gd name="connsiteY7438" fmla="*/ 2643700 h 4343113"/>
              <a:gd name="connsiteX7439" fmla="*/ 4680646 w 6666359"/>
              <a:gd name="connsiteY7439" fmla="*/ 2637252 h 4343113"/>
              <a:gd name="connsiteX7440" fmla="*/ 4693544 w 6666359"/>
              <a:gd name="connsiteY7440" fmla="*/ 2637252 h 4343113"/>
              <a:gd name="connsiteX7441" fmla="*/ 4703219 w 6666359"/>
              <a:gd name="connsiteY7441" fmla="*/ 2637252 h 4343113"/>
              <a:gd name="connsiteX7442" fmla="*/ 4709668 w 6666359"/>
              <a:gd name="connsiteY7442" fmla="*/ 2634026 h 4343113"/>
              <a:gd name="connsiteX7443" fmla="*/ 4712893 w 6666359"/>
              <a:gd name="connsiteY7443" fmla="*/ 2630802 h 4343113"/>
              <a:gd name="connsiteX7444" fmla="*/ 4729017 w 6666359"/>
              <a:gd name="connsiteY7444" fmla="*/ 2627577 h 4343113"/>
              <a:gd name="connsiteX7445" fmla="*/ 4738691 w 6666359"/>
              <a:gd name="connsiteY7445" fmla="*/ 2627577 h 4343113"/>
              <a:gd name="connsiteX7446" fmla="*/ 4741915 w 6666359"/>
              <a:gd name="connsiteY7446" fmla="*/ 2624353 h 4343113"/>
              <a:gd name="connsiteX7447" fmla="*/ 4751589 w 6666359"/>
              <a:gd name="connsiteY7447" fmla="*/ 2627577 h 4343113"/>
              <a:gd name="connsiteX7448" fmla="*/ 4777387 w 6666359"/>
              <a:gd name="connsiteY7448" fmla="*/ 2621128 h 4343113"/>
              <a:gd name="connsiteX7449" fmla="*/ 4787061 w 6666359"/>
              <a:gd name="connsiteY7449" fmla="*/ 2614679 h 4343113"/>
              <a:gd name="connsiteX7450" fmla="*/ 4790285 w 6666359"/>
              <a:gd name="connsiteY7450" fmla="*/ 2611453 h 4343113"/>
              <a:gd name="connsiteX7451" fmla="*/ 4803185 w 6666359"/>
              <a:gd name="connsiteY7451" fmla="*/ 2611453 h 4343113"/>
              <a:gd name="connsiteX7452" fmla="*/ 4803185 w 6666359"/>
              <a:gd name="connsiteY7452" fmla="*/ 2621128 h 4343113"/>
              <a:gd name="connsiteX7453" fmla="*/ 4799959 w 6666359"/>
              <a:gd name="connsiteY7453" fmla="*/ 2627577 h 4343113"/>
              <a:gd name="connsiteX7454" fmla="*/ 4799959 w 6666359"/>
              <a:gd name="connsiteY7454" fmla="*/ 2634026 h 4343113"/>
              <a:gd name="connsiteX7455" fmla="*/ 4803185 w 6666359"/>
              <a:gd name="connsiteY7455" fmla="*/ 2640476 h 4343113"/>
              <a:gd name="connsiteX7456" fmla="*/ 4799959 w 6666359"/>
              <a:gd name="connsiteY7456" fmla="*/ 2643700 h 4343113"/>
              <a:gd name="connsiteX7457" fmla="*/ 4796735 w 6666359"/>
              <a:gd name="connsiteY7457" fmla="*/ 2653375 h 4343113"/>
              <a:gd name="connsiteX7458" fmla="*/ 4793510 w 6666359"/>
              <a:gd name="connsiteY7458" fmla="*/ 2663049 h 4343113"/>
              <a:gd name="connsiteX7459" fmla="*/ 4790285 w 6666359"/>
              <a:gd name="connsiteY7459" fmla="*/ 2672723 h 4343113"/>
              <a:gd name="connsiteX7460" fmla="*/ 4780611 w 6666359"/>
              <a:gd name="connsiteY7460" fmla="*/ 2692071 h 4343113"/>
              <a:gd name="connsiteX7461" fmla="*/ 4767712 w 6666359"/>
              <a:gd name="connsiteY7461" fmla="*/ 2711420 h 4343113"/>
              <a:gd name="connsiteX7462" fmla="*/ 4758038 w 6666359"/>
              <a:gd name="connsiteY7462" fmla="*/ 2730768 h 4343113"/>
              <a:gd name="connsiteX7463" fmla="*/ 4754814 w 6666359"/>
              <a:gd name="connsiteY7463" fmla="*/ 2737217 h 4343113"/>
              <a:gd name="connsiteX7464" fmla="*/ 4751589 w 6666359"/>
              <a:gd name="connsiteY7464" fmla="*/ 2746891 h 4343113"/>
              <a:gd name="connsiteX7465" fmla="*/ 4722567 w 6666359"/>
              <a:gd name="connsiteY7465" fmla="*/ 2785588 h 4343113"/>
              <a:gd name="connsiteX7466" fmla="*/ 4693544 w 6666359"/>
              <a:gd name="connsiteY7466" fmla="*/ 2814609 h 4343113"/>
              <a:gd name="connsiteX7467" fmla="*/ 4651623 w 6666359"/>
              <a:gd name="connsiteY7467" fmla="*/ 2843632 h 4343113"/>
              <a:gd name="connsiteX7468" fmla="*/ 4635500 w 6666359"/>
              <a:gd name="connsiteY7468" fmla="*/ 2856530 h 4343113"/>
              <a:gd name="connsiteX7469" fmla="*/ 4622602 w 6666359"/>
              <a:gd name="connsiteY7469" fmla="*/ 2872654 h 4343113"/>
              <a:gd name="connsiteX7470" fmla="*/ 4616152 w 6666359"/>
              <a:gd name="connsiteY7470" fmla="*/ 2875879 h 4343113"/>
              <a:gd name="connsiteX7471" fmla="*/ 4600028 w 6666359"/>
              <a:gd name="connsiteY7471" fmla="*/ 2892003 h 4343113"/>
              <a:gd name="connsiteX7472" fmla="*/ 4590355 w 6666359"/>
              <a:gd name="connsiteY7472" fmla="*/ 2908126 h 4343113"/>
              <a:gd name="connsiteX7473" fmla="*/ 4587130 w 6666359"/>
              <a:gd name="connsiteY7473" fmla="*/ 2914575 h 4343113"/>
              <a:gd name="connsiteX7474" fmla="*/ 4580681 w 6666359"/>
              <a:gd name="connsiteY7474" fmla="*/ 2917800 h 4343113"/>
              <a:gd name="connsiteX7475" fmla="*/ 4567781 w 6666359"/>
              <a:gd name="connsiteY7475" fmla="*/ 2927474 h 4343113"/>
              <a:gd name="connsiteX7476" fmla="*/ 4561332 w 6666359"/>
              <a:gd name="connsiteY7476" fmla="*/ 2930698 h 4343113"/>
              <a:gd name="connsiteX7477" fmla="*/ 4561332 w 6666359"/>
              <a:gd name="connsiteY7477" fmla="*/ 2937148 h 4343113"/>
              <a:gd name="connsiteX7478" fmla="*/ 4551658 w 6666359"/>
              <a:gd name="connsiteY7478" fmla="*/ 2959721 h 4343113"/>
              <a:gd name="connsiteX7479" fmla="*/ 4548434 w 6666359"/>
              <a:gd name="connsiteY7479" fmla="*/ 2966171 h 4343113"/>
              <a:gd name="connsiteX7480" fmla="*/ 4545208 w 6666359"/>
              <a:gd name="connsiteY7480" fmla="*/ 2972620 h 4343113"/>
              <a:gd name="connsiteX7481" fmla="*/ 4538760 w 6666359"/>
              <a:gd name="connsiteY7481" fmla="*/ 2975845 h 4343113"/>
              <a:gd name="connsiteX7482" fmla="*/ 4538760 w 6666359"/>
              <a:gd name="connsiteY7482" fmla="*/ 2982294 h 4343113"/>
              <a:gd name="connsiteX7483" fmla="*/ 4535534 w 6666359"/>
              <a:gd name="connsiteY7483" fmla="*/ 2995192 h 4343113"/>
              <a:gd name="connsiteX7484" fmla="*/ 4532310 w 6666359"/>
              <a:gd name="connsiteY7484" fmla="*/ 3004867 h 4343113"/>
              <a:gd name="connsiteX7485" fmla="*/ 4532310 w 6666359"/>
              <a:gd name="connsiteY7485" fmla="*/ 3011316 h 4343113"/>
              <a:gd name="connsiteX7486" fmla="*/ 4535534 w 6666359"/>
              <a:gd name="connsiteY7486" fmla="*/ 3014541 h 4343113"/>
              <a:gd name="connsiteX7487" fmla="*/ 4541984 w 6666359"/>
              <a:gd name="connsiteY7487" fmla="*/ 3017766 h 4343113"/>
              <a:gd name="connsiteX7488" fmla="*/ 4541984 w 6666359"/>
              <a:gd name="connsiteY7488" fmla="*/ 3020990 h 4343113"/>
              <a:gd name="connsiteX7489" fmla="*/ 4545208 w 6666359"/>
              <a:gd name="connsiteY7489" fmla="*/ 3030665 h 4343113"/>
              <a:gd name="connsiteX7490" fmla="*/ 4541984 w 6666359"/>
              <a:gd name="connsiteY7490" fmla="*/ 3033889 h 4343113"/>
              <a:gd name="connsiteX7491" fmla="*/ 4545208 w 6666359"/>
              <a:gd name="connsiteY7491" fmla="*/ 3046788 h 4343113"/>
              <a:gd name="connsiteX7492" fmla="*/ 4541984 w 6666359"/>
              <a:gd name="connsiteY7492" fmla="*/ 3053237 h 4343113"/>
              <a:gd name="connsiteX7493" fmla="*/ 4541984 w 6666359"/>
              <a:gd name="connsiteY7493" fmla="*/ 3059687 h 4343113"/>
              <a:gd name="connsiteX7494" fmla="*/ 4548434 w 6666359"/>
              <a:gd name="connsiteY7494" fmla="*/ 3072586 h 4343113"/>
              <a:gd name="connsiteX7495" fmla="*/ 4554883 w 6666359"/>
              <a:gd name="connsiteY7495" fmla="*/ 3091934 h 4343113"/>
              <a:gd name="connsiteX7496" fmla="*/ 4561332 w 6666359"/>
              <a:gd name="connsiteY7496" fmla="*/ 3095159 h 4343113"/>
              <a:gd name="connsiteX7497" fmla="*/ 4567781 w 6666359"/>
              <a:gd name="connsiteY7497" fmla="*/ 3101607 h 4343113"/>
              <a:gd name="connsiteX7498" fmla="*/ 4571007 w 6666359"/>
              <a:gd name="connsiteY7498" fmla="*/ 3104833 h 4343113"/>
              <a:gd name="connsiteX7499" fmla="*/ 4567781 w 6666359"/>
              <a:gd name="connsiteY7499" fmla="*/ 3117731 h 4343113"/>
              <a:gd name="connsiteX7500" fmla="*/ 4567781 w 6666359"/>
              <a:gd name="connsiteY7500" fmla="*/ 3127405 h 4343113"/>
              <a:gd name="connsiteX7501" fmla="*/ 4567781 w 6666359"/>
              <a:gd name="connsiteY7501" fmla="*/ 3133855 h 4343113"/>
              <a:gd name="connsiteX7502" fmla="*/ 4567781 w 6666359"/>
              <a:gd name="connsiteY7502" fmla="*/ 3137080 h 4343113"/>
              <a:gd name="connsiteX7503" fmla="*/ 4567781 w 6666359"/>
              <a:gd name="connsiteY7503" fmla="*/ 3143528 h 4343113"/>
              <a:gd name="connsiteX7504" fmla="*/ 4567781 w 6666359"/>
              <a:gd name="connsiteY7504" fmla="*/ 3146754 h 4343113"/>
              <a:gd name="connsiteX7505" fmla="*/ 4571007 w 6666359"/>
              <a:gd name="connsiteY7505" fmla="*/ 3146754 h 4343113"/>
              <a:gd name="connsiteX7506" fmla="*/ 4571007 w 6666359"/>
              <a:gd name="connsiteY7506" fmla="*/ 3149978 h 4343113"/>
              <a:gd name="connsiteX7507" fmla="*/ 4571007 w 6666359"/>
              <a:gd name="connsiteY7507" fmla="*/ 3153203 h 4343113"/>
              <a:gd name="connsiteX7508" fmla="*/ 4567781 w 6666359"/>
              <a:gd name="connsiteY7508" fmla="*/ 3156428 h 4343113"/>
              <a:gd name="connsiteX7509" fmla="*/ 4571007 w 6666359"/>
              <a:gd name="connsiteY7509" fmla="*/ 3166102 h 4343113"/>
              <a:gd name="connsiteX7510" fmla="*/ 4571007 w 6666359"/>
              <a:gd name="connsiteY7510" fmla="*/ 3172551 h 4343113"/>
              <a:gd name="connsiteX7511" fmla="*/ 4574231 w 6666359"/>
              <a:gd name="connsiteY7511" fmla="*/ 3188675 h 4343113"/>
              <a:gd name="connsiteX7512" fmla="*/ 4577455 w 6666359"/>
              <a:gd name="connsiteY7512" fmla="*/ 3195124 h 4343113"/>
              <a:gd name="connsiteX7513" fmla="*/ 4574231 w 6666359"/>
              <a:gd name="connsiteY7513" fmla="*/ 3201573 h 4343113"/>
              <a:gd name="connsiteX7514" fmla="*/ 4571007 w 6666359"/>
              <a:gd name="connsiteY7514" fmla="*/ 3208022 h 4343113"/>
              <a:gd name="connsiteX7515" fmla="*/ 4571007 w 6666359"/>
              <a:gd name="connsiteY7515" fmla="*/ 3211248 h 4343113"/>
              <a:gd name="connsiteX7516" fmla="*/ 4564557 w 6666359"/>
              <a:gd name="connsiteY7516" fmla="*/ 3220922 h 4343113"/>
              <a:gd name="connsiteX7517" fmla="*/ 4545208 w 6666359"/>
              <a:gd name="connsiteY7517" fmla="*/ 3240270 h 4343113"/>
              <a:gd name="connsiteX7518" fmla="*/ 4538760 w 6666359"/>
              <a:gd name="connsiteY7518" fmla="*/ 3246719 h 4343113"/>
              <a:gd name="connsiteX7519" fmla="*/ 4532310 w 6666359"/>
              <a:gd name="connsiteY7519" fmla="*/ 3249943 h 4343113"/>
              <a:gd name="connsiteX7520" fmla="*/ 4519411 w 6666359"/>
              <a:gd name="connsiteY7520" fmla="*/ 3253169 h 4343113"/>
              <a:gd name="connsiteX7521" fmla="*/ 4496839 w 6666359"/>
              <a:gd name="connsiteY7521" fmla="*/ 3266067 h 4343113"/>
              <a:gd name="connsiteX7522" fmla="*/ 4490389 w 6666359"/>
              <a:gd name="connsiteY7522" fmla="*/ 3275742 h 4343113"/>
              <a:gd name="connsiteX7523" fmla="*/ 4483940 w 6666359"/>
              <a:gd name="connsiteY7523" fmla="*/ 3282190 h 4343113"/>
              <a:gd name="connsiteX7524" fmla="*/ 4480715 w 6666359"/>
              <a:gd name="connsiteY7524" fmla="*/ 3282190 h 4343113"/>
              <a:gd name="connsiteX7525" fmla="*/ 4474266 w 6666359"/>
              <a:gd name="connsiteY7525" fmla="*/ 3291865 h 4343113"/>
              <a:gd name="connsiteX7526" fmla="*/ 4474266 w 6666359"/>
              <a:gd name="connsiteY7526" fmla="*/ 3288640 h 4343113"/>
              <a:gd name="connsiteX7527" fmla="*/ 4464592 w 6666359"/>
              <a:gd name="connsiteY7527" fmla="*/ 3295090 h 4343113"/>
              <a:gd name="connsiteX7528" fmla="*/ 4461366 w 6666359"/>
              <a:gd name="connsiteY7528" fmla="*/ 3301539 h 4343113"/>
              <a:gd name="connsiteX7529" fmla="*/ 4445243 w 6666359"/>
              <a:gd name="connsiteY7529" fmla="*/ 3314438 h 4343113"/>
              <a:gd name="connsiteX7530" fmla="*/ 4442019 w 6666359"/>
              <a:gd name="connsiteY7530" fmla="*/ 3320887 h 4343113"/>
              <a:gd name="connsiteX7531" fmla="*/ 4442019 w 6666359"/>
              <a:gd name="connsiteY7531" fmla="*/ 3327337 h 4343113"/>
              <a:gd name="connsiteX7532" fmla="*/ 4445243 w 6666359"/>
              <a:gd name="connsiteY7532" fmla="*/ 3333786 h 4343113"/>
              <a:gd name="connsiteX7533" fmla="*/ 4448468 w 6666359"/>
              <a:gd name="connsiteY7533" fmla="*/ 3340235 h 4343113"/>
              <a:gd name="connsiteX7534" fmla="*/ 4451693 w 6666359"/>
              <a:gd name="connsiteY7534" fmla="*/ 3340235 h 4343113"/>
              <a:gd name="connsiteX7535" fmla="*/ 4448468 w 6666359"/>
              <a:gd name="connsiteY7535" fmla="*/ 3346685 h 4343113"/>
              <a:gd name="connsiteX7536" fmla="*/ 4451693 w 6666359"/>
              <a:gd name="connsiteY7536" fmla="*/ 3353134 h 4343113"/>
              <a:gd name="connsiteX7537" fmla="*/ 4458142 w 6666359"/>
              <a:gd name="connsiteY7537" fmla="*/ 3366033 h 4343113"/>
              <a:gd name="connsiteX7538" fmla="*/ 4458142 w 6666359"/>
              <a:gd name="connsiteY7538" fmla="*/ 3369258 h 4343113"/>
              <a:gd name="connsiteX7539" fmla="*/ 4461366 w 6666359"/>
              <a:gd name="connsiteY7539" fmla="*/ 3369258 h 4343113"/>
              <a:gd name="connsiteX7540" fmla="*/ 4458142 w 6666359"/>
              <a:gd name="connsiteY7540" fmla="*/ 3382157 h 4343113"/>
              <a:gd name="connsiteX7541" fmla="*/ 4458142 w 6666359"/>
              <a:gd name="connsiteY7541" fmla="*/ 3395055 h 4343113"/>
              <a:gd name="connsiteX7542" fmla="*/ 4458142 w 6666359"/>
              <a:gd name="connsiteY7542" fmla="*/ 3404729 h 4343113"/>
              <a:gd name="connsiteX7543" fmla="*/ 4458142 w 6666359"/>
              <a:gd name="connsiteY7543" fmla="*/ 3414403 h 4343113"/>
              <a:gd name="connsiteX7544" fmla="*/ 4451693 w 6666359"/>
              <a:gd name="connsiteY7544" fmla="*/ 3424078 h 4343113"/>
              <a:gd name="connsiteX7545" fmla="*/ 4435569 w 6666359"/>
              <a:gd name="connsiteY7545" fmla="*/ 3430526 h 4343113"/>
              <a:gd name="connsiteX7546" fmla="*/ 4416221 w 6666359"/>
              <a:gd name="connsiteY7546" fmla="*/ 3440201 h 4343113"/>
              <a:gd name="connsiteX7547" fmla="*/ 4396873 w 6666359"/>
              <a:gd name="connsiteY7547" fmla="*/ 3456325 h 4343113"/>
              <a:gd name="connsiteX7548" fmla="*/ 4396873 w 6666359"/>
              <a:gd name="connsiteY7548" fmla="*/ 3459549 h 4343113"/>
              <a:gd name="connsiteX7549" fmla="*/ 4400098 w 6666359"/>
              <a:gd name="connsiteY7549" fmla="*/ 3465999 h 4343113"/>
              <a:gd name="connsiteX7550" fmla="*/ 4403322 w 6666359"/>
              <a:gd name="connsiteY7550" fmla="*/ 3478897 h 4343113"/>
              <a:gd name="connsiteX7551" fmla="*/ 4396873 w 6666359"/>
              <a:gd name="connsiteY7551" fmla="*/ 3498246 h 4343113"/>
              <a:gd name="connsiteX7552" fmla="*/ 4393648 w 6666359"/>
              <a:gd name="connsiteY7552" fmla="*/ 3514369 h 4343113"/>
              <a:gd name="connsiteX7553" fmla="*/ 4390424 w 6666359"/>
              <a:gd name="connsiteY7553" fmla="*/ 3524043 h 4343113"/>
              <a:gd name="connsiteX7554" fmla="*/ 4383974 w 6666359"/>
              <a:gd name="connsiteY7554" fmla="*/ 3527268 h 4343113"/>
              <a:gd name="connsiteX7555" fmla="*/ 4371075 w 6666359"/>
              <a:gd name="connsiteY7555" fmla="*/ 3536942 h 4343113"/>
              <a:gd name="connsiteX7556" fmla="*/ 4364626 w 6666359"/>
              <a:gd name="connsiteY7556" fmla="*/ 3549841 h 4343113"/>
              <a:gd name="connsiteX7557" fmla="*/ 4361401 w 6666359"/>
              <a:gd name="connsiteY7557" fmla="*/ 3556290 h 4343113"/>
              <a:gd name="connsiteX7558" fmla="*/ 4345277 w 6666359"/>
              <a:gd name="connsiteY7558" fmla="*/ 3582088 h 4343113"/>
              <a:gd name="connsiteX7559" fmla="*/ 4335604 w 6666359"/>
              <a:gd name="connsiteY7559" fmla="*/ 3591762 h 4343113"/>
              <a:gd name="connsiteX7560" fmla="*/ 4325930 w 6666359"/>
              <a:gd name="connsiteY7560" fmla="*/ 3601436 h 4343113"/>
              <a:gd name="connsiteX7561" fmla="*/ 4306582 w 6666359"/>
              <a:gd name="connsiteY7561" fmla="*/ 3624009 h 4343113"/>
              <a:gd name="connsiteX7562" fmla="*/ 4280784 w 6666359"/>
              <a:gd name="connsiteY7562" fmla="*/ 3643357 h 4343113"/>
              <a:gd name="connsiteX7563" fmla="*/ 4254986 w 6666359"/>
              <a:gd name="connsiteY7563" fmla="*/ 3653032 h 4343113"/>
              <a:gd name="connsiteX7564" fmla="*/ 4245312 w 6666359"/>
              <a:gd name="connsiteY7564" fmla="*/ 3653032 h 4343113"/>
              <a:gd name="connsiteX7565" fmla="*/ 4245312 w 6666359"/>
              <a:gd name="connsiteY7565" fmla="*/ 3662705 h 4343113"/>
              <a:gd name="connsiteX7566" fmla="*/ 4232414 w 6666359"/>
              <a:gd name="connsiteY7566" fmla="*/ 3659480 h 4343113"/>
              <a:gd name="connsiteX7567" fmla="*/ 4225964 w 6666359"/>
              <a:gd name="connsiteY7567" fmla="*/ 3662705 h 4343113"/>
              <a:gd name="connsiteX7568" fmla="*/ 4219515 w 6666359"/>
              <a:gd name="connsiteY7568" fmla="*/ 3665930 h 4343113"/>
              <a:gd name="connsiteX7569" fmla="*/ 4213065 w 6666359"/>
              <a:gd name="connsiteY7569" fmla="*/ 3662705 h 4343113"/>
              <a:gd name="connsiteX7570" fmla="*/ 4203391 w 6666359"/>
              <a:gd name="connsiteY7570" fmla="*/ 3662705 h 4343113"/>
              <a:gd name="connsiteX7571" fmla="*/ 4193717 w 6666359"/>
              <a:gd name="connsiteY7571" fmla="*/ 3662705 h 4343113"/>
              <a:gd name="connsiteX7572" fmla="*/ 4174369 w 6666359"/>
              <a:gd name="connsiteY7572" fmla="*/ 3662705 h 4343113"/>
              <a:gd name="connsiteX7573" fmla="*/ 4161470 w 6666359"/>
              <a:gd name="connsiteY7573" fmla="*/ 3669155 h 4343113"/>
              <a:gd name="connsiteX7574" fmla="*/ 4155020 w 6666359"/>
              <a:gd name="connsiteY7574" fmla="*/ 3672379 h 4343113"/>
              <a:gd name="connsiteX7575" fmla="*/ 4148572 w 6666359"/>
              <a:gd name="connsiteY7575" fmla="*/ 3672379 h 4343113"/>
              <a:gd name="connsiteX7576" fmla="*/ 4135673 w 6666359"/>
              <a:gd name="connsiteY7576" fmla="*/ 3672379 h 4343113"/>
              <a:gd name="connsiteX7577" fmla="*/ 4129223 w 6666359"/>
              <a:gd name="connsiteY7577" fmla="*/ 3675604 h 4343113"/>
              <a:gd name="connsiteX7578" fmla="*/ 4119549 w 6666359"/>
              <a:gd name="connsiteY7578" fmla="*/ 3682053 h 4343113"/>
              <a:gd name="connsiteX7579" fmla="*/ 4103426 w 6666359"/>
              <a:gd name="connsiteY7579" fmla="*/ 3675604 h 4343113"/>
              <a:gd name="connsiteX7580" fmla="*/ 4096976 w 6666359"/>
              <a:gd name="connsiteY7580" fmla="*/ 3669155 h 4343113"/>
              <a:gd name="connsiteX7581" fmla="*/ 4093752 w 6666359"/>
              <a:gd name="connsiteY7581" fmla="*/ 3662705 h 4343113"/>
              <a:gd name="connsiteX7582" fmla="*/ 4087302 w 6666359"/>
              <a:gd name="connsiteY7582" fmla="*/ 3662705 h 4343113"/>
              <a:gd name="connsiteX7583" fmla="*/ 4084078 w 6666359"/>
              <a:gd name="connsiteY7583" fmla="*/ 3659480 h 4343113"/>
              <a:gd name="connsiteX7584" fmla="*/ 4084078 w 6666359"/>
              <a:gd name="connsiteY7584" fmla="*/ 3649806 h 4343113"/>
              <a:gd name="connsiteX7585" fmla="*/ 4077628 w 6666359"/>
              <a:gd name="connsiteY7585" fmla="*/ 3636908 h 4343113"/>
              <a:gd name="connsiteX7586" fmla="*/ 4071179 w 6666359"/>
              <a:gd name="connsiteY7586" fmla="*/ 3630458 h 4343113"/>
              <a:gd name="connsiteX7587" fmla="*/ 4077628 w 6666359"/>
              <a:gd name="connsiteY7587" fmla="*/ 3630458 h 4343113"/>
              <a:gd name="connsiteX7588" fmla="*/ 4084078 w 6666359"/>
              <a:gd name="connsiteY7588" fmla="*/ 3617559 h 4343113"/>
              <a:gd name="connsiteX7589" fmla="*/ 4080853 w 6666359"/>
              <a:gd name="connsiteY7589" fmla="*/ 3601436 h 4343113"/>
              <a:gd name="connsiteX7590" fmla="*/ 4064729 w 6666359"/>
              <a:gd name="connsiteY7590" fmla="*/ 3578864 h 4343113"/>
              <a:gd name="connsiteX7591" fmla="*/ 4058280 w 6666359"/>
              <a:gd name="connsiteY7591" fmla="*/ 3562740 h 4343113"/>
              <a:gd name="connsiteX7592" fmla="*/ 4055055 w 6666359"/>
              <a:gd name="connsiteY7592" fmla="*/ 3549841 h 4343113"/>
              <a:gd name="connsiteX7593" fmla="*/ 4042157 w 6666359"/>
              <a:gd name="connsiteY7593" fmla="*/ 3520818 h 4343113"/>
              <a:gd name="connsiteX7594" fmla="*/ 4032483 w 6666359"/>
              <a:gd name="connsiteY7594" fmla="*/ 3514369 h 4343113"/>
              <a:gd name="connsiteX7595" fmla="*/ 4022808 w 6666359"/>
              <a:gd name="connsiteY7595" fmla="*/ 3501470 h 4343113"/>
              <a:gd name="connsiteX7596" fmla="*/ 4013134 w 6666359"/>
              <a:gd name="connsiteY7596" fmla="*/ 3485347 h 4343113"/>
              <a:gd name="connsiteX7597" fmla="*/ 4013134 w 6666359"/>
              <a:gd name="connsiteY7597" fmla="*/ 3475673 h 4343113"/>
              <a:gd name="connsiteX7598" fmla="*/ 4009910 w 6666359"/>
              <a:gd name="connsiteY7598" fmla="*/ 3469223 h 4343113"/>
              <a:gd name="connsiteX7599" fmla="*/ 4009910 w 6666359"/>
              <a:gd name="connsiteY7599" fmla="*/ 3465999 h 4343113"/>
              <a:gd name="connsiteX7600" fmla="*/ 4006685 w 6666359"/>
              <a:gd name="connsiteY7600" fmla="*/ 3462773 h 4343113"/>
              <a:gd name="connsiteX7601" fmla="*/ 4006685 w 6666359"/>
              <a:gd name="connsiteY7601" fmla="*/ 3459549 h 4343113"/>
              <a:gd name="connsiteX7602" fmla="*/ 4006685 w 6666359"/>
              <a:gd name="connsiteY7602" fmla="*/ 3446650 h 4343113"/>
              <a:gd name="connsiteX7603" fmla="*/ 4006685 w 6666359"/>
              <a:gd name="connsiteY7603" fmla="*/ 3440201 h 4343113"/>
              <a:gd name="connsiteX7604" fmla="*/ 4006685 w 6666359"/>
              <a:gd name="connsiteY7604" fmla="*/ 3436976 h 4343113"/>
              <a:gd name="connsiteX7605" fmla="*/ 4003460 w 6666359"/>
              <a:gd name="connsiteY7605" fmla="*/ 3430526 h 4343113"/>
              <a:gd name="connsiteX7606" fmla="*/ 3997011 w 6666359"/>
              <a:gd name="connsiteY7606" fmla="*/ 3411179 h 4343113"/>
              <a:gd name="connsiteX7607" fmla="*/ 4000236 w 6666359"/>
              <a:gd name="connsiteY7607" fmla="*/ 3404729 h 4343113"/>
              <a:gd name="connsiteX7608" fmla="*/ 4000236 w 6666359"/>
              <a:gd name="connsiteY7608" fmla="*/ 3398280 h 4343113"/>
              <a:gd name="connsiteX7609" fmla="*/ 3997011 w 6666359"/>
              <a:gd name="connsiteY7609" fmla="*/ 3391831 h 4343113"/>
              <a:gd name="connsiteX7610" fmla="*/ 4000236 w 6666359"/>
              <a:gd name="connsiteY7610" fmla="*/ 3378932 h 4343113"/>
              <a:gd name="connsiteX7611" fmla="*/ 3993786 w 6666359"/>
              <a:gd name="connsiteY7611" fmla="*/ 3362808 h 4343113"/>
              <a:gd name="connsiteX7612" fmla="*/ 3980887 w 6666359"/>
              <a:gd name="connsiteY7612" fmla="*/ 3346685 h 4343113"/>
              <a:gd name="connsiteX7613" fmla="*/ 3974439 w 6666359"/>
              <a:gd name="connsiteY7613" fmla="*/ 3337011 h 4343113"/>
              <a:gd name="connsiteX7614" fmla="*/ 3967989 w 6666359"/>
              <a:gd name="connsiteY7614" fmla="*/ 3317663 h 4343113"/>
              <a:gd name="connsiteX7615" fmla="*/ 3955090 w 6666359"/>
              <a:gd name="connsiteY7615" fmla="*/ 3295090 h 4343113"/>
              <a:gd name="connsiteX7616" fmla="*/ 3951865 w 6666359"/>
              <a:gd name="connsiteY7616" fmla="*/ 3288640 h 4343113"/>
              <a:gd name="connsiteX7617" fmla="*/ 3942192 w 6666359"/>
              <a:gd name="connsiteY7617" fmla="*/ 3275742 h 4343113"/>
              <a:gd name="connsiteX7618" fmla="*/ 3938966 w 6666359"/>
              <a:gd name="connsiteY7618" fmla="*/ 3266067 h 4343113"/>
              <a:gd name="connsiteX7619" fmla="*/ 3938966 w 6666359"/>
              <a:gd name="connsiteY7619" fmla="*/ 3253169 h 4343113"/>
              <a:gd name="connsiteX7620" fmla="*/ 3938966 w 6666359"/>
              <a:gd name="connsiteY7620" fmla="*/ 3233820 h 4343113"/>
              <a:gd name="connsiteX7621" fmla="*/ 3938966 w 6666359"/>
              <a:gd name="connsiteY7621" fmla="*/ 3224146 h 4343113"/>
              <a:gd name="connsiteX7622" fmla="*/ 3942192 w 6666359"/>
              <a:gd name="connsiteY7622" fmla="*/ 3217696 h 4343113"/>
              <a:gd name="connsiteX7623" fmla="*/ 3948640 w 6666359"/>
              <a:gd name="connsiteY7623" fmla="*/ 3201573 h 4343113"/>
              <a:gd name="connsiteX7624" fmla="*/ 3951865 w 6666359"/>
              <a:gd name="connsiteY7624" fmla="*/ 3185450 h 4343113"/>
              <a:gd name="connsiteX7625" fmla="*/ 3955090 w 6666359"/>
              <a:gd name="connsiteY7625" fmla="*/ 3166102 h 4343113"/>
              <a:gd name="connsiteX7626" fmla="*/ 3958315 w 6666359"/>
              <a:gd name="connsiteY7626" fmla="*/ 3162877 h 4343113"/>
              <a:gd name="connsiteX7627" fmla="*/ 3964764 w 6666359"/>
              <a:gd name="connsiteY7627" fmla="*/ 3156428 h 4343113"/>
              <a:gd name="connsiteX7628" fmla="*/ 3964764 w 6666359"/>
              <a:gd name="connsiteY7628" fmla="*/ 3153203 h 4343113"/>
              <a:gd name="connsiteX7629" fmla="*/ 3971213 w 6666359"/>
              <a:gd name="connsiteY7629" fmla="*/ 3149978 h 4343113"/>
              <a:gd name="connsiteX7630" fmla="*/ 3977663 w 6666359"/>
              <a:gd name="connsiteY7630" fmla="*/ 3146754 h 4343113"/>
              <a:gd name="connsiteX7631" fmla="*/ 3980887 w 6666359"/>
              <a:gd name="connsiteY7631" fmla="*/ 3133855 h 4343113"/>
              <a:gd name="connsiteX7632" fmla="*/ 3984112 w 6666359"/>
              <a:gd name="connsiteY7632" fmla="*/ 3120956 h 4343113"/>
              <a:gd name="connsiteX7633" fmla="*/ 3984112 w 6666359"/>
              <a:gd name="connsiteY7633" fmla="*/ 3111281 h 4343113"/>
              <a:gd name="connsiteX7634" fmla="*/ 3980887 w 6666359"/>
              <a:gd name="connsiteY7634" fmla="*/ 3101607 h 4343113"/>
              <a:gd name="connsiteX7635" fmla="*/ 3977663 w 6666359"/>
              <a:gd name="connsiteY7635" fmla="*/ 3095159 h 4343113"/>
              <a:gd name="connsiteX7636" fmla="*/ 3967989 w 6666359"/>
              <a:gd name="connsiteY7636" fmla="*/ 3075810 h 4343113"/>
              <a:gd name="connsiteX7637" fmla="*/ 3974439 w 6666359"/>
              <a:gd name="connsiteY7637" fmla="*/ 3056462 h 4343113"/>
              <a:gd name="connsiteX7638" fmla="*/ 3967989 w 6666359"/>
              <a:gd name="connsiteY7638" fmla="*/ 3043563 h 4343113"/>
              <a:gd name="connsiteX7639" fmla="*/ 3961539 w 6666359"/>
              <a:gd name="connsiteY7639" fmla="*/ 3030665 h 4343113"/>
              <a:gd name="connsiteX7640" fmla="*/ 3955090 w 6666359"/>
              <a:gd name="connsiteY7640" fmla="*/ 3017766 h 4343113"/>
              <a:gd name="connsiteX7641" fmla="*/ 3951865 w 6666359"/>
              <a:gd name="connsiteY7641" fmla="*/ 3004867 h 4343113"/>
              <a:gd name="connsiteX7642" fmla="*/ 3951865 w 6666359"/>
              <a:gd name="connsiteY7642" fmla="*/ 3001642 h 4343113"/>
              <a:gd name="connsiteX7643" fmla="*/ 3948640 w 6666359"/>
              <a:gd name="connsiteY7643" fmla="*/ 2998418 h 4343113"/>
              <a:gd name="connsiteX7644" fmla="*/ 3945416 w 6666359"/>
              <a:gd name="connsiteY7644" fmla="*/ 2985519 h 4343113"/>
              <a:gd name="connsiteX7645" fmla="*/ 3945416 w 6666359"/>
              <a:gd name="connsiteY7645" fmla="*/ 2982294 h 4343113"/>
              <a:gd name="connsiteX7646" fmla="*/ 3935742 w 6666359"/>
              <a:gd name="connsiteY7646" fmla="*/ 2969395 h 4343113"/>
              <a:gd name="connsiteX7647" fmla="*/ 3926068 w 6666359"/>
              <a:gd name="connsiteY7647" fmla="*/ 2959721 h 4343113"/>
              <a:gd name="connsiteX7648" fmla="*/ 3926816 w 6666359"/>
              <a:gd name="connsiteY7648" fmla="*/ 2958598 h 4343113"/>
              <a:gd name="connsiteX7649" fmla="*/ 3926067 w 6666359"/>
              <a:gd name="connsiteY7649" fmla="*/ 2959721 h 4343113"/>
              <a:gd name="connsiteX7650" fmla="*/ 3914780 w 6666359"/>
              <a:gd name="connsiteY7650" fmla="*/ 2946822 h 4343113"/>
              <a:gd name="connsiteX7651" fmla="*/ 3908332 w 6666359"/>
              <a:gd name="connsiteY7651" fmla="*/ 2937148 h 4343113"/>
              <a:gd name="connsiteX7652" fmla="*/ 3905106 w 6666359"/>
              <a:gd name="connsiteY7652" fmla="*/ 2933924 h 4343113"/>
              <a:gd name="connsiteX7653" fmla="*/ 3895433 w 6666359"/>
              <a:gd name="connsiteY7653" fmla="*/ 2924250 h 4343113"/>
              <a:gd name="connsiteX7654" fmla="*/ 3892208 w 6666359"/>
              <a:gd name="connsiteY7654" fmla="*/ 2924250 h 4343113"/>
              <a:gd name="connsiteX7655" fmla="*/ 3879309 w 6666359"/>
              <a:gd name="connsiteY7655" fmla="*/ 2898452 h 4343113"/>
              <a:gd name="connsiteX7656" fmla="*/ 3879309 w 6666359"/>
              <a:gd name="connsiteY7656" fmla="*/ 2892003 h 4343113"/>
              <a:gd name="connsiteX7657" fmla="*/ 3882533 w 6666359"/>
              <a:gd name="connsiteY7657" fmla="*/ 2885553 h 4343113"/>
              <a:gd name="connsiteX7658" fmla="*/ 3885759 w 6666359"/>
              <a:gd name="connsiteY7658" fmla="*/ 2879104 h 4343113"/>
              <a:gd name="connsiteX7659" fmla="*/ 3888983 w 6666359"/>
              <a:gd name="connsiteY7659" fmla="*/ 2869430 h 4343113"/>
              <a:gd name="connsiteX7660" fmla="*/ 3888983 w 6666359"/>
              <a:gd name="connsiteY7660" fmla="*/ 2862980 h 4343113"/>
              <a:gd name="connsiteX7661" fmla="*/ 3885759 w 6666359"/>
              <a:gd name="connsiteY7661" fmla="*/ 2859756 h 4343113"/>
              <a:gd name="connsiteX7662" fmla="*/ 3888983 w 6666359"/>
              <a:gd name="connsiteY7662" fmla="*/ 2853306 h 4343113"/>
              <a:gd name="connsiteX7663" fmla="*/ 3892611 w 6666359"/>
              <a:gd name="connsiteY7663" fmla="*/ 2852098 h 4343113"/>
              <a:gd name="connsiteX7664" fmla="*/ 3893821 w 6666359"/>
              <a:gd name="connsiteY7664" fmla="*/ 2848468 h 4343113"/>
              <a:gd name="connsiteX7665" fmla="*/ 3888983 w 6666359"/>
              <a:gd name="connsiteY7665" fmla="*/ 2846855 h 4343113"/>
              <a:gd name="connsiteX7666" fmla="*/ 3888983 w 6666359"/>
              <a:gd name="connsiteY7666" fmla="*/ 2840406 h 4343113"/>
              <a:gd name="connsiteX7667" fmla="*/ 3895433 w 6666359"/>
              <a:gd name="connsiteY7667" fmla="*/ 2837182 h 4343113"/>
              <a:gd name="connsiteX7668" fmla="*/ 3895433 w 6666359"/>
              <a:gd name="connsiteY7668" fmla="*/ 2827508 h 4343113"/>
              <a:gd name="connsiteX7669" fmla="*/ 3898657 w 6666359"/>
              <a:gd name="connsiteY7669" fmla="*/ 2821058 h 4343113"/>
              <a:gd name="connsiteX7670" fmla="*/ 3898657 w 6666359"/>
              <a:gd name="connsiteY7670" fmla="*/ 2801711 h 4343113"/>
              <a:gd name="connsiteX7671" fmla="*/ 3898657 w 6666359"/>
              <a:gd name="connsiteY7671" fmla="*/ 2792037 h 4343113"/>
              <a:gd name="connsiteX7672" fmla="*/ 3892208 w 6666359"/>
              <a:gd name="connsiteY7672" fmla="*/ 2792037 h 4343113"/>
              <a:gd name="connsiteX7673" fmla="*/ 3892208 w 6666359"/>
              <a:gd name="connsiteY7673" fmla="*/ 2788812 h 4343113"/>
              <a:gd name="connsiteX7674" fmla="*/ 3885759 w 6666359"/>
              <a:gd name="connsiteY7674" fmla="*/ 2785588 h 4343113"/>
              <a:gd name="connsiteX7675" fmla="*/ 3879309 w 6666359"/>
              <a:gd name="connsiteY7675" fmla="*/ 2779138 h 4343113"/>
              <a:gd name="connsiteX7676" fmla="*/ 3872859 w 6666359"/>
              <a:gd name="connsiteY7676" fmla="*/ 2769464 h 4343113"/>
              <a:gd name="connsiteX7677" fmla="*/ 3869635 w 6666359"/>
              <a:gd name="connsiteY7677" fmla="*/ 2766239 h 4343113"/>
              <a:gd name="connsiteX7678" fmla="*/ 3866411 w 6666359"/>
              <a:gd name="connsiteY7678" fmla="*/ 2766239 h 4343113"/>
              <a:gd name="connsiteX7679" fmla="*/ 3863186 w 6666359"/>
              <a:gd name="connsiteY7679" fmla="*/ 2766239 h 4343113"/>
              <a:gd name="connsiteX7680" fmla="*/ 3863186 w 6666359"/>
              <a:gd name="connsiteY7680" fmla="*/ 2772689 h 4343113"/>
              <a:gd name="connsiteX7681" fmla="*/ 3856736 w 6666359"/>
              <a:gd name="connsiteY7681" fmla="*/ 2772689 h 4343113"/>
              <a:gd name="connsiteX7682" fmla="*/ 3853512 w 6666359"/>
              <a:gd name="connsiteY7682" fmla="*/ 2772689 h 4343113"/>
              <a:gd name="connsiteX7683" fmla="*/ 3847062 w 6666359"/>
              <a:gd name="connsiteY7683" fmla="*/ 2769464 h 4343113"/>
              <a:gd name="connsiteX7684" fmla="*/ 3818040 w 6666359"/>
              <a:gd name="connsiteY7684" fmla="*/ 2775914 h 4343113"/>
              <a:gd name="connsiteX7685" fmla="*/ 3814815 w 6666359"/>
              <a:gd name="connsiteY7685" fmla="*/ 2775914 h 4343113"/>
              <a:gd name="connsiteX7686" fmla="*/ 3808366 w 6666359"/>
              <a:gd name="connsiteY7686" fmla="*/ 2775914 h 4343113"/>
              <a:gd name="connsiteX7687" fmla="*/ 3805141 w 6666359"/>
              <a:gd name="connsiteY7687" fmla="*/ 2769464 h 4343113"/>
              <a:gd name="connsiteX7688" fmla="*/ 3801917 w 6666359"/>
              <a:gd name="connsiteY7688" fmla="*/ 2766239 h 4343113"/>
              <a:gd name="connsiteX7689" fmla="*/ 3801917 w 6666359"/>
              <a:gd name="connsiteY7689" fmla="*/ 2759790 h 4343113"/>
              <a:gd name="connsiteX7690" fmla="*/ 3795467 w 6666359"/>
              <a:gd name="connsiteY7690" fmla="*/ 2743667 h 4343113"/>
              <a:gd name="connsiteX7691" fmla="*/ 3785793 w 6666359"/>
              <a:gd name="connsiteY7691" fmla="*/ 2740442 h 4343113"/>
              <a:gd name="connsiteX7692" fmla="*/ 3779344 w 6666359"/>
              <a:gd name="connsiteY7692" fmla="*/ 2733992 h 4343113"/>
              <a:gd name="connsiteX7693" fmla="*/ 3756771 w 6666359"/>
              <a:gd name="connsiteY7693" fmla="*/ 2727543 h 4343113"/>
              <a:gd name="connsiteX7694" fmla="*/ 3756771 w 6666359"/>
              <a:gd name="connsiteY7694" fmla="*/ 2730768 h 4343113"/>
              <a:gd name="connsiteX7695" fmla="*/ 3750322 w 6666359"/>
              <a:gd name="connsiteY7695" fmla="*/ 2733992 h 4343113"/>
              <a:gd name="connsiteX7696" fmla="*/ 3740647 w 6666359"/>
              <a:gd name="connsiteY7696" fmla="*/ 2733992 h 4343113"/>
              <a:gd name="connsiteX7697" fmla="*/ 3737423 w 6666359"/>
              <a:gd name="connsiteY7697" fmla="*/ 2733992 h 4343113"/>
              <a:gd name="connsiteX7698" fmla="*/ 3724523 w 6666359"/>
              <a:gd name="connsiteY7698" fmla="*/ 2733992 h 4343113"/>
              <a:gd name="connsiteX7699" fmla="*/ 3721299 w 6666359"/>
              <a:gd name="connsiteY7699" fmla="*/ 2733992 h 4343113"/>
              <a:gd name="connsiteX7700" fmla="*/ 3708400 w 6666359"/>
              <a:gd name="connsiteY7700" fmla="*/ 2740442 h 4343113"/>
              <a:gd name="connsiteX7701" fmla="*/ 3701951 w 6666359"/>
              <a:gd name="connsiteY7701" fmla="*/ 2746891 h 4343113"/>
              <a:gd name="connsiteX7702" fmla="*/ 3698726 w 6666359"/>
              <a:gd name="connsiteY7702" fmla="*/ 2746891 h 4343113"/>
              <a:gd name="connsiteX7703" fmla="*/ 3695502 w 6666359"/>
              <a:gd name="connsiteY7703" fmla="*/ 2746891 h 4343113"/>
              <a:gd name="connsiteX7704" fmla="*/ 3692277 w 6666359"/>
              <a:gd name="connsiteY7704" fmla="*/ 2746891 h 4343113"/>
              <a:gd name="connsiteX7705" fmla="*/ 3682603 w 6666359"/>
              <a:gd name="connsiteY7705" fmla="*/ 2750115 h 4343113"/>
              <a:gd name="connsiteX7706" fmla="*/ 3647131 w 6666359"/>
              <a:gd name="connsiteY7706" fmla="*/ 2763015 h 4343113"/>
              <a:gd name="connsiteX7707" fmla="*/ 3640682 w 6666359"/>
              <a:gd name="connsiteY7707" fmla="*/ 2769464 h 4343113"/>
              <a:gd name="connsiteX7708" fmla="*/ 3631008 w 6666359"/>
              <a:gd name="connsiteY7708" fmla="*/ 2766239 h 4343113"/>
              <a:gd name="connsiteX7709" fmla="*/ 3618110 w 6666359"/>
              <a:gd name="connsiteY7709" fmla="*/ 2759790 h 4343113"/>
              <a:gd name="connsiteX7710" fmla="*/ 3566514 w 6666359"/>
              <a:gd name="connsiteY7710" fmla="*/ 2759790 h 4343113"/>
              <a:gd name="connsiteX7711" fmla="*/ 3550390 w 6666359"/>
              <a:gd name="connsiteY7711" fmla="*/ 2763015 h 4343113"/>
              <a:gd name="connsiteX7712" fmla="*/ 3534267 w 6666359"/>
              <a:gd name="connsiteY7712" fmla="*/ 2769464 h 4343113"/>
              <a:gd name="connsiteX7713" fmla="*/ 3518143 w 6666359"/>
              <a:gd name="connsiteY7713" fmla="*/ 2775914 h 4343113"/>
              <a:gd name="connsiteX7714" fmla="*/ 3492346 w 6666359"/>
              <a:gd name="connsiteY7714" fmla="*/ 2769464 h 4343113"/>
              <a:gd name="connsiteX7715" fmla="*/ 3472998 w 6666359"/>
              <a:gd name="connsiteY7715" fmla="*/ 2753341 h 4343113"/>
              <a:gd name="connsiteX7716" fmla="*/ 3460099 w 6666359"/>
              <a:gd name="connsiteY7716" fmla="*/ 2743667 h 4343113"/>
              <a:gd name="connsiteX7717" fmla="*/ 3450425 w 6666359"/>
              <a:gd name="connsiteY7717" fmla="*/ 2737217 h 4343113"/>
              <a:gd name="connsiteX7718" fmla="*/ 3447200 w 6666359"/>
              <a:gd name="connsiteY7718" fmla="*/ 2733992 h 4343113"/>
              <a:gd name="connsiteX7719" fmla="*/ 3443976 w 6666359"/>
              <a:gd name="connsiteY7719" fmla="*/ 2730768 h 4343113"/>
              <a:gd name="connsiteX7720" fmla="*/ 3440751 w 6666359"/>
              <a:gd name="connsiteY7720" fmla="*/ 2727543 h 4343113"/>
              <a:gd name="connsiteX7721" fmla="*/ 3431077 w 6666359"/>
              <a:gd name="connsiteY7721" fmla="*/ 2721094 h 4343113"/>
              <a:gd name="connsiteX7722" fmla="*/ 3427853 w 6666359"/>
              <a:gd name="connsiteY7722" fmla="*/ 2721094 h 4343113"/>
              <a:gd name="connsiteX7723" fmla="*/ 3411729 w 6666359"/>
              <a:gd name="connsiteY7723" fmla="*/ 2711420 h 4343113"/>
              <a:gd name="connsiteX7724" fmla="*/ 3405279 w 6666359"/>
              <a:gd name="connsiteY7724" fmla="*/ 2704970 h 4343113"/>
              <a:gd name="connsiteX7725" fmla="*/ 3395606 w 6666359"/>
              <a:gd name="connsiteY7725" fmla="*/ 2698521 h 4343113"/>
              <a:gd name="connsiteX7726" fmla="*/ 3392380 w 6666359"/>
              <a:gd name="connsiteY7726" fmla="*/ 2685622 h 4343113"/>
              <a:gd name="connsiteX7727" fmla="*/ 3392380 w 6666359"/>
              <a:gd name="connsiteY7727" fmla="*/ 2675947 h 4343113"/>
              <a:gd name="connsiteX7728" fmla="*/ 3382706 w 6666359"/>
              <a:gd name="connsiteY7728" fmla="*/ 2656600 h 4343113"/>
              <a:gd name="connsiteX7729" fmla="*/ 3382706 w 6666359"/>
              <a:gd name="connsiteY7729" fmla="*/ 2653375 h 4343113"/>
              <a:gd name="connsiteX7730" fmla="*/ 3376257 w 6666359"/>
              <a:gd name="connsiteY7730" fmla="*/ 2650150 h 4343113"/>
              <a:gd name="connsiteX7731" fmla="*/ 3369808 w 6666359"/>
              <a:gd name="connsiteY7731" fmla="*/ 2650150 h 4343113"/>
              <a:gd name="connsiteX7732" fmla="*/ 3363359 w 6666359"/>
              <a:gd name="connsiteY7732" fmla="*/ 2643700 h 4343113"/>
              <a:gd name="connsiteX7733" fmla="*/ 3360133 w 6666359"/>
              <a:gd name="connsiteY7733" fmla="*/ 2640476 h 4343113"/>
              <a:gd name="connsiteX7734" fmla="*/ 3353685 w 6666359"/>
              <a:gd name="connsiteY7734" fmla="*/ 2637252 h 4343113"/>
              <a:gd name="connsiteX7735" fmla="*/ 3353685 w 6666359"/>
              <a:gd name="connsiteY7735" fmla="*/ 2634026 h 4343113"/>
              <a:gd name="connsiteX7736" fmla="*/ 3353685 w 6666359"/>
              <a:gd name="connsiteY7736" fmla="*/ 2630802 h 4343113"/>
              <a:gd name="connsiteX7737" fmla="*/ 3350459 w 6666359"/>
              <a:gd name="connsiteY7737" fmla="*/ 2630802 h 4343113"/>
              <a:gd name="connsiteX7738" fmla="*/ 3344010 w 6666359"/>
              <a:gd name="connsiteY7738" fmla="*/ 2627577 h 4343113"/>
              <a:gd name="connsiteX7739" fmla="*/ 3344010 w 6666359"/>
              <a:gd name="connsiteY7739" fmla="*/ 2621128 h 4343113"/>
              <a:gd name="connsiteX7740" fmla="*/ 3344010 w 6666359"/>
              <a:gd name="connsiteY7740" fmla="*/ 2617903 h 4343113"/>
              <a:gd name="connsiteX7741" fmla="*/ 3340785 w 6666359"/>
              <a:gd name="connsiteY7741" fmla="*/ 2614679 h 4343113"/>
              <a:gd name="connsiteX7742" fmla="*/ 3340785 w 6666359"/>
              <a:gd name="connsiteY7742" fmla="*/ 2611453 h 4343113"/>
              <a:gd name="connsiteX7743" fmla="*/ 3334336 w 6666359"/>
              <a:gd name="connsiteY7743" fmla="*/ 2614679 h 4343113"/>
              <a:gd name="connsiteX7744" fmla="*/ 3324662 w 6666359"/>
              <a:gd name="connsiteY7744" fmla="*/ 2608229 h 4343113"/>
              <a:gd name="connsiteX7745" fmla="*/ 3331112 w 6666359"/>
              <a:gd name="connsiteY7745" fmla="*/ 2601779 h 4343113"/>
              <a:gd name="connsiteX7746" fmla="*/ 3314988 w 6666359"/>
              <a:gd name="connsiteY7746" fmla="*/ 2601779 h 4343113"/>
              <a:gd name="connsiteX7747" fmla="*/ 3314988 w 6666359"/>
              <a:gd name="connsiteY7747" fmla="*/ 2595330 h 4343113"/>
              <a:gd name="connsiteX7748" fmla="*/ 3314988 w 6666359"/>
              <a:gd name="connsiteY7748" fmla="*/ 2585656 h 4343113"/>
              <a:gd name="connsiteX7749" fmla="*/ 3314988 w 6666359"/>
              <a:gd name="connsiteY7749" fmla="*/ 2579207 h 4343113"/>
              <a:gd name="connsiteX7750" fmla="*/ 3318212 w 6666359"/>
              <a:gd name="connsiteY7750" fmla="*/ 2575982 h 4343113"/>
              <a:gd name="connsiteX7751" fmla="*/ 3318212 w 6666359"/>
              <a:gd name="connsiteY7751" fmla="*/ 2572758 h 4343113"/>
              <a:gd name="connsiteX7752" fmla="*/ 3321438 w 6666359"/>
              <a:gd name="connsiteY7752" fmla="*/ 2563084 h 4343113"/>
              <a:gd name="connsiteX7753" fmla="*/ 3314988 w 6666359"/>
              <a:gd name="connsiteY7753" fmla="*/ 2563084 h 4343113"/>
              <a:gd name="connsiteX7754" fmla="*/ 3311764 w 6666359"/>
              <a:gd name="connsiteY7754" fmla="*/ 2559859 h 4343113"/>
              <a:gd name="connsiteX7755" fmla="*/ 3305314 w 6666359"/>
              <a:gd name="connsiteY7755" fmla="*/ 2550185 h 4343113"/>
              <a:gd name="connsiteX7756" fmla="*/ 3308538 w 6666359"/>
              <a:gd name="connsiteY7756" fmla="*/ 2546960 h 4343113"/>
              <a:gd name="connsiteX7757" fmla="*/ 3314988 w 6666359"/>
              <a:gd name="connsiteY7757" fmla="*/ 2534061 h 4343113"/>
              <a:gd name="connsiteX7758" fmla="*/ 3318212 w 6666359"/>
              <a:gd name="connsiteY7758" fmla="*/ 2524387 h 4343113"/>
              <a:gd name="connsiteX7759" fmla="*/ 3321438 w 6666359"/>
              <a:gd name="connsiteY7759" fmla="*/ 2517938 h 4343113"/>
              <a:gd name="connsiteX7760" fmla="*/ 3327887 w 6666359"/>
              <a:gd name="connsiteY7760" fmla="*/ 2495364 h 4343113"/>
              <a:gd name="connsiteX7761" fmla="*/ 3331112 w 6666359"/>
              <a:gd name="connsiteY7761" fmla="*/ 2469567 h 4343113"/>
              <a:gd name="connsiteX7762" fmla="*/ 3327887 w 6666359"/>
              <a:gd name="connsiteY7762" fmla="*/ 2453444 h 4343113"/>
              <a:gd name="connsiteX7763" fmla="*/ 3324662 w 6666359"/>
              <a:gd name="connsiteY7763" fmla="*/ 2434096 h 4343113"/>
              <a:gd name="connsiteX7764" fmla="*/ 3327887 w 6666359"/>
              <a:gd name="connsiteY7764" fmla="*/ 2427646 h 4343113"/>
              <a:gd name="connsiteX7765" fmla="*/ 3327887 w 6666359"/>
              <a:gd name="connsiteY7765" fmla="*/ 2421196 h 4343113"/>
              <a:gd name="connsiteX7766" fmla="*/ 3321438 w 6666359"/>
              <a:gd name="connsiteY7766" fmla="*/ 2414747 h 4343113"/>
              <a:gd name="connsiteX7767" fmla="*/ 3308538 w 6666359"/>
              <a:gd name="connsiteY7767" fmla="*/ 2398623 h 4343113"/>
              <a:gd name="connsiteX7768" fmla="*/ 3308538 w 6666359"/>
              <a:gd name="connsiteY7768" fmla="*/ 2392175 h 4343113"/>
              <a:gd name="connsiteX7769" fmla="*/ 3311764 w 6666359"/>
              <a:gd name="connsiteY7769" fmla="*/ 2379276 h 4343113"/>
              <a:gd name="connsiteX7770" fmla="*/ 3314988 w 6666359"/>
              <a:gd name="connsiteY7770" fmla="*/ 2376051 h 4343113"/>
              <a:gd name="connsiteX7771" fmla="*/ 3318212 w 6666359"/>
              <a:gd name="connsiteY7771" fmla="*/ 2372826 h 4343113"/>
              <a:gd name="connsiteX7772" fmla="*/ 3324662 w 6666359"/>
              <a:gd name="connsiteY7772" fmla="*/ 2366377 h 4343113"/>
              <a:gd name="connsiteX7773" fmla="*/ 3327887 w 6666359"/>
              <a:gd name="connsiteY7773" fmla="*/ 2353478 h 4343113"/>
              <a:gd name="connsiteX7774" fmla="*/ 3337561 w 6666359"/>
              <a:gd name="connsiteY7774" fmla="*/ 2334130 h 4343113"/>
              <a:gd name="connsiteX7775" fmla="*/ 3344010 w 6666359"/>
              <a:gd name="connsiteY7775" fmla="*/ 2330905 h 4343113"/>
              <a:gd name="connsiteX7776" fmla="*/ 3356909 w 6666359"/>
              <a:gd name="connsiteY7776" fmla="*/ 2308332 h 4343113"/>
              <a:gd name="connsiteX7777" fmla="*/ 3356909 w 6666359"/>
              <a:gd name="connsiteY7777" fmla="*/ 2298658 h 4343113"/>
              <a:gd name="connsiteX7778" fmla="*/ 3363359 w 6666359"/>
              <a:gd name="connsiteY7778" fmla="*/ 2285760 h 4343113"/>
              <a:gd name="connsiteX7779" fmla="*/ 3366583 w 6666359"/>
              <a:gd name="connsiteY7779" fmla="*/ 2279310 h 4343113"/>
              <a:gd name="connsiteX7780" fmla="*/ 3373032 w 6666359"/>
              <a:gd name="connsiteY7780" fmla="*/ 2276086 h 4343113"/>
              <a:gd name="connsiteX7781" fmla="*/ 3382706 w 6666359"/>
              <a:gd name="connsiteY7781" fmla="*/ 2269636 h 4343113"/>
              <a:gd name="connsiteX7782" fmla="*/ 3389156 w 6666359"/>
              <a:gd name="connsiteY7782" fmla="*/ 2256737 h 4343113"/>
              <a:gd name="connsiteX7783" fmla="*/ 3392380 w 6666359"/>
              <a:gd name="connsiteY7783" fmla="*/ 2243839 h 4343113"/>
              <a:gd name="connsiteX7784" fmla="*/ 3395606 w 6666359"/>
              <a:gd name="connsiteY7784" fmla="*/ 2240613 h 4343113"/>
              <a:gd name="connsiteX7785" fmla="*/ 3408504 w 6666359"/>
              <a:gd name="connsiteY7785" fmla="*/ 2237389 h 4343113"/>
              <a:gd name="connsiteX7786" fmla="*/ 3421403 w 6666359"/>
              <a:gd name="connsiteY7786" fmla="*/ 2234164 h 4343113"/>
              <a:gd name="connsiteX7787" fmla="*/ 3431077 w 6666359"/>
              <a:gd name="connsiteY7787" fmla="*/ 2224490 h 4343113"/>
              <a:gd name="connsiteX7788" fmla="*/ 3440751 w 6666359"/>
              <a:gd name="connsiteY7788" fmla="*/ 2218040 h 4343113"/>
              <a:gd name="connsiteX7789" fmla="*/ 3450425 w 6666359"/>
              <a:gd name="connsiteY7789" fmla="*/ 2211592 h 4343113"/>
              <a:gd name="connsiteX7790" fmla="*/ 3460099 w 6666359"/>
              <a:gd name="connsiteY7790" fmla="*/ 2201917 h 4343113"/>
              <a:gd name="connsiteX7791" fmla="*/ 3472998 w 6666359"/>
              <a:gd name="connsiteY7791" fmla="*/ 2176119 h 4343113"/>
              <a:gd name="connsiteX7792" fmla="*/ 3466548 w 6666359"/>
              <a:gd name="connsiteY7792" fmla="*/ 2153546 h 4343113"/>
              <a:gd name="connsiteX7793" fmla="*/ 3476222 w 6666359"/>
              <a:gd name="connsiteY7793" fmla="*/ 2134198 h 4343113"/>
              <a:gd name="connsiteX7794" fmla="*/ 3479447 w 6666359"/>
              <a:gd name="connsiteY7794" fmla="*/ 2124525 h 4343113"/>
              <a:gd name="connsiteX7795" fmla="*/ 3482672 w 6666359"/>
              <a:gd name="connsiteY7795" fmla="*/ 2118075 h 4343113"/>
              <a:gd name="connsiteX7796" fmla="*/ 3498795 w 6666359"/>
              <a:gd name="connsiteY7796" fmla="*/ 2101951 h 4343113"/>
              <a:gd name="connsiteX7797" fmla="*/ 3534267 w 6666359"/>
              <a:gd name="connsiteY7797" fmla="*/ 2082604 h 4343113"/>
              <a:gd name="connsiteX7798" fmla="*/ 3537492 w 6666359"/>
              <a:gd name="connsiteY7798" fmla="*/ 2076154 h 4343113"/>
              <a:gd name="connsiteX7799" fmla="*/ 3553615 w 6666359"/>
              <a:gd name="connsiteY7799" fmla="*/ 2037457 h 4343113"/>
              <a:gd name="connsiteX7800" fmla="*/ 3562739 w 6666359"/>
              <a:gd name="connsiteY7800" fmla="*/ 2031375 h 4343113"/>
              <a:gd name="connsiteX7801" fmla="*/ 3563289 w 6666359"/>
              <a:gd name="connsiteY7801" fmla="*/ 2031346 h 4343113"/>
              <a:gd name="connsiteX7802" fmla="*/ 3563289 w 6666359"/>
              <a:gd name="connsiteY7802" fmla="*/ 2034233 h 4343113"/>
              <a:gd name="connsiteX7803" fmla="*/ 3576188 w 6666359"/>
              <a:gd name="connsiteY7803" fmla="*/ 2050357 h 4343113"/>
              <a:gd name="connsiteX7804" fmla="*/ 3595536 w 6666359"/>
              <a:gd name="connsiteY7804" fmla="*/ 2053581 h 4343113"/>
              <a:gd name="connsiteX7805" fmla="*/ 3608435 w 6666359"/>
              <a:gd name="connsiteY7805" fmla="*/ 2053581 h 4343113"/>
              <a:gd name="connsiteX7806" fmla="*/ 3614884 w 6666359"/>
              <a:gd name="connsiteY7806" fmla="*/ 2050357 h 4343113"/>
              <a:gd name="connsiteX7807" fmla="*/ 3621334 w 6666359"/>
              <a:gd name="connsiteY7807" fmla="*/ 2053581 h 4343113"/>
              <a:gd name="connsiteX7808" fmla="*/ 3631008 w 6666359"/>
              <a:gd name="connsiteY7808" fmla="*/ 2053581 h 4343113"/>
              <a:gd name="connsiteX7809" fmla="*/ 3634233 w 6666359"/>
              <a:gd name="connsiteY7809" fmla="*/ 2053581 h 4343113"/>
              <a:gd name="connsiteX7810" fmla="*/ 3637457 w 6666359"/>
              <a:gd name="connsiteY7810" fmla="*/ 2053581 h 4343113"/>
              <a:gd name="connsiteX7811" fmla="*/ 3643907 w 6666359"/>
              <a:gd name="connsiteY7811" fmla="*/ 2053581 h 4343113"/>
              <a:gd name="connsiteX7812" fmla="*/ 3653581 w 6666359"/>
              <a:gd name="connsiteY7812" fmla="*/ 2043907 h 4343113"/>
              <a:gd name="connsiteX7813" fmla="*/ 3656805 w 6666359"/>
              <a:gd name="connsiteY7813" fmla="*/ 2040683 h 4343113"/>
              <a:gd name="connsiteX7814" fmla="*/ 3660030 w 6666359"/>
              <a:gd name="connsiteY7814" fmla="*/ 2037457 h 4343113"/>
              <a:gd name="connsiteX7815" fmla="*/ 3666479 w 6666359"/>
              <a:gd name="connsiteY7815" fmla="*/ 2037457 h 4343113"/>
              <a:gd name="connsiteX7816" fmla="*/ 3676154 w 6666359"/>
              <a:gd name="connsiteY7816" fmla="*/ 2034233 h 4343113"/>
              <a:gd name="connsiteX7817" fmla="*/ 3685828 w 6666359"/>
              <a:gd name="connsiteY7817" fmla="*/ 2027783 h 4343113"/>
              <a:gd name="connsiteX7818" fmla="*/ 3705176 w 6666359"/>
              <a:gd name="connsiteY7818" fmla="*/ 2018110 h 4343113"/>
              <a:gd name="connsiteX7819" fmla="*/ 3718075 w 6666359"/>
              <a:gd name="connsiteY7819" fmla="*/ 2014884 h 4343113"/>
              <a:gd name="connsiteX7820" fmla="*/ 3734198 w 6666359"/>
              <a:gd name="connsiteY7820" fmla="*/ 2011660 h 4343113"/>
              <a:gd name="connsiteX7821" fmla="*/ 3747097 w 6666359"/>
              <a:gd name="connsiteY7821" fmla="*/ 2011660 h 4343113"/>
              <a:gd name="connsiteX7822" fmla="*/ 3763220 w 6666359"/>
              <a:gd name="connsiteY7822" fmla="*/ 2008436 h 4343113"/>
              <a:gd name="connsiteX7823" fmla="*/ 3782568 w 6666359"/>
              <a:gd name="connsiteY7823" fmla="*/ 2005210 h 4343113"/>
              <a:gd name="connsiteX7824" fmla="*/ 3795467 w 6666359"/>
              <a:gd name="connsiteY7824" fmla="*/ 2011660 h 4343113"/>
              <a:gd name="connsiteX7825" fmla="*/ 3818040 w 6666359"/>
              <a:gd name="connsiteY7825" fmla="*/ 2008436 h 4343113"/>
              <a:gd name="connsiteX7826" fmla="*/ 3834164 w 6666359"/>
              <a:gd name="connsiteY7826" fmla="*/ 2005210 h 4343113"/>
              <a:gd name="connsiteX7827" fmla="*/ 3847062 w 6666359"/>
              <a:gd name="connsiteY7827" fmla="*/ 2001986 h 4343113"/>
              <a:gd name="connsiteX7828" fmla="*/ 3856736 w 6666359"/>
              <a:gd name="connsiteY7828" fmla="*/ 2008436 h 4343113"/>
              <a:gd name="connsiteX7829" fmla="*/ 3869635 w 6666359"/>
              <a:gd name="connsiteY7829" fmla="*/ 2005210 h 4343113"/>
              <a:gd name="connsiteX7830" fmla="*/ 3879309 w 6666359"/>
              <a:gd name="connsiteY7830" fmla="*/ 1998762 h 4343113"/>
              <a:gd name="connsiteX7831" fmla="*/ 3892208 w 6666359"/>
              <a:gd name="connsiteY7831" fmla="*/ 1995536 h 4343113"/>
              <a:gd name="connsiteX7832" fmla="*/ 3898657 w 6666359"/>
              <a:gd name="connsiteY7832" fmla="*/ 1995536 h 4343113"/>
              <a:gd name="connsiteX7833" fmla="*/ 3908332 w 6666359"/>
              <a:gd name="connsiteY7833" fmla="*/ 1998762 h 4343113"/>
              <a:gd name="connsiteX7834" fmla="*/ 3905106 w 6666359"/>
              <a:gd name="connsiteY7834" fmla="*/ 1998762 h 4343113"/>
              <a:gd name="connsiteX7835" fmla="*/ 3908332 w 6666359"/>
              <a:gd name="connsiteY7835" fmla="*/ 2008436 h 4343113"/>
              <a:gd name="connsiteX7836" fmla="*/ 3921230 w 6666359"/>
              <a:gd name="connsiteY7836" fmla="*/ 2001986 h 4343113"/>
              <a:gd name="connsiteX7837" fmla="*/ 3924455 w 6666359"/>
              <a:gd name="connsiteY7837" fmla="*/ 2001986 h 4343113"/>
              <a:gd name="connsiteX7838" fmla="*/ 3924455 w 6666359"/>
              <a:gd name="connsiteY7838" fmla="*/ 2005210 h 4343113"/>
              <a:gd name="connsiteX7839" fmla="*/ 3918006 w 6666359"/>
              <a:gd name="connsiteY7839" fmla="*/ 2014884 h 4343113"/>
              <a:gd name="connsiteX7840" fmla="*/ 3914780 w 6666359"/>
              <a:gd name="connsiteY7840" fmla="*/ 2018110 h 4343113"/>
              <a:gd name="connsiteX7841" fmla="*/ 3911556 w 6666359"/>
              <a:gd name="connsiteY7841" fmla="*/ 2021334 h 4343113"/>
              <a:gd name="connsiteX7842" fmla="*/ 3911556 w 6666359"/>
              <a:gd name="connsiteY7842" fmla="*/ 2031008 h 4343113"/>
              <a:gd name="connsiteX7843" fmla="*/ 3918006 w 6666359"/>
              <a:gd name="connsiteY7843" fmla="*/ 2037457 h 4343113"/>
              <a:gd name="connsiteX7844" fmla="*/ 3924455 w 6666359"/>
              <a:gd name="connsiteY7844" fmla="*/ 2050357 h 4343113"/>
              <a:gd name="connsiteX7845" fmla="*/ 3921230 w 6666359"/>
              <a:gd name="connsiteY7845" fmla="*/ 2060030 h 4343113"/>
              <a:gd name="connsiteX7846" fmla="*/ 3911556 w 6666359"/>
              <a:gd name="connsiteY7846" fmla="*/ 2069704 h 4343113"/>
              <a:gd name="connsiteX7847" fmla="*/ 3901882 w 6666359"/>
              <a:gd name="connsiteY7847" fmla="*/ 2082604 h 4343113"/>
              <a:gd name="connsiteX7848" fmla="*/ 3918006 w 6666359"/>
              <a:gd name="connsiteY7848" fmla="*/ 2098727 h 4343113"/>
              <a:gd name="connsiteX7849" fmla="*/ 3926068 w 6666359"/>
              <a:gd name="connsiteY7849" fmla="*/ 2105177 h 4343113"/>
              <a:gd name="connsiteX7850" fmla="*/ 3929292 w 6666359"/>
              <a:gd name="connsiteY7850" fmla="*/ 2101951 h 4343113"/>
              <a:gd name="connsiteX7851" fmla="*/ 3932518 w 6666359"/>
              <a:gd name="connsiteY7851" fmla="*/ 2105177 h 4343113"/>
              <a:gd name="connsiteX7852" fmla="*/ 3938965 w 6666359"/>
              <a:gd name="connsiteY7852" fmla="*/ 2108401 h 4343113"/>
              <a:gd name="connsiteX7853" fmla="*/ 3961538 w 6666359"/>
              <a:gd name="connsiteY7853" fmla="*/ 2114851 h 4343113"/>
              <a:gd name="connsiteX7854" fmla="*/ 3971212 w 6666359"/>
              <a:gd name="connsiteY7854" fmla="*/ 2111625 h 4343113"/>
              <a:gd name="connsiteX7855" fmla="*/ 3984111 w 6666359"/>
              <a:gd name="connsiteY7855" fmla="*/ 2114851 h 4343113"/>
              <a:gd name="connsiteX7856" fmla="*/ 4013133 w 6666359"/>
              <a:gd name="connsiteY7856" fmla="*/ 2124525 h 4343113"/>
              <a:gd name="connsiteX7857" fmla="*/ 4016358 w 6666359"/>
              <a:gd name="connsiteY7857" fmla="*/ 2134198 h 4343113"/>
              <a:gd name="connsiteX7858" fmla="*/ 4019583 w 6666359"/>
              <a:gd name="connsiteY7858" fmla="*/ 2143872 h 4343113"/>
              <a:gd name="connsiteX7859" fmla="*/ 4042156 w 6666359"/>
              <a:gd name="connsiteY7859" fmla="*/ 2156772 h 4343113"/>
              <a:gd name="connsiteX7860" fmla="*/ 4051831 w 6666359"/>
              <a:gd name="connsiteY7860" fmla="*/ 2156772 h 4343113"/>
              <a:gd name="connsiteX7861" fmla="*/ 4064729 w 6666359"/>
              <a:gd name="connsiteY7861" fmla="*/ 2159996 h 4343113"/>
              <a:gd name="connsiteX7862" fmla="*/ 4077628 w 6666359"/>
              <a:gd name="connsiteY7862" fmla="*/ 2166446 h 4343113"/>
              <a:gd name="connsiteX7863" fmla="*/ 4087302 w 6666359"/>
              <a:gd name="connsiteY7863" fmla="*/ 2176119 h 4343113"/>
              <a:gd name="connsiteX7864" fmla="*/ 4109875 w 6666359"/>
              <a:gd name="connsiteY7864" fmla="*/ 2176119 h 4343113"/>
              <a:gd name="connsiteX7865" fmla="*/ 4122773 w 6666359"/>
              <a:gd name="connsiteY7865" fmla="*/ 2156772 h 4343113"/>
              <a:gd name="connsiteX7866" fmla="*/ 4119549 w 6666359"/>
              <a:gd name="connsiteY7866" fmla="*/ 2130974 h 4343113"/>
              <a:gd name="connsiteX7867" fmla="*/ 4142122 w 6666359"/>
              <a:gd name="connsiteY7867" fmla="*/ 2114851 h 4343113"/>
              <a:gd name="connsiteX7868" fmla="*/ 4167920 w 6666359"/>
              <a:gd name="connsiteY7868" fmla="*/ 2111625 h 4343113"/>
              <a:gd name="connsiteX7869" fmla="*/ 4184043 w 6666359"/>
              <a:gd name="connsiteY7869" fmla="*/ 2118075 h 4343113"/>
              <a:gd name="connsiteX7870" fmla="*/ 4187268 w 6666359"/>
              <a:gd name="connsiteY7870" fmla="*/ 2118075 h 4343113"/>
              <a:gd name="connsiteX7871" fmla="*/ 4187268 w 6666359"/>
              <a:gd name="connsiteY7871" fmla="*/ 2124525 h 4343113"/>
              <a:gd name="connsiteX7872" fmla="*/ 4206617 w 6666359"/>
              <a:gd name="connsiteY7872" fmla="*/ 2134198 h 4343113"/>
              <a:gd name="connsiteX7873" fmla="*/ 4219515 w 6666359"/>
              <a:gd name="connsiteY7873" fmla="*/ 2134198 h 4343113"/>
              <a:gd name="connsiteX7874" fmla="*/ 4229189 w 6666359"/>
              <a:gd name="connsiteY7874" fmla="*/ 2137423 h 4343113"/>
              <a:gd name="connsiteX7875" fmla="*/ 4232414 w 6666359"/>
              <a:gd name="connsiteY7875" fmla="*/ 2143872 h 4343113"/>
              <a:gd name="connsiteX7876" fmla="*/ 4248537 w 6666359"/>
              <a:gd name="connsiteY7876" fmla="*/ 2143872 h 4343113"/>
              <a:gd name="connsiteX7877" fmla="*/ 4274335 w 6666359"/>
              <a:gd name="connsiteY7877" fmla="*/ 2150322 h 4343113"/>
              <a:gd name="connsiteX7878" fmla="*/ 4277559 w 6666359"/>
              <a:gd name="connsiteY7878" fmla="*/ 2153546 h 4343113"/>
              <a:gd name="connsiteX7879" fmla="*/ 4284009 w 6666359"/>
              <a:gd name="connsiteY7879" fmla="*/ 2156772 h 4343113"/>
              <a:gd name="connsiteX7880" fmla="*/ 4293683 w 6666359"/>
              <a:gd name="connsiteY7880" fmla="*/ 2159996 h 4343113"/>
              <a:gd name="connsiteX7881" fmla="*/ 4306582 w 6666359"/>
              <a:gd name="connsiteY7881" fmla="*/ 2159996 h 4343113"/>
              <a:gd name="connsiteX7882" fmla="*/ 4316256 w 6666359"/>
              <a:gd name="connsiteY7882" fmla="*/ 2166446 h 4343113"/>
              <a:gd name="connsiteX7883" fmla="*/ 4329154 w 6666359"/>
              <a:gd name="connsiteY7883" fmla="*/ 2159996 h 4343113"/>
              <a:gd name="connsiteX7884" fmla="*/ 4345277 w 6666359"/>
              <a:gd name="connsiteY7884" fmla="*/ 2153546 h 4343113"/>
              <a:gd name="connsiteX7885" fmla="*/ 4348503 w 6666359"/>
              <a:gd name="connsiteY7885" fmla="*/ 2150322 h 4343113"/>
              <a:gd name="connsiteX7886" fmla="*/ 4377525 w 6666359"/>
              <a:gd name="connsiteY7886" fmla="*/ 2147098 h 4343113"/>
              <a:gd name="connsiteX7887" fmla="*/ 4392177 w 6666359"/>
              <a:gd name="connsiteY7887" fmla="*/ 2155470 h 4343113"/>
              <a:gd name="connsiteX7888" fmla="*/ 4392177 w 6666359"/>
              <a:gd name="connsiteY7888" fmla="*/ 2155469 h 4343113"/>
              <a:gd name="connsiteX7889" fmla="*/ 4400097 w 6666359"/>
              <a:gd name="connsiteY7889" fmla="*/ 2159995 h 4343113"/>
              <a:gd name="connsiteX7890" fmla="*/ 4403321 w 6666359"/>
              <a:gd name="connsiteY7890" fmla="*/ 2159995 h 4343113"/>
              <a:gd name="connsiteX7891" fmla="*/ 4406545 w 6666359"/>
              <a:gd name="connsiteY7891" fmla="*/ 2156771 h 4343113"/>
              <a:gd name="connsiteX7892" fmla="*/ 4416220 w 6666359"/>
              <a:gd name="connsiteY7892" fmla="*/ 2159995 h 4343113"/>
              <a:gd name="connsiteX7893" fmla="*/ 4432344 w 6666359"/>
              <a:gd name="connsiteY7893" fmla="*/ 2153545 h 4343113"/>
              <a:gd name="connsiteX7894" fmla="*/ 4435568 w 6666359"/>
              <a:gd name="connsiteY7894" fmla="*/ 2147096 h 4343113"/>
              <a:gd name="connsiteX7895" fmla="*/ 4445242 w 6666359"/>
              <a:gd name="connsiteY7895" fmla="*/ 2118074 h 4343113"/>
              <a:gd name="connsiteX7896" fmla="*/ 4448467 w 6666359"/>
              <a:gd name="connsiteY7896" fmla="*/ 2108400 h 4343113"/>
              <a:gd name="connsiteX7897" fmla="*/ 4454916 w 6666359"/>
              <a:gd name="connsiteY7897" fmla="*/ 2101950 h 4343113"/>
              <a:gd name="connsiteX7898" fmla="*/ 4454916 w 6666359"/>
              <a:gd name="connsiteY7898" fmla="*/ 2095501 h 4343113"/>
              <a:gd name="connsiteX7899" fmla="*/ 4461365 w 6666359"/>
              <a:gd name="connsiteY7899" fmla="*/ 2082603 h 4343113"/>
              <a:gd name="connsiteX7900" fmla="*/ 4461365 w 6666359"/>
              <a:gd name="connsiteY7900" fmla="*/ 2076153 h 4343113"/>
              <a:gd name="connsiteX7901" fmla="*/ 4467815 w 6666359"/>
              <a:gd name="connsiteY7901" fmla="*/ 2069703 h 4343113"/>
              <a:gd name="connsiteX7902" fmla="*/ 4467815 w 6666359"/>
              <a:gd name="connsiteY7902" fmla="*/ 2066479 h 4343113"/>
              <a:gd name="connsiteX7903" fmla="*/ 4467815 w 6666359"/>
              <a:gd name="connsiteY7903" fmla="*/ 2063254 h 4343113"/>
              <a:gd name="connsiteX7904" fmla="*/ 4467815 w 6666359"/>
              <a:gd name="connsiteY7904" fmla="*/ 2056804 h 4343113"/>
              <a:gd name="connsiteX7905" fmla="*/ 4467815 w 6666359"/>
              <a:gd name="connsiteY7905" fmla="*/ 2043906 h 4343113"/>
              <a:gd name="connsiteX7906" fmla="*/ 4464590 w 6666359"/>
              <a:gd name="connsiteY7906" fmla="*/ 2040681 h 4343113"/>
              <a:gd name="connsiteX7907" fmla="*/ 4467815 w 6666359"/>
              <a:gd name="connsiteY7907" fmla="*/ 2031007 h 4343113"/>
              <a:gd name="connsiteX7908" fmla="*/ 4467815 w 6666359"/>
              <a:gd name="connsiteY7908" fmla="*/ 2027782 h 4343113"/>
              <a:gd name="connsiteX7909" fmla="*/ 4464591 w 6666359"/>
              <a:gd name="connsiteY7909" fmla="*/ 2021333 h 4343113"/>
              <a:gd name="connsiteX7910" fmla="*/ 4467815 w 6666359"/>
              <a:gd name="connsiteY7910" fmla="*/ 2018108 h 4343113"/>
              <a:gd name="connsiteX7911" fmla="*/ 4474265 w 6666359"/>
              <a:gd name="connsiteY7911" fmla="*/ 2011659 h 4343113"/>
              <a:gd name="connsiteX7912" fmla="*/ 4471040 w 6666359"/>
              <a:gd name="connsiteY7912" fmla="*/ 2005209 h 4343113"/>
              <a:gd name="connsiteX7913" fmla="*/ 4461365 w 6666359"/>
              <a:gd name="connsiteY7913" fmla="*/ 2014884 h 4343113"/>
              <a:gd name="connsiteX7914" fmla="*/ 4458141 w 6666359"/>
              <a:gd name="connsiteY7914" fmla="*/ 2014884 h 4343113"/>
              <a:gd name="connsiteX7915" fmla="*/ 4445242 w 6666359"/>
              <a:gd name="connsiteY7915" fmla="*/ 2011659 h 4343113"/>
              <a:gd name="connsiteX7916" fmla="*/ 4445242 w 6666359"/>
              <a:gd name="connsiteY7916" fmla="*/ 2008435 h 4343113"/>
              <a:gd name="connsiteX7917" fmla="*/ 4435568 w 6666359"/>
              <a:gd name="connsiteY7917" fmla="*/ 2011659 h 4343113"/>
              <a:gd name="connsiteX7918" fmla="*/ 4425894 w 6666359"/>
              <a:gd name="connsiteY7918" fmla="*/ 2021333 h 4343113"/>
              <a:gd name="connsiteX7919" fmla="*/ 4400097 w 6666359"/>
              <a:gd name="connsiteY7919" fmla="*/ 2027782 h 4343113"/>
              <a:gd name="connsiteX7920" fmla="*/ 4383973 w 6666359"/>
              <a:gd name="connsiteY7920" fmla="*/ 2018108 h 4343113"/>
              <a:gd name="connsiteX7921" fmla="*/ 4374299 w 6666359"/>
              <a:gd name="connsiteY7921" fmla="*/ 2011659 h 4343113"/>
              <a:gd name="connsiteX7922" fmla="*/ 4364625 w 6666359"/>
              <a:gd name="connsiteY7922" fmla="*/ 2008435 h 4343113"/>
              <a:gd name="connsiteX7923" fmla="*/ 4358176 w 6666359"/>
              <a:gd name="connsiteY7923" fmla="*/ 2008435 h 4343113"/>
              <a:gd name="connsiteX7924" fmla="*/ 4351726 w 6666359"/>
              <a:gd name="connsiteY7924" fmla="*/ 2011659 h 4343113"/>
              <a:gd name="connsiteX7925" fmla="*/ 4348502 w 6666359"/>
              <a:gd name="connsiteY7925" fmla="*/ 2021333 h 4343113"/>
              <a:gd name="connsiteX7926" fmla="*/ 4342052 w 6666359"/>
              <a:gd name="connsiteY7926" fmla="*/ 2021333 h 4343113"/>
              <a:gd name="connsiteX7927" fmla="*/ 4335603 w 6666359"/>
              <a:gd name="connsiteY7927" fmla="*/ 2024558 h 4343113"/>
              <a:gd name="connsiteX7928" fmla="*/ 4332378 w 6666359"/>
              <a:gd name="connsiteY7928" fmla="*/ 2024558 h 4343113"/>
              <a:gd name="connsiteX7929" fmla="*/ 4329153 w 6666359"/>
              <a:gd name="connsiteY7929" fmla="*/ 2024558 h 4343113"/>
              <a:gd name="connsiteX7930" fmla="*/ 4322704 w 6666359"/>
              <a:gd name="connsiteY7930" fmla="*/ 2021333 h 4343113"/>
              <a:gd name="connsiteX7931" fmla="*/ 4313029 w 6666359"/>
              <a:gd name="connsiteY7931" fmla="*/ 2011659 h 4343113"/>
              <a:gd name="connsiteX7932" fmla="*/ 4300131 w 6666359"/>
              <a:gd name="connsiteY7932" fmla="*/ 2001985 h 4343113"/>
              <a:gd name="connsiteX7933" fmla="*/ 4280782 w 6666359"/>
              <a:gd name="connsiteY7933" fmla="*/ 2001985 h 4343113"/>
              <a:gd name="connsiteX7934" fmla="*/ 4277558 w 6666359"/>
              <a:gd name="connsiteY7934" fmla="*/ 1989086 h 4343113"/>
              <a:gd name="connsiteX7935" fmla="*/ 4277558 w 6666359"/>
              <a:gd name="connsiteY7935" fmla="*/ 1976188 h 4343113"/>
              <a:gd name="connsiteX7936" fmla="*/ 4264660 w 6666359"/>
              <a:gd name="connsiteY7936" fmla="*/ 1972962 h 4343113"/>
              <a:gd name="connsiteX7937" fmla="*/ 4261435 w 6666359"/>
              <a:gd name="connsiteY7937" fmla="*/ 1972962 h 4343113"/>
              <a:gd name="connsiteX7938" fmla="*/ 4258210 w 6666359"/>
              <a:gd name="connsiteY7938" fmla="*/ 1969738 h 4343113"/>
              <a:gd name="connsiteX7939" fmla="*/ 4261435 w 6666359"/>
              <a:gd name="connsiteY7939" fmla="*/ 1956840 h 4343113"/>
              <a:gd name="connsiteX7940" fmla="*/ 4267884 w 6666359"/>
              <a:gd name="connsiteY7940" fmla="*/ 1956840 h 4343113"/>
              <a:gd name="connsiteX7941" fmla="*/ 4271108 w 6666359"/>
              <a:gd name="connsiteY7941" fmla="*/ 1950390 h 4343113"/>
              <a:gd name="connsiteX7942" fmla="*/ 4264660 w 6666359"/>
              <a:gd name="connsiteY7942" fmla="*/ 1940716 h 4343113"/>
              <a:gd name="connsiteX7943" fmla="*/ 4267884 w 6666359"/>
              <a:gd name="connsiteY7943" fmla="*/ 1937491 h 4343113"/>
              <a:gd name="connsiteX7944" fmla="*/ 4271108 w 6666359"/>
              <a:gd name="connsiteY7944" fmla="*/ 1934267 h 4343113"/>
              <a:gd name="connsiteX7945" fmla="*/ 4251761 w 6666359"/>
              <a:gd name="connsiteY7945" fmla="*/ 1934267 h 4343113"/>
              <a:gd name="connsiteX7946" fmla="*/ 4254985 w 6666359"/>
              <a:gd name="connsiteY7946" fmla="*/ 1918143 h 4343113"/>
              <a:gd name="connsiteX7947" fmla="*/ 4258210 w 6666359"/>
              <a:gd name="connsiteY7947" fmla="*/ 1921367 h 4343113"/>
              <a:gd name="connsiteX7948" fmla="*/ 4267884 w 6666359"/>
              <a:gd name="connsiteY7948" fmla="*/ 1911693 h 4343113"/>
              <a:gd name="connsiteX7949" fmla="*/ 4277558 w 6666359"/>
              <a:gd name="connsiteY7949" fmla="*/ 1905244 h 4343113"/>
              <a:gd name="connsiteX7950" fmla="*/ 4280782 w 6666359"/>
              <a:gd name="connsiteY7950" fmla="*/ 1908469 h 4343113"/>
              <a:gd name="connsiteX7951" fmla="*/ 4287232 w 6666359"/>
              <a:gd name="connsiteY7951" fmla="*/ 1911693 h 4343113"/>
              <a:gd name="connsiteX7952" fmla="*/ 4290457 w 6666359"/>
              <a:gd name="connsiteY7952" fmla="*/ 1908469 h 4343113"/>
              <a:gd name="connsiteX7953" fmla="*/ 4296906 w 6666359"/>
              <a:gd name="connsiteY7953" fmla="*/ 1905244 h 4343113"/>
              <a:gd name="connsiteX7954" fmla="*/ 4306581 w 6666359"/>
              <a:gd name="connsiteY7954" fmla="*/ 1908469 h 4343113"/>
              <a:gd name="connsiteX7955" fmla="*/ 4313029 w 6666359"/>
              <a:gd name="connsiteY7955" fmla="*/ 1905244 h 4343113"/>
              <a:gd name="connsiteX7956" fmla="*/ 4316255 w 6666359"/>
              <a:gd name="connsiteY7956" fmla="*/ 1902020 h 4343113"/>
              <a:gd name="connsiteX7957" fmla="*/ 4319479 w 6666359"/>
              <a:gd name="connsiteY7957" fmla="*/ 1892346 h 4343113"/>
              <a:gd name="connsiteX7958" fmla="*/ 4319479 w 6666359"/>
              <a:gd name="connsiteY7958" fmla="*/ 1882672 h 4343113"/>
              <a:gd name="connsiteX7959" fmla="*/ 4345276 w 6666359"/>
              <a:gd name="connsiteY7959" fmla="*/ 1885896 h 4343113"/>
              <a:gd name="connsiteX7960" fmla="*/ 4351726 w 6666359"/>
              <a:gd name="connsiteY7960" fmla="*/ 1885896 h 4343113"/>
              <a:gd name="connsiteX7961" fmla="*/ 4367850 w 6666359"/>
              <a:gd name="connsiteY7961" fmla="*/ 1885896 h 4343113"/>
              <a:gd name="connsiteX7962" fmla="*/ 4383973 w 6666359"/>
              <a:gd name="connsiteY7962" fmla="*/ 1872997 h 4343113"/>
              <a:gd name="connsiteX7963" fmla="*/ 4387197 w 6666359"/>
              <a:gd name="connsiteY7963" fmla="*/ 1872997 h 4343113"/>
              <a:gd name="connsiteX7964" fmla="*/ 4390423 w 6666359"/>
              <a:gd name="connsiteY7964" fmla="*/ 1869773 h 4343113"/>
              <a:gd name="connsiteX7965" fmla="*/ 4396872 w 6666359"/>
              <a:gd name="connsiteY7965" fmla="*/ 1866548 h 4343113"/>
              <a:gd name="connsiteX7966" fmla="*/ 4400097 w 6666359"/>
              <a:gd name="connsiteY7966" fmla="*/ 1866548 h 4343113"/>
              <a:gd name="connsiteX7967" fmla="*/ 4406546 w 6666359"/>
              <a:gd name="connsiteY7967" fmla="*/ 1863323 h 4343113"/>
              <a:gd name="connsiteX7968" fmla="*/ 4416220 w 6666359"/>
              <a:gd name="connsiteY7968" fmla="*/ 1860099 h 4343113"/>
              <a:gd name="connsiteX7969" fmla="*/ 4429118 w 6666359"/>
              <a:gd name="connsiteY7969" fmla="*/ 1863323 h 4343113"/>
              <a:gd name="connsiteX7970" fmla="*/ 4438793 w 6666359"/>
              <a:gd name="connsiteY7970" fmla="*/ 1863323 h 4343113"/>
              <a:gd name="connsiteX7971" fmla="*/ 4448467 w 6666359"/>
              <a:gd name="connsiteY7971" fmla="*/ 1860099 h 4343113"/>
              <a:gd name="connsiteX7972" fmla="*/ 4467815 w 6666359"/>
              <a:gd name="connsiteY7972" fmla="*/ 1872997 h 4343113"/>
              <a:gd name="connsiteX7973" fmla="*/ 4471040 w 6666359"/>
              <a:gd name="connsiteY7973" fmla="*/ 1869773 h 4343113"/>
              <a:gd name="connsiteX7974" fmla="*/ 4474265 w 6666359"/>
              <a:gd name="connsiteY7974" fmla="*/ 1876222 h 4343113"/>
              <a:gd name="connsiteX7975" fmla="*/ 4477490 w 6666359"/>
              <a:gd name="connsiteY7975" fmla="*/ 1882672 h 4343113"/>
              <a:gd name="connsiteX7976" fmla="*/ 4483938 w 6666359"/>
              <a:gd name="connsiteY7976" fmla="*/ 1879446 h 4343113"/>
              <a:gd name="connsiteX7977" fmla="*/ 4490388 w 6666359"/>
              <a:gd name="connsiteY7977" fmla="*/ 1882672 h 4343113"/>
              <a:gd name="connsiteX7978" fmla="*/ 4493613 w 6666359"/>
              <a:gd name="connsiteY7978" fmla="*/ 1882672 h 4343113"/>
              <a:gd name="connsiteX7979" fmla="*/ 4493613 w 6666359"/>
              <a:gd name="connsiteY7979" fmla="*/ 1885896 h 4343113"/>
              <a:gd name="connsiteX7980" fmla="*/ 4503287 w 6666359"/>
              <a:gd name="connsiteY7980" fmla="*/ 1889120 h 4343113"/>
              <a:gd name="connsiteX7981" fmla="*/ 4512961 w 6666359"/>
              <a:gd name="connsiteY7981" fmla="*/ 1892346 h 4343113"/>
              <a:gd name="connsiteX7982" fmla="*/ 4532309 w 6666359"/>
              <a:gd name="connsiteY7982" fmla="*/ 1889120 h 4343113"/>
              <a:gd name="connsiteX7983" fmla="*/ 4545208 w 6666359"/>
              <a:gd name="connsiteY7983" fmla="*/ 1889120 h 4343113"/>
              <a:gd name="connsiteX7984" fmla="*/ 4558106 w 6666359"/>
              <a:gd name="connsiteY7984" fmla="*/ 1892346 h 4343113"/>
              <a:gd name="connsiteX7985" fmla="*/ 4564556 w 6666359"/>
              <a:gd name="connsiteY7985" fmla="*/ 1892346 h 4343113"/>
              <a:gd name="connsiteX7986" fmla="*/ 4580680 w 6666359"/>
              <a:gd name="connsiteY7986" fmla="*/ 1882672 h 4343113"/>
              <a:gd name="connsiteX7987" fmla="*/ 4590353 w 6666359"/>
              <a:gd name="connsiteY7987" fmla="*/ 1876222 h 4343113"/>
              <a:gd name="connsiteX7988" fmla="*/ 4590353 w 6666359"/>
              <a:gd name="connsiteY7988" fmla="*/ 1872997 h 4343113"/>
              <a:gd name="connsiteX7989" fmla="*/ 4596803 w 6666359"/>
              <a:gd name="connsiteY7989" fmla="*/ 1856873 h 4343113"/>
              <a:gd name="connsiteX7990" fmla="*/ 4590353 w 6666359"/>
              <a:gd name="connsiteY7990" fmla="*/ 1845587 h 4343113"/>
              <a:gd name="connsiteX7991" fmla="*/ 4590353 w 6666359"/>
              <a:gd name="connsiteY7991" fmla="*/ 1842362 h 4343113"/>
              <a:gd name="connsiteX7992" fmla="*/ 4580680 w 6666359"/>
              <a:gd name="connsiteY7992" fmla="*/ 1835913 h 4343113"/>
              <a:gd name="connsiteX7993" fmla="*/ 4574230 w 6666359"/>
              <a:gd name="connsiteY7993" fmla="*/ 1832687 h 4343113"/>
              <a:gd name="connsiteX7994" fmla="*/ 4561332 w 6666359"/>
              <a:gd name="connsiteY7994" fmla="*/ 1823014 h 4343113"/>
              <a:gd name="connsiteX7995" fmla="*/ 4558106 w 6666359"/>
              <a:gd name="connsiteY7995" fmla="*/ 1823014 h 4343113"/>
              <a:gd name="connsiteX7996" fmla="*/ 4538759 w 6666359"/>
              <a:gd name="connsiteY7996" fmla="*/ 1803666 h 4343113"/>
              <a:gd name="connsiteX7997" fmla="*/ 4519411 w 6666359"/>
              <a:gd name="connsiteY7997" fmla="*/ 1790767 h 4343113"/>
              <a:gd name="connsiteX7998" fmla="*/ 4509736 w 6666359"/>
              <a:gd name="connsiteY7998" fmla="*/ 1784318 h 4343113"/>
              <a:gd name="connsiteX7999" fmla="*/ 4503287 w 6666359"/>
              <a:gd name="connsiteY7999" fmla="*/ 1781093 h 4343113"/>
              <a:gd name="connsiteX8000" fmla="*/ 4493613 w 6666359"/>
              <a:gd name="connsiteY8000" fmla="*/ 1774643 h 4343113"/>
              <a:gd name="connsiteX8001" fmla="*/ 4490388 w 6666359"/>
              <a:gd name="connsiteY8001" fmla="*/ 1764969 h 4343113"/>
              <a:gd name="connsiteX8002" fmla="*/ 4500062 w 6666359"/>
              <a:gd name="connsiteY8002" fmla="*/ 1764969 h 4343113"/>
              <a:gd name="connsiteX8003" fmla="*/ 4509736 w 6666359"/>
              <a:gd name="connsiteY8003" fmla="*/ 1748846 h 4343113"/>
              <a:gd name="connsiteX8004" fmla="*/ 4512961 w 6666359"/>
              <a:gd name="connsiteY8004" fmla="*/ 1742397 h 4343113"/>
              <a:gd name="connsiteX8005" fmla="*/ 4519411 w 6666359"/>
              <a:gd name="connsiteY8005" fmla="*/ 1739172 h 4343113"/>
              <a:gd name="connsiteX8006" fmla="*/ 4525859 w 6666359"/>
              <a:gd name="connsiteY8006" fmla="*/ 1739172 h 4343113"/>
              <a:gd name="connsiteX8007" fmla="*/ 4512961 w 6666359"/>
              <a:gd name="connsiteY8007" fmla="*/ 1729498 h 4343113"/>
              <a:gd name="connsiteX8008" fmla="*/ 4509736 w 6666359"/>
              <a:gd name="connsiteY8008" fmla="*/ 1719824 h 4343113"/>
              <a:gd name="connsiteX8009" fmla="*/ 4522635 w 6666359"/>
              <a:gd name="connsiteY8009" fmla="*/ 1713374 h 4343113"/>
              <a:gd name="connsiteX8010" fmla="*/ 4529085 w 6666359"/>
              <a:gd name="connsiteY8010" fmla="*/ 1713374 h 4343113"/>
              <a:gd name="connsiteX8011" fmla="*/ 4541983 w 6666359"/>
              <a:gd name="connsiteY8011" fmla="*/ 1706925 h 4343113"/>
              <a:gd name="connsiteX8012" fmla="*/ 4541983 w 6666359"/>
              <a:gd name="connsiteY8012" fmla="*/ 1703700 h 4343113"/>
              <a:gd name="connsiteX8013" fmla="*/ 4541983 w 6666359"/>
              <a:gd name="connsiteY8013" fmla="*/ 1700475 h 4343113"/>
              <a:gd name="connsiteX8014" fmla="*/ 4538759 w 6666359"/>
              <a:gd name="connsiteY8014" fmla="*/ 1700475 h 4343113"/>
              <a:gd name="connsiteX8015" fmla="*/ 4535534 w 6666359"/>
              <a:gd name="connsiteY8015" fmla="*/ 1700475 h 4343113"/>
              <a:gd name="connsiteX8016" fmla="*/ 4532309 w 6666359"/>
              <a:gd name="connsiteY8016" fmla="*/ 1703700 h 4343113"/>
              <a:gd name="connsiteX8017" fmla="*/ 4519411 w 6666359"/>
              <a:gd name="connsiteY8017" fmla="*/ 1706925 h 4343113"/>
              <a:gd name="connsiteX8018" fmla="*/ 4503287 w 6666359"/>
              <a:gd name="connsiteY8018" fmla="*/ 1706925 h 4343113"/>
              <a:gd name="connsiteX8019" fmla="*/ 4483938 w 6666359"/>
              <a:gd name="connsiteY8019" fmla="*/ 1716599 h 4343113"/>
              <a:gd name="connsiteX8020" fmla="*/ 4454917 w 6666359"/>
              <a:gd name="connsiteY8020" fmla="*/ 1729498 h 4343113"/>
              <a:gd name="connsiteX8021" fmla="*/ 4451691 w 6666359"/>
              <a:gd name="connsiteY8021" fmla="*/ 1726274 h 4343113"/>
              <a:gd name="connsiteX8022" fmla="*/ 4445242 w 6666359"/>
              <a:gd name="connsiteY8022" fmla="*/ 1735947 h 4343113"/>
              <a:gd name="connsiteX8023" fmla="*/ 4445242 w 6666359"/>
              <a:gd name="connsiteY8023" fmla="*/ 1739172 h 4343113"/>
              <a:gd name="connsiteX8024" fmla="*/ 4448467 w 6666359"/>
              <a:gd name="connsiteY8024" fmla="*/ 1752071 h 4343113"/>
              <a:gd name="connsiteX8025" fmla="*/ 4458141 w 6666359"/>
              <a:gd name="connsiteY8025" fmla="*/ 1764969 h 4343113"/>
              <a:gd name="connsiteX8026" fmla="*/ 4464591 w 6666359"/>
              <a:gd name="connsiteY8026" fmla="*/ 1761745 h 4343113"/>
              <a:gd name="connsiteX8027" fmla="*/ 4471040 w 6666359"/>
              <a:gd name="connsiteY8027" fmla="*/ 1758520 h 4343113"/>
              <a:gd name="connsiteX8028" fmla="*/ 4474265 w 6666359"/>
              <a:gd name="connsiteY8028" fmla="*/ 1758520 h 4343113"/>
              <a:gd name="connsiteX8029" fmla="*/ 4480714 w 6666359"/>
              <a:gd name="connsiteY8029" fmla="*/ 1758520 h 4343113"/>
              <a:gd name="connsiteX8030" fmla="*/ 4480714 w 6666359"/>
              <a:gd name="connsiteY8030" fmla="*/ 1771419 h 4343113"/>
              <a:gd name="connsiteX8031" fmla="*/ 4474265 w 6666359"/>
              <a:gd name="connsiteY8031" fmla="*/ 1771419 h 4343113"/>
              <a:gd name="connsiteX8032" fmla="*/ 4467815 w 6666359"/>
              <a:gd name="connsiteY8032" fmla="*/ 1771419 h 4343113"/>
              <a:gd name="connsiteX8033" fmla="*/ 4461365 w 6666359"/>
              <a:gd name="connsiteY8033" fmla="*/ 1768194 h 4343113"/>
              <a:gd name="connsiteX8034" fmla="*/ 4454917 w 6666359"/>
              <a:gd name="connsiteY8034" fmla="*/ 1771419 h 4343113"/>
              <a:gd name="connsiteX8035" fmla="*/ 4438793 w 6666359"/>
              <a:gd name="connsiteY8035" fmla="*/ 1781093 h 4343113"/>
              <a:gd name="connsiteX8036" fmla="*/ 4419444 w 6666359"/>
              <a:gd name="connsiteY8036" fmla="*/ 1790767 h 4343113"/>
              <a:gd name="connsiteX8037" fmla="*/ 4412996 w 6666359"/>
              <a:gd name="connsiteY8037" fmla="*/ 1784318 h 4343113"/>
              <a:gd name="connsiteX8038" fmla="*/ 4416220 w 6666359"/>
              <a:gd name="connsiteY8038" fmla="*/ 1784318 h 4343113"/>
              <a:gd name="connsiteX8039" fmla="*/ 4416220 w 6666359"/>
              <a:gd name="connsiteY8039" fmla="*/ 1777868 h 4343113"/>
              <a:gd name="connsiteX8040" fmla="*/ 4412996 w 6666359"/>
              <a:gd name="connsiteY8040" fmla="*/ 1768194 h 4343113"/>
              <a:gd name="connsiteX8041" fmla="*/ 4400097 w 6666359"/>
              <a:gd name="connsiteY8041" fmla="*/ 1761745 h 4343113"/>
              <a:gd name="connsiteX8042" fmla="*/ 4393647 w 6666359"/>
              <a:gd name="connsiteY8042" fmla="*/ 1761745 h 4343113"/>
              <a:gd name="connsiteX8043" fmla="*/ 4400097 w 6666359"/>
              <a:gd name="connsiteY8043" fmla="*/ 1755295 h 4343113"/>
              <a:gd name="connsiteX8044" fmla="*/ 4409771 w 6666359"/>
              <a:gd name="connsiteY8044" fmla="*/ 1748846 h 4343113"/>
              <a:gd name="connsiteX8045" fmla="*/ 4419444 w 6666359"/>
              <a:gd name="connsiteY8045" fmla="*/ 1745621 h 4343113"/>
              <a:gd name="connsiteX8046" fmla="*/ 4419444 w 6666359"/>
              <a:gd name="connsiteY8046" fmla="*/ 1739172 h 4343113"/>
              <a:gd name="connsiteX8047" fmla="*/ 4406546 w 6666359"/>
              <a:gd name="connsiteY8047" fmla="*/ 1735947 h 4343113"/>
              <a:gd name="connsiteX8048" fmla="*/ 4393647 w 6666359"/>
              <a:gd name="connsiteY8048" fmla="*/ 1739172 h 4343113"/>
              <a:gd name="connsiteX8049" fmla="*/ 4380749 w 6666359"/>
              <a:gd name="connsiteY8049" fmla="*/ 1729498 h 4343113"/>
              <a:gd name="connsiteX8050" fmla="*/ 4374299 w 6666359"/>
              <a:gd name="connsiteY8050" fmla="*/ 1723048 h 4343113"/>
              <a:gd name="connsiteX8051" fmla="*/ 4364625 w 6666359"/>
              <a:gd name="connsiteY8051" fmla="*/ 1723048 h 4343113"/>
              <a:gd name="connsiteX8052" fmla="*/ 4354951 w 6666359"/>
              <a:gd name="connsiteY8052" fmla="*/ 1726274 h 4343113"/>
              <a:gd name="connsiteX8053" fmla="*/ 4348502 w 6666359"/>
              <a:gd name="connsiteY8053" fmla="*/ 1739172 h 4343113"/>
              <a:gd name="connsiteX8054" fmla="*/ 4342052 w 6666359"/>
              <a:gd name="connsiteY8054" fmla="*/ 1745621 h 4343113"/>
              <a:gd name="connsiteX8055" fmla="*/ 4335603 w 6666359"/>
              <a:gd name="connsiteY8055" fmla="*/ 1745621 h 4343113"/>
              <a:gd name="connsiteX8056" fmla="*/ 4329153 w 6666359"/>
              <a:gd name="connsiteY8056" fmla="*/ 1752071 h 4343113"/>
              <a:gd name="connsiteX8057" fmla="*/ 4329153 w 6666359"/>
              <a:gd name="connsiteY8057" fmla="*/ 1758520 h 4343113"/>
              <a:gd name="connsiteX8058" fmla="*/ 4332378 w 6666359"/>
              <a:gd name="connsiteY8058" fmla="*/ 1758520 h 4343113"/>
              <a:gd name="connsiteX8059" fmla="*/ 4332378 w 6666359"/>
              <a:gd name="connsiteY8059" fmla="*/ 1764969 h 4343113"/>
              <a:gd name="connsiteX8060" fmla="*/ 4329153 w 6666359"/>
              <a:gd name="connsiteY8060" fmla="*/ 1777868 h 4343113"/>
              <a:gd name="connsiteX8061" fmla="*/ 4319479 w 6666359"/>
              <a:gd name="connsiteY8061" fmla="*/ 1781093 h 4343113"/>
              <a:gd name="connsiteX8062" fmla="*/ 4313029 w 6666359"/>
              <a:gd name="connsiteY8062" fmla="*/ 1784318 h 4343113"/>
              <a:gd name="connsiteX8063" fmla="*/ 4309805 w 6666359"/>
              <a:gd name="connsiteY8063" fmla="*/ 1793992 h 4343113"/>
              <a:gd name="connsiteX8064" fmla="*/ 4309805 w 6666359"/>
              <a:gd name="connsiteY8064" fmla="*/ 1797216 h 4343113"/>
              <a:gd name="connsiteX8065" fmla="*/ 4306581 w 6666359"/>
              <a:gd name="connsiteY8065" fmla="*/ 1810115 h 4343113"/>
              <a:gd name="connsiteX8066" fmla="*/ 4303355 w 6666359"/>
              <a:gd name="connsiteY8066" fmla="*/ 1819789 h 4343113"/>
              <a:gd name="connsiteX8067" fmla="*/ 4300131 w 6666359"/>
              <a:gd name="connsiteY8067" fmla="*/ 1819789 h 4343113"/>
              <a:gd name="connsiteX8068" fmla="*/ 4293682 w 6666359"/>
              <a:gd name="connsiteY8068" fmla="*/ 1829463 h 4343113"/>
              <a:gd name="connsiteX8069" fmla="*/ 4287232 w 6666359"/>
              <a:gd name="connsiteY8069" fmla="*/ 1852036 h 4343113"/>
              <a:gd name="connsiteX8070" fmla="*/ 4293682 w 6666359"/>
              <a:gd name="connsiteY8070" fmla="*/ 1863323 h 4343113"/>
              <a:gd name="connsiteX8071" fmla="*/ 4293682 w 6666359"/>
              <a:gd name="connsiteY8071" fmla="*/ 1866548 h 4343113"/>
              <a:gd name="connsiteX8072" fmla="*/ 4296906 w 6666359"/>
              <a:gd name="connsiteY8072" fmla="*/ 1872997 h 4343113"/>
              <a:gd name="connsiteX8073" fmla="*/ 4309805 w 6666359"/>
              <a:gd name="connsiteY8073" fmla="*/ 1879446 h 4343113"/>
              <a:gd name="connsiteX8074" fmla="*/ 4316255 w 6666359"/>
              <a:gd name="connsiteY8074" fmla="*/ 1882672 h 4343113"/>
              <a:gd name="connsiteX8075" fmla="*/ 4319479 w 6666359"/>
              <a:gd name="connsiteY8075" fmla="*/ 1882672 h 4343113"/>
              <a:gd name="connsiteX8076" fmla="*/ 4313029 w 6666359"/>
              <a:gd name="connsiteY8076" fmla="*/ 1892346 h 4343113"/>
              <a:gd name="connsiteX8077" fmla="*/ 4296906 w 6666359"/>
              <a:gd name="connsiteY8077" fmla="*/ 1889120 h 4343113"/>
              <a:gd name="connsiteX8078" fmla="*/ 4287232 w 6666359"/>
              <a:gd name="connsiteY8078" fmla="*/ 1889120 h 4343113"/>
              <a:gd name="connsiteX8079" fmla="*/ 4284008 w 6666359"/>
              <a:gd name="connsiteY8079" fmla="*/ 1892346 h 4343113"/>
              <a:gd name="connsiteX8080" fmla="*/ 4284008 w 6666359"/>
              <a:gd name="connsiteY8080" fmla="*/ 1895570 h 4343113"/>
              <a:gd name="connsiteX8081" fmla="*/ 4280782 w 6666359"/>
              <a:gd name="connsiteY8081" fmla="*/ 1898794 h 4343113"/>
              <a:gd name="connsiteX8082" fmla="*/ 4277558 w 6666359"/>
              <a:gd name="connsiteY8082" fmla="*/ 1902020 h 4343113"/>
              <a:gd name="connsiteX8083" fmla="*/ 4261435 w 6666359"/>
              <a:gd name="connsiteY8083" fmla="*/ 1914918 h 4343113"/>
              <a:gd name="connsiteX8084" fmla="*/ 4254985 w 6666359"/>
              <a:gd name="connsiteY8084" fmla="*/ 1918143 h 4343113"/>
              <a:gd name="connsiteX8085" fmla="*/ 4254985 w 6666359"/>
              <a:gd name="connsiteY8085" fmla="*/ 1911693 h 4343113"/>
              <a:gd name="connsiteX8086" fmla="*/ 4264660 w 6666359"/>
              <a:gd name="connsiteY8086" fmla="*/ 1905244 h 4343113"/>
              <a:gd name="connsiteX8087" fmla="*/ 4267884 w 6666359"/>
              <a:gd name="connsiteY8087" fmla="*/ 1902020 h 4343113"/>
              <a:gd name="connsiteX8088" fmla="*/ 4264660 w 6666359"/>
              <a:gd name="connsiteY8088" fmla="*/ 1902020 h 4343113"/>
              <a:gd name="connsiteX8089" fmla="*/ 4254985 w 6666359"/>
              <a:gd name="connsiteY8089" fmla="*/ 1902020 h 4343113"/>
              <a:gd name="connsiteX8090" fmla="*/ 4251761 w 6666359"/>
              <a:gd name="connsiteY8090" fmla="*/ 1898794 h 4343113"/>
              <a:gd name="connsiteX8091" fmla="*/ 4254097 w 6666359"/>
              <a:gd name="connsiteY8091" fmla="*/ 1896459 h 4343113"/>
              <a:gd name="connsiteX8092" fmla="*/ 4254096 w 6666359"/>
              <a:gd name="connsiteY8092" fmla="*/ 1896458 h 4343113"/>
              <a:gd name="connsiteX8093" fmla="*/ 4251760 w 6666359"/>
              <a:gd name="connsiteY8093" fmla="*/ 1898794 h 4343113"/>
              <a:gd name="connsiteX8094" fmla="*/ 4235636 w 6666359"/>
              <a:gd name="connsiteY8094" fmla="*/ 1892346 h 4343113"/>
              <a:gd name="connsiteX8095" fmla="*/ 4222738 w 6666359"/>
              <a:gd name="connsiteY8095" fmla="*/ 1895570 h 4343113"/>
              <a:gd name="connsiteX8096" fmla="*/ 4209839 w 6666359"/>
              <a:gd name="connsiteY8096" fmla="*/ 1895570 h 4343113"/>
              <a:gd name="connsiteX8097" fmla="*/ 4203389 w 6666359"/>
              <a:gd name="connsiteY8097" fmla="*/ 1895570 h 4343113"/>
              <a:gd name="connsiteX8098" fmla="*/ 4200165 w 6666359"/>
              <a:gd name="connsiteY8098" fmla="*/ 1905244 h 4343113"/>
              <a:gd name="connsiteX8099" fmla="*/ 4200165 w 6666359"/>
              <a:gd name="connsiteY8099" fmla="*/ 1911693 h 4343113"/>
              <a:gd name="connsiteX8100" fmla="*/ 4193715 w 6666359"/>
              <a:gd name="connsiteY8100" fmla="*/ 1911693 h 4343113"/>
              <a:gd name="connsiteX8101" fmla="*/ 4184041 w 6666359"/>
              <a:gd name="connsiteY8101" fmla="*/ 1902020 h 4343113"/>
              <a:gd name="connsiteX8102" fmla="*/ 4177591 w 6666359"/>
              <a:gd name="connsiteY8102" fmla="*/ 1905244 h 4343113"/>
              <a:gd name="connsiteX8103" fmla="*/ 4174367 w 6666359"/>
              <a:gd name="connsiteY8103" fmla="*/ 1914918 h 4343113"/>
              <a:gd name="connsiteX8104" fmla="*/ 4177591 w 6666359"/>
              <a:gd name="connsiteY8104" fmla="*/ 1921367 h 4343113"/>
              <a:gd name="connsiteX8105" fmla="*/ 4190491 w 6666359"/>
              <a:gd name="connsiteY8105" fmla="*/ 1940716 h 4343113"/>
              <a:gd name="connsiteX8106" fmla="*/ 4190491 w 6666359"/>
              <a:gd name="connsiteY8106" fmla="*/ 1943941 h 4343113"/>
              <a:gd name="connsiteX8107" fmla="*/ 4187265 w 6666359"/>
              <a:gd name="connsiteY8107" fmla="*/ 1943941 h 4343113"/>
              <a:gd name="connsiteX8108" fmla="*/ 4184041 w 6666359"/>
              <a:gd name="connsiteY8108" fmla="*/ 1937491 h 4343113"/>
              <a:gd name="connsiteX8109" fmla="*/ 4180816 w 6666359"/>
              <a:gd name="connsiteY8109" fmla="*/ 1943941 h 4343113"/>
              <a:gd name="connsiteX8110" fmla="*/ 4184041 w 6666359"/>
              <a:gd name="connsiteY8110" fmla="*/ 1943941 h 4343113"/>
              <a:gd name="connsiteX8111" fmla="*/ 4180816 w 6666359"/>
              <a:gd name="connsiteY8111" fmla="*/ 1950390 h 4343113"/>
              <a:gd name="connsiteX8112" fmla="*/ 4174367 w 6666359"/>
              <a:gd name="connsiteY8112" fmla="*/ 1950390 h 4343113"/>
              <a:gd name="connsiteX8113" fmla="*/ 4177591 w 6666359"/>
              <a:gd name="connsiteY8113" fmla="*/ 1953614 h 4343113"/>
              <a:gd name="connsiteX8114" fmla="*/ 4180816 w 6666359"/>
              <a:gd name="connsiteY8114" fmla="*/ 1953614 h 4343113"/>
              <a:gd name="connsiteX8115" fmla="*/ 4190491 w 6666359"/>
              <a:gd name="connsiteY8115" fmla="*/ 1947165 h 4343113"/>
              <a:gd name="connsiteX8116" fmla="*/ 4200165 w 6666359"/>
              <a:gd name="connsiteY8116" fmla="*/ 1956840 h 4343113"/>
              <a:gd name="connsiteX8117" fmla="*/ 4206614 w 6666359"/>
              <a:gd name="connsiteY8117" fmla="*/ 1956840 h 4343113"/>
              <a:gd name="connsiteX8118" fmla="*/ 4209839 w 6666359"/>
              <a:gd name="connsiteY8118" fmla="*/ 1963288 h 4343113"/>
              <a:gd name="connsiteX8119" fmla="*/ 4213063 w 6666359"/>
              <a:gd name="connsiteY8119" fmla="*/ 1969738 h 4343113"/>
              <a:gd name="connsiteX8120" fmla="*/ 4219513 w 6666359"/>
              <a:gd name="connsiteY8120" fmla="*/ 1972962 h 4343113"/>
              <a:gd name="connsiteX8121" fmla="*/ 4216288 w 6666359"/>
              <a:gd name="connsiteY8121" fmla="*/ 1976188 h 4343113"/>
              <a:gd name="connsiteX8122" fmla="*/ 4213063 w 6666359"/>
              <a:gd name="connsiteY8122" fmla="*/ 1972962 h 4343113"/>
              <a:gd name="connsiteX8123" fmla="*/ 4206614 w 6666359"/>
              <a:gd name="connsiteY8123" fmla="*/ 1963288 h 4343113"/>
              <a:gd name="connsiteX8124" fmla="*/ 4196939 w 6666359"/>
              <a:gd name="connsiteY8124" fmla="*/ 1960064 h 4343113"/>
              <a:gd name="connsiteX8125" fmla="*/ 4187265 w 6666359"/>
              <a:gd name="connsiteY8125" fmla="*/ 1953614 h 4343113"/>
              <a:gd name="connsiteX8126" fmla="*/ 4184041 w 6666359"/>
              <a:gd name="connsiteY8126" fmla="*/ 1953614 h 4343113"/>
              <a:gd name="connsiteX8127" fmla="*/ 4187265 w 6666359"/>
              <a:gd name="connsiteY8127" fmla="*/ 1956840 h 4343113"/>
              <a:gd name="connsiteX8128" fmla="*/ 4203389 w 6666359"/>
              <a:gd name="connsiteY8128" fmla="*/ 1966514 h 4343113"/>
              <a:gd name="connsiteX8129" fmla="*/ 4206614 w 6666359"/>
              <a:gd name="connsiteY8129" fmla="*/ 1969738 h 4343113"/>
              <a:gd name="connsiteX8130" fmla="*/ 4209839 w 6666359"/>
              <a:gd name="connsiteY8130" fmla="*/ 1979412 h 4343113"/>
              <a:gd name="connsiteX8131" fmla="*/ 4206614 w 6666359"/>
              <a:gd name="connsiteY8131" fmla="*/ 1985861 h 4343113"/>
              <a:gd name="connsiteX8132" fmla="*/ 4200165 w 6666359"/>
              <a:gd name="connsiteY8132" fmla="*/ 1982637 h 4343113"/>
              <a:gd name="connsiteX8133" fmla="*/ 4193715 w 6666359"/>
              <a:gd name="connsiteY8133" fmla="*/ 1976188 h 4343113"/>
              <a:gd name="connsiteX8134" fmla="*/ 4187265 w 6666359"/>
              <a:gd name="connsiteY8134" fmla="*/ 1976188 h 4343113"/>
              <a:gd name="connsiteX8135" fmla="*/ 4184041 w 6666359"/>
              <a:gd name="connsiteY8135" fmla="*/ 1982637 h 4343113"/>
              <a:gd name="connsiteX8136" fmla="*/ 4180816 w 6666359"/>
              <a:gd name="connsiteY8136" fmla="*/ 1992311 h 4343113"/>
              <a:gd name="connsiteX8137" fmla="*/ 4184041 w 6666359"/>
              <a:gd name="connsiteY8137" fmla="*/ 1998761 h 4343113"/>
              <a:gd name="connsiteX8138" fmla="*/ 4187265 w 6666359"/>
              <a:gd name="connsiteY8138" fmla="*/ 2014884 h 4343113"/>
              <a:gd name="connsiteX8139" fmla="*/ 4187265 w 6666359"/>
              <a:gd name="connsiteY8139" fmla="*/ 2018108 h 4343113"/>
              <a:gd name="connsiteX8140" fmla="*/ 4180816 w 6666359"/>
              <a:gd name="connsiteY8140" fmla="*/ 2008435 h 4343113"/>
              <a:gd name="connsiteX8141" fmla="*/ 4174367 w 6666359"/>
              <a:gd name="connsiteY8141" fmla="*/ 2008435 h 4343113"/>
              <a:gd name="connsiteX8142" fmla="*/ 4174367 w 6666359"/>
              <a:gd name="connsiteY8142" fmla="*/ 2018108 h 4343113"/>
              <a:gd name="connsiteX8143" fmla="*/ 4171142 w 6666359"/>
              <a:gd name="connsiteY8143" fmla="*/ 2018108 h 4343113"/>
              <a:gd name="connsiteX8144" fmla="*/ 4171142 w 6666359"/>
              <a:gd name="connsiteY8144" fmla="*/ 2011659 h 4343113"/>
              <a:gd name="connsiteX8145" fmla="*/ 4167918 w 6666359"/>
              <a:gd name="connsiteY8145" fmla="*/ 2005209 h 4343113"/>
              <a:gd name="connsiteX8146" fmla="*/ 4161468 w 6666359"/>
              <a:gd name="connsiteY8146" fmla="*/ 2001985 h 4343113"/>
              <a:gd name="connsiteX8147" fmla="*/ 4161468 w 6666359"/>
              <a:gd name="connsiteY8147" fmla="*/ 2008435 h 4343113"/>
              <a:gd name="connsiteX8148" fmla="*/ 4155018 w 6666359"/>
              <a:gd name="connsiteY8148" fmla="*/ 2001985 h 4343113"/>
              <a:gd name="connsiteX8149" fmla="*/ 4155018 w 6666359"/>
              <a:gd name="connsiteY8149" fmla="*/ 1998761 h 4343113"/>
              <a:gd name="connsiteX8150" fmla="*/ 4155018 w 6666359"/>
              <a:gd name="connsiteY8150" fmla="*/ 1995535 h 4343113"/>
              <a:gd name="connsiteX8151" fmla="*/ 4148570 w 6666359"/>
              <a:gd name="connsiteY8151" fmla="*/ 1985861 h 4343113"/>
              <a:gd name="connsiteX8152" fmla="*/ 4145344 w 6666359"/>
              <a:gd name="connsiteY8152" fmla="*/ 1976188 h 4343113"/>
              <a:gd name="connsiteX8153" fmla="*/ 4148570 w 6666359"/>
              <a:gd name="connsiteY8153" fmla="*/ 1969738 h 4343113"/>
              <a:gd name="connsiteX8154" fmla="*/ 4158244 w 6666359"/>
              <a:gd name="connsiteY8154" fmla="*/ 1969738 h 4343113"/>
              <a:gd name="connsiteX8155" fmla="*/ 4167918 w 6666359"/>
              <a:gd name="connsiteY8155" fmla="*/ 1969738 h 4343113"/>
              <a:gd name="connsiteX8156" fmla="*/ 4177591 w 6666359"/>
              <a:gd name="connsiteY8156" fmla="*/ 1976188 h 4343113"/>
              <a:gd name="connsiteX8157" fmla="*/ 4187265 w 6666359"/>
              <a:gd name="connsiteY8157" fmla="*/ 1972962 h 4343113"/>
              <a:gd name="connsiteX8158" fmla="*/ 4187265 w 6666359"/>
              <a:gd name="connsiteY8158" fmla="*/ 1969738 h 4343113"/>
              <a:gd name="connsiteX8159" fmla="*/ 4171142 w 6666359"/>
              <a:gd name="connsiteY8159" fmla="*/ 1963288 h 4343113"/>
              <a:gd name="connsiteX8160" fmla="*/ 4158244 w 6666359"/>
              <a:gd name="connsiteY8160" fmla="*/ 1963288 h 4343113"/>
              <a:gd name="connsiteX8161" fmla="*/ 4145344 w 6666359"/>
              <a:gd name="connsiteY8161" fmla="*/ 1966514 h 4343113"/>
              <a:gd name="connsiteX8162" fmla="*/ 4138895 w 6666359"/>
              <a:gd name="connsiteY8162" fmla="*/ 1956840 h 4343113"/>
              <a:gd name="connsiteX8163" fmla="*/ 4135671 w 6666359"/>
              <a:gd name="connsiteY8163" fmla="*/ 1953614 h 4343113"/>
              <a:gd name="connsiteX8164" fmla="*/ 4132446 w 6666359"/>
              <a:gd name="connsiteY8164" fmla="*/ 1943941 h 4343113"/>
              <a:gd name="connsiteX8165" fmla="*/ 4129221 w 6666359"/>
              <a:gd name="connsiteY8165" fmla="*/ 1940716 h 4343113"/>
              <a:gd name="connsiteX8166" fmla="*/ 4125997 w 6666359"/>
              <a:gd name="connsiteY8166" fmla="*/ 1940716 h 4343113"/>
              <a:gd name="connsiteX8167" fmla="*/ 4122771 w 6666359"/>
              <a:gd name="connsiteY8167" fmla="*/ 1934267 h 4343113"/>
              <a:gd name="connsiteX8168" fmla="*/ 4119547 w 6666359"/>
              <a:gd name="connsiteY8168" fmla="*/ 1927817 h 4343113"/>
              <a:gd name="connsiteX8169" fmla="*/ 4119548 w 6666359"/>
              <a:gd name="connsiteY8169" fmla="*/ 1927816 h 4343113"/>
              <a:gd name="connsiteX8170" fmla="*/ 4116324 w 6666359"/>
              <a:gd name="connsiteY8170" fmla="*/ 1918143 h 4343113"/>
              <a:gd name="connsiteX8171" fmla="*/ 4106649 w 6666359"/>
              <a:gd name="connsiteY8171" fmla="*/ 1914918 h 4343113"/>
              <a:gd name="connsiteX8172" fmla="*/ 4103425 w 6666359"/>
              <a:gd name="connsiteY8172" fmla="*/ 1905244 h 4343113"/>
              <a:gd name="connsiteX8173" fmla="*/ 4109874 w 6666359"/>
              <a:gd name="connsiteY8173" fmla="*/ 1872997 h 4343113"/>
              <a:gd name="connsiteX8174" fmla="*/ 4106649 w 6666359"/>
              <a:gd name="connsiteY8174" fmla="*/ 1866548 h 4343113"/>
              <a:gd name="connsiteX8175" fmla="*/ 4093751 w 6666359"/>
              <a:gd name="connsiteY8175" fmla="*/ 1856873 h 4343113"/>
              <a:gd name="connsiteX8176" fmla="*/ 4087301 w 6666359"/>
              <a:gd name="connsiteY8176" fmla="*/ 1852036 h 4343113"/>
              <a:gd name="connsiteX8177" fmla="*/ 4087301 w 6666359"/>
              <a:gd name="connsiteY8177" fmla="*/ 1848811 h 4343113"/>
              <a:gd name="connsiteX8178" fmla="*/ 4084077 w 6666359"/>
              <a:gd name="connsiteY8178" fmla="*/ 1845587 h 4343113"/>
              <a:gd name="connsiteX8179" fmla="*/ 4067953 w 6666359"/>
              <a:gd name="connsiteY8179" fmla="*/ 1839137 h 4343113"/>
              <a:gd name="connsiteX8180" fmla="*/ 4067953 w 6666359"/>
              <a:gd name="connsiteY8180" fmla="*/ 1835913 h 4343113"/>
              <a:gd name="connsiteX8181" fmla="*/ 4035706 w 6666359"/>
              <a:gd name="connsiteY8181" fmla="*/ 1816565 h 4343113"/>
              <a:gd name="connsiteX8182" fmla="*/ 4016358 w 6666359"/>
              <a:gd name="connsiteY8182" fmla="*/ 1803666 h 4343113"/>
              <a:gd name="connsiteX8183" fmla="*/ 4009909 w 6666359"/>
              <a:gd name="connsiteY8183" fmla="*/ 1790767 h 4343113"/>
              <a:gd name="connsiteX8184" fmla="*/ 4006683 w 6666359"/>
              <a:gd name="connsiteY8184" fmla="*/ 1777868 h 4343113"/>
              <a:gd name="connsiteX8185" fmla="*/ 4003459 w 6666359"/>
              <a:gd name="connsiteY8185" fmla="*/ 1764969 h 4343113"/>
              <a:gd name="connsiteX8186" fmla="*/ 3993785 w 6666359"/>
              <a:gd name="connsiteY8186" fmla="*/ 1764969 h 4343113"/>
              <a:gd name="connsiteX8187" fmla="*/ 3990560 w 6666359"/>
              <a:gd name="connsiteY8187" fmla="*/ 1774643 h 4343113"/>
              <a:gd name="connsiteX8188" fmla="*/ 3984111 w 6666359"/>
              <a:gd name="connsiteY8188" fmla="*/ 1777868 h 4343113"/>
              <a:gd name="connsiteX8189" fmla="*/ 3980886 w 6666359"/>
              <a:gd name="connsiteY8189" fmla="*/ 1771419 h 4343113"/>
              <a:gd name="connsiteX8190" fmla="*/ 3980886 w 6666359"/>
              <a:gd name="connsiteY8190" fmla="*/ 1755295 h 4343113"/>
              <a:gd name="connsiteX8191" fmla="*/ 3984111 w 6666359"/>
              <a:gd name="connsiteY8191" fmla="*/ 1752071 h 4343113"/>
              <a:gd name="connsiteX8192" fmla="*/ 3984110 w 6666359"/>
              <a:gd name="connsiteY8192" fmla="*/ 1752070 h 4343113"/>
              <a:gd name="connsiteX8193" fmla="*/ 3980885 w 6666359"/>
              <a:gd name="connsiteY8193" fmla="*/ 1755294 h 4343113"/>
              <a:gd name="connsiteX8194" fmla="*/ 3980885 w 6666359"/>
              <a:gd name="connsiteY8194" fmla="*/ 1752070 h 4343113"/>
              <a:gd name="connsiteX8195" fmla="*/ 3977661 w 6666359"/>
              <a:gd name="connsiteY8195" fmla="*/ 1748845 h 4343113"/>
              <a:gd name="connsiteX8196" fmla="*/ 3961537 w 6666359"/>
              <a:gd name="connsiteY8196" fmla="*/ 1752070 h 4343113"/>
              <a:gd name="connsiteX8197" fmla="*/ 3948638 w 6666359"/>
              <a:gd name="connsiteY8197" fmla="*/ 1758520 h 4343113"/>
              <a:gd name="connsiteX8198" fmla="*/ 3945414 w 6666359"/>
              <a:gd name="connsiteY8198" fmla="*/ 1764968 h 4343113"/>
              <a:gd name="connsiteX8199" fmla="*/ 3951863 w 6666359"/>
              <a:gd name="connsiteY8199" fmla="*/ 1764968 h 4343113"/>
              <a:gd name="connsiteX8200" fmla="*/ 3951863 w 6666359"/>
              <a:gd name="connsiteY8200" fmla="*/ 1768193 h 4343113"/>
              <a:gd name="connsiteX8201" fmla="*/ 3951863 w 6666359"/>
              <a:gd name="connsiteY8201" fmla="*/ 1771418 h 4343113"/>
              <a:gd name="connsiteX8202" fmla="*/ 3955088 w 6666359"/>
              <a:gd name="connsiteY8202" fmla="*/ 1774642 h 4343113"/>
              <a:gd name="connsiteX8203" fmla="*/ 3951863 w 6666359"/>
              <a:gd name="connsiteY8203" fmla="*/ 1777867 h 4343113"/>
              <a:gd name="connsiteX8204" fmla="*/ 3948638 w 6666359"/>
              <a:gd name="connsiteY8204" fmla="*/ 1777867 h 4343113"/>
              <a:gd name="connsiteX8205" fmla="*/ 3948638 w 6666359"/>
              <a:gd name="connsiteY8205" fmla="*/ 1787541 h 4343113"/>
              <a:gd name="connsiteX8206" fmla="*/ 3955088 w 6666359"/>
              <a:gd name="connsiteY8206" fmla="*/ 1800440 h 4343113"/>
              <a:gd name="connsiteX8207" fmla="*/ 3971211 w 6666359"/>
              <a:gd name="connsiteY8207" fmla="*/ 1813339 h 4343113"/>
              <a:gd name="connsiteX8208" fmla="*/ 3974435 w 6666359"/>
              <a:gd name="connsiteY8208" fmla="*/ 1813339 h 4343113"/>
              <a:gd name="connsiteX8209" fmla="*/ 3977661 w 6666359"/>
              <a:gd name="connsiteY8209" fmla="*/ 1819788 h 4343113"/>
              <a:gd name="connsiteX8210" fmla="*/ 3984110 w 6666359"/>
              <a:gd name="connsiteY8210" fmla="*/ 1835912 h 4343113"/>
              <a:gd name="connsiteX8211" fmla="*/ 3990559 w 6666359"/>
              <a:gd name="connsiteY8211" fmla="*/ 1848810 h 4343113"/>
              <a:gd name="connsiteX8212" fmla="*/ 4016357 w 6666359"/>
              <a:gd name="connsiteY8212" fmla="*/ 1863322 h 4343113"/>
              <a:gd name="connsiteX8213" fmla="*/ 4026031 w 6666359"/>
              <a:gd name="connsiteY8213" fmla="*/ 1863322 h 4343113"/>
              <a:gd name="connsiteX8214" fmla="*/ 4035705 w 6666359"/>
              <a:gd name="connsiteY8214" fmla="*/ 1866547 h 4343113"/>
              <a:gd name="connsiteX8215" fmla="*/ 4029256 w 6666359"/>
              <a:gd name="connsiteY8215" fmla="*/ 1872996 h 4343113"/>
              <a:gd name="connsiteX8216" fmla="*/ 4035705 w 6666359"/>
              <a:gd name="connsiteY8216" fmla="*/ 1879445 h 4343113"/>
              <a:gd name="connsiteX8217" fmla="*/ 4048603 w 6666359"/>
              <a:gd name="connsiteY8217" fmla="*/ 1885895 h 4343113"/>
              <a:gd name="connsiteX8218" fmla="*/ 4061503 w 6666359"/>
              <a:gd name="connsiteY8218" fmla="*/ 1892345 h 4343113"/>
              <a:gd name="connsiteX8219" fmla="*/ 4074402 w 6666359"/>
              <a:gd name="connsiteY8219" fmla="*/ 1902019 h 4343113"/>
              <a:gd name="connsiteX8220" fmla="*/ 4084076 w 6666359"/>
              <a:gd name="connsiteY8220" fmla="*/ 1911692 h 4343113"/>
              <a:gd name="connsiteX8221" fmla="*/ 4087300 w 6666359"/>
              <a:gd name="connsiteY8221" fmla="*/ 1918142 h 4343113"/>
              <a:gd name="connsiteX8222" fmla="*/ 4084076 w 6666359"/>
              <a:gd name="connsiteY8222" fmla="*/ 1924592 h 4343113"/>
              <a:gd name="connsiteX8223" fmla="*/ 4077626 w 6666359"/>
              <a:gd name="connsiteY8223" fmla="*/ 1921366 h 4343113"/>
              <a:gd name="connsiteX8224" fmla="*/ 4074402 w 6666359"/>
              <a:gd name="connsiteY8224" fmla="*/ 1914917 h 4343113"/>
              <a:gd name="connsiteX8225" fmla="*/ 4071176 w 6666359"/>
              <a:gd name="connsiteY8225" fmla="*/ 1911692 h 4343113"/>
              <a:gd name="connsiteX8226" fmla="*/ 4055053 w 6666359"/>
              <a:gd name="connsiteY8226" fmla="*/ 1905243 h 4343113"/>
              <a:gd name="connsiteX8227" fmla="*/ 4048603 w 6666359"/>
              <a:gd name="connsiteY8227" fmla="*/ 1911692 h 4343113"/>
              <a:gd name="connsiteX8228" fmla="*/ 4042155 w 6666359"/>
              <a:gd name="connsiteY8228" fmla="*/ 1924592 h 4343113"/>
              <a:gd name="connsiteX8229" fmla="*/ 4048603 w 6666359"/>
              <a:gd name="connsiteY8229" fmla="*/ 1931040 h 4343113"/>
              <a:gd name="connsiteX8230" fmla="*/ 4055053 w 6666359"/>
              <a:gd name="connsiteY8230" fmla="*/ 1937490 h 4343113"/>
              <a:gd name="connsiteX8231" fmla="*/ 4051829 w 6666359"/>
              <a:gd name="connsiteY8231" fmla="*/ 1950389 h 4343113"/>
              <a:gd name="connsiteX8232" fmla="*/ 4045379 w 6666359"/>
              <a:gd name="connsiteY8232" fmla="*/ 1953613 h 4343113"/>
              <a:gd name="connsiteX8233" fmla="*/ 4045379 w 6666359"/>
              <a:gd name="connsiteY8233" fmla="*/ 1960063 h 4343113"/>
              <a:gd name="connsiteX8234" fmla="*/ 4038929 w 6666359"/>
              <a:gd name="connsiteY8234" fmla="*/ 1969737 h 4343113"/>
              <a:gd name="connsiteX8235" fmla="*/ 4032481 w 6666359"/>
              <a:gd name="connsiteY8235" fmla="*/ 1976186 h 4343113"/>
              <a:gd name="connsiteX8236" fmla="*/ 4022806 w 6666359"/>
              <a:gd name="connsiteY8236" fmla="*/ 1976186 h 4343113"/>
              <a:gd name="connsiteX8237" fmla="*/ 4026031 w 6666359"/>
              <a:gd name="connsiteY8237" fmla="*/ 1969737 h 4343113"/>
              <a:gd name="connsiteX8238" fmla="*/ 4029256 w 6666359"/>
              <a:gd name="connsiteY8238" fmla="*/ 1963287 h 4343113"/>
              <a:gd name="connsiteX8239" fmla="*/ 4032481 w 6666359"/>
              <a:gd name="connsiteY8239" fmla="*/ 1956839 h 4343113"/>
              <a:gd name="connsiteX8240" fmla="*/ 4035705 w 6666359"/>
              <a:gd name="connsiteY8240" fmla="*/ 1950389 h 4343113"/>
              <a:gd name="connsiteX8241" fmla="*/ 4032481 w 6666359"/>
              <a:gd name="connsiteY8241" fmla="*/ 1937490 h 4343113"/>
              <a:gd name="connsiteX8242" fmla="*/ 4026031 w 6666359"/>
              <a:gd name="connsiteY8242" fmla="*/ 1921366 h 4343113"/>
              <a:gd name="connsiteX8243" fmla="*/ 4019582 w 6666359"/>
              <a:gd name="connsiteY8243" fmla="*/ 1914917 h 4343113"/>
              <a:gd name="connsiteX8244" fmla="*/ 4006682 w 6666359"/>
              <a:gd name="connsiteY8244" fmla="*/ 1911692 h 4343113"/>
              <a:gd name="connsiteX8245" fmla="*/ 4006682 w 6666359"/>
              <a:gd name="connsiteY8245" fmla="*/ 1905243 h 4343113"/>
              <a:gd name="connsiteX8246" fmla="*/ 4003458 w 6666359"/>
              <a:gd name="connsiteY8246" fmla="*/ 1898794 h 4343113"/>
              <a:gd name="connsiteX8247" fmla="*/ 3984110 w 6666359"/>
              <a:gd name="connsiteY8247" fmla="*/ 1889119 h 4343113"/>
              <a:gd name="connsiteX8248" fmla="*/ 3977661 w 6666359"/>
              <a:gd name="connsiteY8248" fmla="*/ 1882671 h 4343113"/>
              <a:gd name="connsiteX8249" fmla="*/ 3964761 w 6666359"/>
              <a:gd name="connsiteY8249" fmla="*/ 1882671 h 4343113"/>
              <a:gd name="connsiteX8250" fmla="*/ 3948638 w 6666359"/>
              <a:gd name="connsiteY8250" fmla="*/ 1869771 h 4343113"/>
              <a:gd name="connsiteX8251" fmla="*/ 3938964 w 6666359"/>
              <a:gd name="connsiteY8251" fmla="*/ 1860098 h 4343113"/>
              <a:gd name="connsiteX8252" fmla="*/ 3929290 w 6666359"/>
              <a:gd name="connsiteY8252" fmla="*/ 1852035 h 4343113"/>
              <a:gd name="connsiteX8253" fmla="*/ 3918004 w 6666359"/>
              <a:gd name="connsiteY8253" fmla="*/ 1835912 h 4343113"/>
              <a:gd name="connsiteX8254" fmla="*/ 3914778 w 6666359"/>
              <a:gd name="connsiteY8254" fmla="*/ 1829462 h 4343113"/>
              <a:gd name="connsiteX8255" fmla="*/ 3911554 w 6666359"/>
              <a:gd name="connsiteY8255" fmla="*/ 1823013 h 4343113"/>
              <a:gd name="connsiteX8256" fmla="*/ 3908330 w 6666359"/>
              <a:gd name="connsiteY8256" fmla="*/ 1806889 h 4343113"/>
              <a:gd name="connsiteX8257" fmla="*/ 3898655 w 6666359"/>
              <a:gd name="connsiteY8257" fmla="*/ 1800440 h 4343113"/>
              <a:gd name="connsiteX8258" fmla="*/ 3885757 w 6666359"/>
              <a:gd name="connsiteY8258" fmla="*/ 1793991 h 4343113"/>
              <a:gd name="connsiteX8259" fmla="*/ 3876083 w 6666359"/>
              <a:gd name="connsiteY8259" fmla="*/ 1790766 h 4343113"/>
              <a:gd name="connsiteX8260" fmla="*/ 3866408 w 6666359"/>
              <a:gd name="connsiteY8260" fmla="*/ 1797215 h 4343113"/>
              <a:gd name="connsiteX8261" fmla="*/ 3859959 w 6666359"/>
              <a:gd name="connsiteY8261" fmla="*/ 1806889 h 4343113"/>
              <a:gd name="connsiteX8262" fmla="*/ 3847061 w 6666359"/>
              <a:gd name="connsiteY8262" fmla="*/ 1810114 h 4343113"/>
              <a:gd name="connsiteX8263" fmla="*/ 3847060 w 6666359"/>
              <a:gd name="connsiteY8263" fmla="*/ 1810114 h 4343113"/>
              <a:gd name="connsiteX8264" fmla="*/ 3843837 w 6666359"/>
              <a:gd name="connsiteY8264" fmla="*/ 1810114 h 4343113"/>
              <a:gd name="connsiteX8265" fmla="*/ 3840611 w 6666359"/>
              <a:gd name="connsiteY8265" fmla="*/ 1813339 h 4343113"/>
              <a:gd name="connsiteX8266" fmla="*/ 3830937 w 6666359"/>
              <a:gd name="connsiteY8266" fmla="*/ 1819788 h 4343113"/>
              <a:gd name="connsiteX8267" fmla="*/ 3818039 w 6666359"/>
              <a:gd name="connsiteY8267" fmla="*/ 1829462 h 4343113"/>
              <a:gd name="connsiteX8268" fmla="*/ 3798690 w 6666359"/>
              <a:gd name="connsiteY8268" fmla="*/ 1826238 h 4343113"/>
              <a:gd name="connsiteX8269" fmla="*/ 3795466 w 6666359"/>
              <a:gd name="connsiteY8269" fmla="*/ 1823013 h 4343113"/>
              <a:gd name="connsiteX8270" fmla="*/ 3789016 w 6666359"/>
              <a:gd name="connsiteY8270" fmla="*/ 1823013 h 4343113"/>
              <a:gd name="connsiteX8271" fmla="*/ 3785792 w 6666359"/>
              <a:gd name="connsiteY8271" fmla="*/ 1816564 h 4343113"/>
              <a:gd name="connsiteX8272" fmla="*/ 3779343 w 6666359"/>
              <a:gd name="connsiteY8272" fmla="*/ 1819788 h 4343113"/>
              <a:gd name="connsiteX8273" fmla="*/ 3769669 w 6666359"/>
              <a:gd name="connsiteY8273" fmla="*/ 1816564 h 4343113"/>
              <a:gd name="connsiteX8274" fmla="*/ 3766443 w 6666359"/>
              <a:gd name="connsiteY8274" fmla="*/ 1816564 h 4343113"/>
              <a:gd name="connsiteX8275" fmla="*/ 3759995 w 6666359"/>
              <a:gd name="connsiteY8275" fmla="*/ 1823013 h 4343113"/>
              <a:gd name="connsiteX8276" fmla="*/ 3753545 w 6666359"/>
              <a:gd name="connsiteY8276" fmla="*/ 1826238 h 4343113"/>
              <a:gd name="connsiteX8277" fmla="*/ 3753545 w 6666359"/>
              <a:gd name="connsiteY8277" fmla="*/ 1844780 h 4343113"/>
              <a:gd name="connsiteX8278" fmla="*/ 3753545 w 6666359"/>
              <a:gd name="connsiteY8278" fmla="*/ 1848810 h 4343113"/>
              <a:gd name="connsiteX8279" fmla="*/ 3750858 w 6666359"/>
              <a:gd name="connsiteY8279" fmla="*/ 1848810 h 4343113"/>
              <a:gd name="connsiteX8280" fmla="*/ 3750858 w 6666359"/>
              <a:gd name="connsiteY8280" fmla="*/ 1848811 h 4343113"/>
              <a:gd name="connsiteX8281" fmla="*/ 3753545 w 6666359"/>
              <a:gd name="connsiteY8281" fmla="*/ 1848811 h 4343113"/>
              <a:gd name="connsiteX8282" fmla="*/ 3753545 w 6666359"/>
              <a:gd name="connsiteY8282" fmla="*/ 1855261 h 4343113"/>
              <a:gd name="connsiteX8283" fmla="*/ 3753545 w 6666359"/>
              <a:gd name="connsiteY8283" fmla="*/ 1863322 h 4343113"/>
              <a:gd name="connsiteX8284" fmla="*/ 3747096 w 6666359"/>
              <a:gd name="connsiteY8284" fmla="*/ 1869773 h 4343113"/>
              <a:gd name="connsiteX8285" fmla="*/ 3727748 w 6666359"/>
              <a:gd name="connsiteY8285" fmla="*/ 1879446 h 4343113"/>
              <a:gd name="connsiteX8286" fmla="*/ 3708399 w 6666359"/>
              <a:gd name="connsiteY8286" fmla="*/ 1885896 h 4343113"/>
              <a:gd name="connsiteX8287" fmla="*/ 3698725 w 6666359"/>
              <a:gd name="connsiteY8287" fmla="*/ 1892346 h 4343113"/>
              <a:gd name="connsiteX8288" fmla="*/ 3701950 w 6666359"/>
              <a:gd name="connsiteY8288" fmla="*/ 1898794 h 4343113"/>
              <a:gd name="connsiteX8289" fmla="*/ 3692275 w 6666359"/>
              <a:gd name="connsiteY8289" fmla="*/ 1908469 h 4343113"/>
              <a:gd name="connsiteX8290" fmla="*/ 3689051 w 6666359"/>
              <a:gd name="connsiteY8290" fmla="*/ 1914918 h 4343113"/>
              <a:gd name="connsiteX8291" fmla="*/ 3685827 w 6666359"/>
              <a:gd name="connsiteY8291" fmla="*/ 1918143 h 4343113"/>
              <a:gd name="connsiteX8292" fmla="*/ 3682601 w 6666359"/>
              <a:gd name="connsiteY8292" fmla="*/ 1918143 h 4343113"/>
              <a:gd name="connsiteX8293" fmla="*/ 3676152 w 6666359"/>
              <a:gd name="connsiteY8293" fmla="*/ 1931041 h 4343113"/>
              <a:gd name="connsiteX8294" fmla="*/ 3676152 w 6666359"/>
              <a:gd name="connsiteY8294" fmla="*/ 1947165 h 4343113"/>
              <a:gd name="connsiteX8295" fmla="*/ 3685827 w 6666359"/>
              <a:gd name="connsiteY8295" fmla="*/ 1956840 h 4343113"/>
              <a:gd name="connsiteX8296" fmla="*/ 3669703 w 6666359"/>
              <a:gd name="connsiteY8296" fmla="*/ 1969738 h 4343113"/>
              <a:gd name="connsiteX8297" fmla="*/ 3663254 w 6666359"/>
              <a:gd name="connsiteY8297" fmla="*/ 1979412 h 4343113"/>
              <a:gd name="connsiteX8298" fmla="*/ 3666478 w 6666359"/>
              <a:gd name="connsiteY8298" fmla="*/ 1985861 h 4343113"/>
              <a:gd name="connsiteX8299" fmla="*/ 3643906 w 6666359"/>
              <a:gd name="connsiteY8299" fmla="*/ 1995535 h 4343113"/>
              <a:gd name="connsiteX8300" fmla="*/ 3637456 w 6666359"/>
              <a:gd name="connsiteY8300" fmla="*/ 2008435 h 4343113"/>
              <a:gd name="connsiteX8301" fmla="*/ 3631007 w 6666359"/>
              <a:gd name="connsiteY8301" fmla="*/ 2008435 h 4343113"/>
              <a:gd name="connsiteX8302" fmla="*/ 3627782 w 6666359"/>
              <a:gd name="connsiteY8302" fmla="*/ 2008435 h 4343113"/>
              <a:gd name="connsiteX8303" fmla="*/ 3624557 w 6666359"/>
              <a:gd name="connsiteY8303" fmla="*/ 2011659 h 4343113"/>
              <a:gd name="connsiteX8304" fmla="*/ 3618107 w 6666359"/>
              <a:gd name="connsiteY8304" fmla="*/ 2008435 h 4343113"/>
              <a:gd name="connsiteX8305" fmla="*/ 3589086 w 6666359"/>
              <a:gd name="connsiteY8305" fmla="*/ 2011659 h 4343113"/>
              <a:gd name="connsiteX8306" fmla="*/ 3585860 w 6666359"/>
              <a:gd name="connsiteY8306" fmla="*/ 2011659 h 4343113"/>
              <a:gd name="connsiteX8307" fmla="*/ 3579412 w 6666359"/>
              <a:gd name="connsiteY8307" fmla="*/ 2018108 h 4343113"/>
              <a:gd name="connsiteX8308" fmla="*/ 3576186 w 6666359"/>
              <a:gd name="connsiteY8308" fmla="*/ 2018108 h 4343113"/>
              <a:gd name="connsiteX8309" fmla="*/ 3563288 w 6666359"/>
              <a:gd name="connsiteY8309" fmla="*/ 2024558 h 4343113"/>
              <a:gd name="connsiteX8310" fmla="*/ 3563288 w 6666359"/>
              <a:gd name="connsiteY8310" fmla="*/ 2027782 h 4343113"/>
              <a:gd name="connsiteX8311" fmla="*/ 3556839 w 6666359"/>
              <a:gd name="connsiteY8311" fmla="*/ 2027782 h 4343113"/>
              <a:gd name="connsiteX8312" fmla="*/ 3547165 w 6666359"/>
              <a:gd name="connsiteY8312" fmla="*/ 2021333 h 4343113"/>
              <a:gd name="connsiteX8313" fmla="*/ 3540715 w 6666359"/>
              <a:gd name="connsiteY8313" fmla="*/ 2011659 h 4343113"/>
              <a:gd name="connsiteX8314" fmla="*/ 3540715 w 6666359"/>
              <a:gd name="connsiteY8314" fmla="*/ 2005209 h 4343113"/>
              <a:gd name="connsiteX8315" fmla="*/ 3534266 w 6666359"/>
              <a:gd name="connsiteY8315" fmla="*/ 1998761 h 4343113"/>
              <a:gd name="connsiteX8316" fmla="*/ 3521367 w 6666359"/>
              <a:gd name="connsiteY8316" fmla="*/ 1998761 h 4343113"/>
              <a:gd name="connsiteX8317" fmla="*/ 3520603 w 6666359"/>
              <a:gd name="connsiteY8317" fmla="*/ 1996469 h 4343113"/>
              <a:gd name="connsiteX8318" fmla="*/ 3520602 w 6666359"/>
              <a:gd name="connsiteY8318" fmla="*/ 1996469 h 4343113"/>
              <a:gd name="connsiteX8319" fmla="*/ 3521366 w 6666359"/>
              <a:gd name="connsiteY8319" fmla="*/ 1998761 h 4343113"/>
              <a:gd name="connsiteX8320" fmla="*/ 3518141 w 6666359"/>
              <a:gd name="connsiteY8320" fmla="*/ 1998761 h 4343113"/>
              <a:gd name="connsiteX8321" fmla="*/ 3511692 w 6666359"/>
              <a:gd name="connsiteY8321" fmla="*/ 2001985 h 4343113"/>
              <a:gd name="connsiteX8322" fmla="*/ 3498793 w 6666359"/>
              <a:gd name="connsiteY8322" fmla="*/ 2001985 h 4343113"/>
              <a:gd name="connsiteX8323" fmla="*/ 3489119 w 6666359"/>
              <a:gd name="connsiteY8323" fmla="*/ 1995535 h 4343113"/>
              <a:gd name="connsiteX8324" fmla="*/ 3489119 w 6666359"/>
              <a:gd name="connsiteY8324" fmla="*/ 1985861 h 4343113"/>
              <a:gd name="connsiteX8325" fmla="*/ 3489119 w 6666359"/>
              <a:gd name="connsiteY8325" fmla="*/ 1969738 h 4343113"/>
              <a:gd name="connsiteX8326" fmla="*/ 3485894 w 6666359"/>
              <a:gd name="connsiteY8326" fmla="*/ 1963288 h 4343113"/>
              <a:gd name="connsiteX8327" fmla="*/ 3482670 w 6666359"/>
              <a:gd name="connsiteY8327" fmla="*/ 1963288 h 4343113"/>
              <a:gd name="connsiteX8328" fmla="*/ 3482670 w 6666359"/>
              <a:gd name="connsiteY8328" fmla="*/ 1953614 h 4343113"/>
              <a:gd name="connsiteX8329" fmla="*/ 3472996 w 6666359"/>
              <a:gd name="connsiteY8329" fmla="*/ 1956840 h 4343113"/>
              <a:gd name="connsiteX8330" fmla="*/ 3485894 w 6666359"/>
              <a:gd name="connsiteY8330" fmla="*/ 1921367 h 4343113"/>
              <a:gd name="connsiteX8331" fmla="*/ 3492344 w 6666359"/>
              <a:gd name="connsiteY8331" fmla="*/ 1885896 h 4343113"/>
              <a:gd name="connsiteX8332" fmla="*/ 3489119 w 6666359"/>
              <a:gd name="connsiteY8332" fmla="*/ 1876222 h 4343113"/>
              <a:gd name="connsiteX8333" fmla="*/ 3489119 w 6666359"/>
              <a:gd name="connsiteY8333" fmla="*/ 1863323 h 4343113"/>
              <a:gd name="connsiteX8334" fmla="*/ 3492345 w 6666359"/>
              <a:gd name="connsiteY8334" fmla="*/ 1861710 h 4343113"/>
              <a:gd name="connsiteX8335" fmla="*/ 3489120 w 6666359"/>
              <a:gd name="connsiteY8335" fmla="*/ 1863322 h 4343113"/>
              <a:gd name="connsiteX8336" fmla="*/ 3485895 w 6666359"/>
              <a:gd name="connsiteY8336" fmla="*/ 1863322 h 4343113"/>
              <a:gd name="connsiteX8337" fmla="*/ 3489120 w 6666359"/>
              <a:gd name="connsiteY8337" fmla="*/ 1852036 h 4343113"/>
              <a:gd name="connsiteX8338" fmla="*/ 3485895 w 6666359"/>
              <a:gd name="connsiteY8338" fmla="*/ 1842362 h 4343113"/>
              <a:gd name="connsiteX8339" fmla="*/ 3479446 w 6666359"/>
              <a:gd name="connsiteY8339" fmla="*/ 1829463 h 4343113"/>
              <a:gd name="connsiteX8340" fmla="*/ 3482671 w 6666359"/>
              <a:gd name="connsiteY8340" fmla="*/ 1826239 h 4343113"/>
              <a:gd name="connsiteX8341" fmla="*/ 3489120 w 6666359"/>
              <a:gd name="connsiteY8341" fmla="*/ 1823014 h 4343113"/>
              <a:gd name="connsiteX8342" fmla="*/ 3498794 w 6666359"/>
              <a:gd name="connsiteY8342" fmla="*/ 1816565 h 4343113"/>
              <a:gd name="connsiteX8343" fmla="*/ 3508468 w 6666359"/>
              <a:gd name="connsiteY8343" fmla="*/ 1810115 h 4343113"/>
              <a:gd name="connsiteX8344" fmla="*/ 3518142 w 6666359"/>
              <a:gd name="connsiteY8344" fmla="*/ 1813340 h 4343113"/>
              <a:gd name="connsiteX8345" fmla="*/ 3524592 w 6666359"/>
              <a:gd name="connsiteY8345" fmla="*/ 1816565 h 4343113"/>
              <a:gd name="connsiteX8346" fmla="*/ 3543939 w 6666359"/>
              <a:gd name="connsiteY8346" fmla="*/ 1816565 h 4343113"/>
              <a:gd name="connsiteX8347" fmla="*/ 3563288 w 6666359"/>
              <a:gd name="connsiteY8347" fmla="*/ 1816565 h 4343113"/>
              <a:gd name="connsiteX8348" fmla="*/ 3582636 w 6666359"/>
              <a:gd name="connsiteY8348" fmla="*/ 1823014 h 4343113"/>
              <a:gd name="connsiteX8349" fmla="*/ 3598760 w 6666359"/>
              <a:gd name="connsiteY8349" fmla="*/ 1816565 h 4343113"/>
              <a:gd name="connsiteX8350" fmla="*/ 3605209 w 6666359"/>
              <a:gd name="connsiteY8350" fmla="*/ 1819789 h 4343113"/>
              <a:gd name="connsiteX8351" fmla="*/ 3611659 w 6666359"/>
              <a:gd name="connsiteY8351" fmla="*/ 1823014 h 4343113"/>
              <a:gd name="connsiteX8352" fmla="*/ 3627782 w 6666359"/>
              <a:gd name="connsiteY8352" fmla="*/ 1823014 h 4343113"/>
              <a:gd name="connsiteX8353" fmla="*/ 3643906 w 6666359"/>
              <a:gd name="connsiteY8353" fmla="*/ 1823014 h 4343113"/>
              <a:gd name="connsiteX8354" fmla="*/ 3646299 w 6666359"/>
              <a:gd name="connsiteY8354" fmla="*/ 1824382 h 4343113"/>
              <a:gd name="connsiteX8355" fmla="*/ 3646300 w 6666359"/>
              <a:gd name="connsiteY8355" fmla="*/ 1824381 h 4343113"/>
              <a:gd name="connsiteX8356" fmla="*/ 3643906 w 6666359"/>
              <a:gd name="connsiteY8356" fmla="*/ 1823013 h 4343113"/>
              <a:gd name="connsiteX8357" fmla="*/ 3653580 w 6666359"/>
              <a:gd name="connsiteY8357" fmla="*/ 1803665 h 4343113"/>
              <a:gd name="connsiteX8358" fmla="*/ 3656804 w 6666359"/>
              <a:gd name="connsiteY8358" fmla="*/ 1768193 h 4343113"/>
              <a:gd name="connsiteX8359" fmla="*/ 3653580 w 6666359"/>
              <a:gd name="connsiteY8359" fmla="*/ 1752070 h 4343113"/>
              <a:gd name="connsiteX8360" fmla="*/ 3660028 w 6666359"/>
              <a:gd name="connsiteY8360" fmla="*/ 1748845 h 4343113"/>
              <a:gd name="connsiteX8361" fmla="*/ 3656804 w 6666359"/>
              <a:gd name="connsiteY8361" fmla="*/ 1735946 h 4343113"/>
              <a:gd name="connsiteX8362" fmla="*/ 3647130 w 6666359"/>
              <a:gd name="connsiteY8362" fmla="*/ 1729497 h 4343113"/>
              <a:gd name="connsiteX8363" fmla="*/ 3637456 w 6666359"/>
              <a:gd name="connsiteY8363" fmla="*/ 1719823 h 4343113"/>
              <a:gd name="connsiteX8364" fmla="*/ 3637456 w 6666359"/>
              <a:gd name="connsiteY8364" fmla="*/ 1710149 h 4343113"/>
              <a:gd name="connsiteX8365" fmla="*/ 3643906 w 6666359"/>
              <a:gd name="connsiteY8365" fmla="*/ 1703699 h 4343113"/>
              <a:gd name="connsiteX8366" fmla="*/ 3637456 w 6666359"/>
              <a:gd name="connsiteY8366" fmla="*/ 1700474 h 4343113"/>
              <a:gd name="connsiteX8367" fmla="*/ 3631007 w 6666359"/>
              <a:gd name="connsiteY8367" fmla="*/ 1700474 h 4343113"/>
              <a:gd name="connsiteX8368" fmla="*/ 3621333 w 6666359"/>
              <a:gd name="connsiteY8368" fmla="*/ 1694025 h 4343113"/>
              <a:gd name="connsiteX8369" fmla="*/ 3601984 w 6666359"/>
              <a:gd name="connsiteY8369" fmla="*/ 1684352 h 4343113"/>
              <a:gd name="connsiteX8370" fmla="*/ 3579412 w 6666359"/>
              <a:gd name="connsiteY8370" fmla="*/ 1674677 h 4343113"/>
              <a:gd name="connsiteX8371" fmla="*/ 3579412 w 6666359"/>
              <a:gd name="connsiteY8371" fmla="*/ 1665003 h 4343113"/>
              <a:gd name="connsiteX8372" fmla="*/ 3576186 w 6666359"/>
              <a:gd name="connsiteY8372" fmla="*/ 1661778 h 4343113"/>
              <a:gd name="connsiteX8373" fmla="*/ 3582636 w 6666359"/>
              <a:gd name="connsiteY8373" fmla="*/ 1658553 h 4343113"/>
              <a:gd name="connsiteX8374" fmla="*/ 3592310 w 6666359"/>
              <a:gd name="connsiteY8374" fmla="*/ 1655329 h 4343113"/>
              <a:gd name="connsiteX8375" fmla="*/ 3601984 w 6666359"/>
              <a:gd name="connsiteY8375" fmla="*/ 1655329 h 4343113"/>
              <a:gd name="connsiteX8376" fmla="*/ 3605209 w 6666359"/>
              <a:gd name="connsiteY8376" fmla="*/ 1652105 h 4343113"/>
              <a:gd name="connsiteX8377" fmla="*/ 3611659 w 6666359"/>
              <a:gd name="connsiteY8377" fmla="*/ 1648879 h 4343113"/>
              <a:gd name="connsiteX8378" fmla="*/ 3614883 w 6666359"/>
              <a:gd name="connsiteY8378" fmla="*/ 1652105 h 4343113"/>
              <a:gd name="connsiteX8379" fmla="*/ 3621333 w 6666359"/>
              <a:gd name="connsiteY8379" fmla="*/ 1658553 h 4343113"/>
              <a:gd name="connsiteX8380" fmla="*/ 3627782 w 6666359"/>
              <a:gd name="connsiteY8380" fmla="*/ 1655329 h 4343113"/>
              <a:gd name="connsiteX8381" fmla="*/ 3631007 w 6666359"/>
              <a:gd name="connsiteY8381" fmla="*/ 1655329 h 4343113"/>
              <a:gd name="connsiteX8382" fmla="*/ 3653580 w 6666359"/>
              <a:gd name="connsiteY8382" fmla="*/ 1655329 h 4343113"/>
              <a:gd name="connsiteX8383" fmla="*/ 3647130 w 6666359"/>
              <a:gd name="connsiteY8383" fmla="*/ 1652105 h 4343113"/>
              <a:gd name="connsiteX8384" fmla="*/ 3647130 w 6666359"/>
              <a:gd name="connsiteY8384" fmla="*/ 1645655 h 4343113"/>
              <a:gd name="connsiteX8385" fmla="*/ 3647130 w 6666359"/>
              <a:gd name="connsiteY8385" fmla="*/ 1635981 h 4343113"/>
              <a:gd name="connsiteX8386" fmla="*/ 3643906 w 6666359"/>
              <a:gd name="connsiteY8386" fmla="*/ 1629531 h 4343113"/>
              <a:gd name="connsiteX8387" fmla="*/ 3640681 w 6666359"/>
              <a:gd name="connsiteY8387" fmla="*/ 1623082 h 4343113"/>
              <a:gd name="connsiteX8388" fmla="*/ 3647130 w 6666359"/>
              <a:gd name="connsiteY8388" fmla="*/ 1623082 h 4343113"/>
              <a:gd name="connsiteX8389" fmla="*/ 3653580 w 6666359"/>
              <a:gd name="connsiteY8389" fmla="*/ 1619857 h 4343113"/>
              <a:gd name="connsiteX8390" fmla="*/ 3653580 w 6666359"/>
              <a:gd name="connsiteY8390" fmla="*/ 1626307 h 4343113"/>
              <a:gd name="connsiteX8391" fmla="*/ 3653580 w 6666359"/>
              <a:gd name="connsiteY8391" fmla="*/ 1629531 h 4343113"/>
              <a:gd name="connsiteX8392" fmla="*/ 3676152 w 6666359"/>
              <a:gd name="connsiteY8392" fmla="*/ 1635981 h 4343113"/>
              <a:gd name="connsiteX8393" fmla="*/ 3692275 w 6666359"/>
              <a:gd name="connsiteY8393" fmla="*/ 1629531 h 4343113"/>
              <a:gd name="connsiteX8394" fmla="*/ 3685827 w 6666359"/>
              <a:gd name="connsiteY8394" fmla="*/ 1629531 h 4343113"/>
              <a:gd name="connsiteX8395" fmla="*/ 3689051 w 6666359"/>
              <a:gd name="connsiteY8395" fmla="*/ 1619857 h 4343113"/>
              <a:gd name="connsiteX8396" fmla="*/ 3698725 w 6666359"/>
              <a:gd name="connsiteY8396" fmla="*/ 1613408 h 4343113"/>
              <a:gd name="connsiteX8397" fmla="*/ 3708399 w 6666359"/>
              <a:gd name="connsiteY8397" fmla="*/ 1610184 h 4343113"/>
              <a:gd name="connsiteX8398" fmla="*/ 3718073 w 6666359"/>
              <a:gd name="connsiteY8398" fmla="*/ 1600509 h 4343113"/>
              <a:gd name="connsiteX8399" fmla="*/ 3718073 w 6666359"/>
              <a:gd name="connsiteY8399" fmla="*/ 1584385 h 4343113"/>
              <a:gd name="connsiteX8400" fmla="*/ 3724522 w 6666359"/>
              <a:gd name="connsiteY8400" fmla="*/ 1577937 h 4343113"/>
              <a:gd name="connsiteX8401" fmla="*/ 3737422 w 6666359"/>
              <a:gd name="connsiteY8401" fmla="*/ 1574711 h 4343113"/>
              <a:gd name="connsiteX8402" fmla="*/ 3753545 w 6666359"/>
              <a:gd name="connsiteY8402" fmla="*/ 1561814 h 4343113"/>
              <a:gd name="connsiteX8403" fmla="*/ 3756769 w 6666359"/>
              <a:gd name="connsiteY8403" fmla="*/ 1561814 h 4343113"/>
              <a:gd name="connsiteX8404" fmla="*/ 3766443 w 6666359"/>
              <a:gd name="connsiteY8404" fmla="*/ 1555364 h 4343113"/>
              <a:gd name="connsiteX8405" fmla="*/ 3776117 w 6666359"/>
              <a:gd name="connsiteY8405" fmla="*/ 1561814 h 4343113"/>
              <a:gd name="connsiteX8406" fmla="*/ 3772893 w 6666359"/>
              <a:gd name="connsiteY8406" fmla="*/ 1542465 h 4343113"/>
              <a:gd name="connsiteX8407" fmla="*/ 3779343 w 6666359"/>
              <a:gd name="connsiteY8407" fmla="*/ 1529567 h 4343113"/>
              <a:gd name="connsiteX8408" fmla="*/ 3785792 w 6666359"/>
              <a:gd name="connsiteY8408" fmla="*/ 1516668 h 4343113"/>
              <a:gd name="connsiteX8409" fmla="*/ 3789016 w 6666359"/>
              <a:gd name="connsiteY8409" fmla="*/ 1506994 h 4343113"/>
              <a:gd name="connsiteX8410" fmla="*/ 3801916 w 6666359"/>
              <a:gd name="connsiteY8410" fmla="*/ 1500544 h 4343113"/>
              <a:gd name="connsiteX8411" fmla="*/ 3811590 w 6666359"/>
              <a:gd name="connsiteY8411" fmla="*/ 1490870 h 4343113"/>
              <a:gd name="connsiteX8412" fmla="*/ 3830937 w 6666359"/>
              <a:gd name="connsiteY8412" fmla="*/ 1487646 h 4343113"/>
              <a:gd name="connsiteX8413" fmla="*/ 3837386 w 6666359"/>
              <a:gd name="connsiteY8413" fmla="*/ 1490870 h 4343113"/>
              <a:gd name="connsiteX8414" fmla="*/ 3843836 w 6666359"/>
              <a:gd name="connsiteY8414" fmla="*/ 1481196 h 4343113"/>
              <a:gd name="connsiteX8415" fmla="*/ 3856734 w 6666359"/>
              <a:gd name="connsiteY8415" fmla="*/ 1477972 h 4343113"/>
              <a:gd name="connsiteX8416" fmla="*/ 3866408 w 6666359"/>
              <a:gd name="connsiteY8416" fmla="*/ 1484421 h 4343113"/>
              <a:gd name="connsiteX8417" fmla="*/ 3872857 w 6666359"/>
              <a:gd name="connsiteY8417" fmla="*/ 1471523 h 4343113"/>
              <a:gd name="connsiteX8418" fmla="*/ 3879307 w 6666359"/>
              <a:gd name="connsiteY8418" fmla="*/ 1465073 h 4343113"/>
              <a:gd name="connsiteX8419" fmla="*/ 3879307 w 6666359"/>
              <a:gd name="connsiteY8419" fmla="*/ 1455399 h 4343113"/>
              <a:gd name="connsiteX8420" fmla="*/ 3876083 w 6666359"/>
              <a:gd name="connsiteY8420" fmla="*/ 1442500 h 4343113"/>
              <a:gd name="connsiteX8421" fmla="*/ 3872857 w 6666359"/>
              <a:gd name="connsiteY8421" fmla="*/ 1432826 h 4343113"/>
              <a:gd name="connsiteX8422" fmla="*/ 3877364 w 6666359"/>
              <a:gd name="connsiteY8422" fmla="*/ 1434629 h 4343113"/>
              <a:gd name="connsiteX8423" fmla="*/ 3877364 w 6666359"/>
              <a:gd name="connsiteY8423" fmla="*/ 1434628 h 4343113"/>
              <a:gd name="connsiteX8424" fmla="*/ 3872858 w 6666359"/>
              <a:gd name="connsiteY8424" fmla="*/ 1432826 h 4343113"/>
              <a:gd name="connsiteX8425" fmla="*/ 3872858 w 6666359"/>
              <a:gd name="connsiteY8425" fmla="*/ 1426376 h 4343113"/>
              <a:gd name="connsiteX8426" fmla="*/ 3869634 w 6666359"/>
              <a:gd name="connsiteY8426" fmla="*/ 1413478 h 4343113"/>
              <a:gd name="connsiteX8427" fmla="*/ 3863184 w 6666359"/>
              <a:gd name="connsiteY8427" fmla="*/ 1407029 h 4343113"/>
              <a:gd name="connsiteX8428" fmla="*/ 3859960 w 6666359"/>
              <a:gd name="connsiteY8428" fmla="*/ 1387681 h 4343113"/>
              <a:gd name="connsiteX8429" fmla="*/ 3859960 w 6666359"/>
              <a:gd name="connsiteY8429" fmla="*/ 1368332 h 4343113"/>
              <a:gd name="connsiteX8430" fmla="*/ 3863184 w 6666359"/>
              <a:gd name="connsiteY8430" fmla="*/ 1358658 h 4343113"/>
              <a:gd name="connsiteX8431" fmla="*/ 3869634 w 6666359"/>
              <a:gd name="connsiteY8431" fmla="*/ 1348984 h 4343113"/>
              <a:gd name="connsiteX8432" fmla="*/ 3879308 w 6666359"/>
              <a:gd name="connsiteY8432" fmla="*/ 1348984 h 4343113"/>
              <a:gd name="connsiteX8433" fmla="*/ 3888982 w 6666359"/>
              <a:gd name="connsiteY8433" fmla="*/ 1345759 h 4343113"/>
              <a:gd name="connsiteX8434" fmla="*/ 3898656 w 6666359"/>
              <a:gd name="connsiteY8434" fmla="*/ 1336085 h 4343113"/>
              <a:gd name="connsiteX8435" fmla="*/ 3908330 w 6666359"/>
              <a:gd name="connsiteY8435" fmla="*/ 1326411 h 4343113"/>
              <a:gd name="connsiteX8436" fmla="*/ 3911555 w 6666359"/>
              <a:gd name="connsiteY8436" fmla="*/ 1329636 h 4343113"/>
              <a:gd name="connsiteX8437" fmla="*/ 3911555 w 6666359"/>
              <a:gd name="connsiteY8437" fmla="*/ 1339310 h 4343113"/>
              <a:gd name="connsiteX8438" fmla="*/ 3905105 w 6666359"/>
              <a:gd name="connsiteY8438" fmla="*/ 1352208 h 4343113"/>
              <a:gd name="connsiteX8439" fmla="*/ 3908330 w 6666359"/>
              <a:gd name="connsiteY8439" fmla="*/ 1368332 h 4343113"/>
              <a:gd name="connsiteX8440" fmla="*/ 3911555 w 6666359"/>
              <a:gd name="connsiteY8440" fmla="*/ 1371557 h 4343113"/>
              <a:gd name="connsiteX8441" fmla="*/ 3918005 w 6666359"/>
              <a:gd name="connsiteY8441" fmla="*/ 1371557 h 4343113"/>
              <a:gd name="connsiteX8442" fmla="*/ 3921229 w 6666359"/>
              <a:gd name="connsiteY8442" fmla="*/ 1381231 h 4343113"/>
              <a:gd name="connsiteX8443" fmla="*/ 3911555 w 6666359"/>
              <a:gd name="connsiteY8443" fmla="*/ 1390905 h 4343113"/>
              <a:gd name="connsiteX8444" fmla="*/ 3895432 w 6666359"/>
              <a:gd name="connsiteY8444" fmla="*/ 1410253 h 4343113"/>
              <a:gd name="connsiteX8445" fmla="*/ 3888982 w 6666359"/>
              <a:gd name="connsiteY8445" fmla="*/ 1426376 h 4343113"/>
              <a:gd name="connsiteX8446" fmla="*/ 3892207 w 6666359"/>
              <a:gd name="connsiteY8446" fmla="*/ 1432826 h 4343113"/>
              <a:gd name="connsiteX8447" fmla="*/ 3888982 w 6666359"/>
              <a:gd name="connsiteY8447" fmla="*/ 1439276 h 4343113"/>
              <a:gd name="connsiteX8448" fmla="*/ 3888311 w 6666359"/>
              <a:gd name="connsiteY8448" fmla="*/ 1439007 h 4343113"/>
              <a:gd name="connsiteX8449" fmla="*/ 3887639 w 6666359"/>
              <a:gd name="connsiteY8449" fmla="*/ 1438738 h 4343113"/>
              <a:gd name="connsiteX8450" fmla="*/ 3887638 w 6666359"/>
              <a:gd name="connsiteY8450" fmla="*/ 1438738 h 4343113"/>
              <a:gd name="connsiteX8451" fmla="*/ 3888311 w 6666359"/>
              <a:gd name="connsiteY8451" fmla="*/ 1439007 h 4343113"/>
              <a:gd name="connsiteX8452" fmla="*/ 3888981 w 6666359"/>
              <a:gd name="connsiteY8452" fmla="*/ 1439276 h 4343113"/>
              <a:gd name="connsiteX8453" fmla="*/ 3898655 w 6666359"/>
              <a:gd name="connsiteY8453" fmla="*/ 1442500 h 4343113"/>
              <a:gd name="connsiteX8454" fmla="*/ 3911554 w 6666359"/>
              <a:gd name="connsiteY8454" fmla="*/ 1452174 h 4343113"/>
              <a:gd name="connsiteX8455" fmla="*/ 3924452 w 6666359"/>
              <a:gd name="connsiteY8455" fmla="*/ 1455399 h 4343113"/>
              <a:gd name="connsiteX8456" fmla="*/ 3921228 w 6666359"/>
              <a:gd name="connsiteY8456" fmla="*/ 1471523 h 4343113"/>
              <a:gd name="connsiteX8457" fmla="*/ 3929290 w 6666359"/>
              <a:gd name="connsiteY8457" fmla="*/ 1468297 h 4343113"/>
              <a:gd name="connsiteX8458" fmla="*/ 3935740 w 6666359"/>
              <a:gd name="connsiteY8458" fmla="*/ 1468297 h 4343113"/>
              <a:gd name="connsiteX8459" fmla="*/ 3951863 w 6666359"/>
              <a:gd name="connsiteY8459" fmla="*/ 1455399 h 4343113"/>
              <a:gd name="connsiteX8460" fmla="*/ 3964761 w 6666359"/>
              <a:gd name="connsiteY8460" fmla="*/ 1452174 h 4343113"/>
              <a:gd name="connsiteX8461" fmla="*/ 3967987 w 6666359"/>
              <a:gd name="connsiteY8461" fmla="*/ 1455399 h 4343113"/>
              <a:gd name="connsiteX8462" fmla="*/ 3971211 w 6666359"/>
              <a:gd name="connsiteY8462" fmla="*/ 1458623 h 4343113"/>
              <a:gd name="connsiteX8463" fmla="*/ 3980885 w 6666359"/>
              <a:gd name="connsiteY8463" fmla="*/ 1461849 h 4343113"/>
              <a:gd name="connsiteX8464" fmla="*/ 3984110 w 6666359"/>
              <a:gd name="connsiteY8464" fmla="*/ 1474747 h 4343113"/>
              <a:gd name="connsiteX8465" fmla="*/ 3991151 w 6666359"/>
              <a:gd name="connsiteY8465" fmla="*/ 1479442 h 4343113"/>
              <a:gd name="connsiteX8466" fmla="*/ 3993785 w 6666359"/>
              <a:gd name="connsiteY8466" fmla="*/ 1477972 h 4343113"/>
              <a:gd name="connsiteX8467" fmla="*/ 3993785 w 6666359"/>
              <a:gd name="connsiteY8467" fmla="*/ 1474747 h 4343113"/>
              <a:gd name="connsiteX8468" fmla="*/ 3993785 w 6666359"/>
              <a:gd name="connsiteY8468" fmla="*/ 1471523 h 4343113"/>
              <a:gd name="connsiteX8469" fmla="*/ 4000235 w 6666359"/>
              <a:gd name="connsiteY8469" fmla="*/ 1468297 h 4343113"/>
              <a:gd name="connsiteX8470" fmla="*/ 4035706 w 6666359"/>
              <a:gd name="connsiteY8470" fmla="*/ 1455399 h 4343113"/>
              <a:gd name="connsiteX8471" fmla="*/ 4045380 w 6666359"/>
              <a:gd name="connsiteY8471" fmla="*/ 1445725 h 4343113"/>
              <a:gd name="connsiteX8472" fmla="*/ 4058279 w 6666359"/>
              <a:gd name="connsiteY8472" fmla="*/ 1439276 h 4343113"/>
              <a:gd name="connsiteX8473" fmla="*/ 4084077 w 6666359"/>
              <a:gd name="connsiteY8473" fmla="*/ 1439276 h 4343113"/>
              <a:gd name="connsiteX8474" fmla="*/ 4087301 w 6666359"/>
              <a:gd name="connsiteY8474" fmla="*/ 1439276 h 4343113"/>
              <a:gd name="connsiteX8475" fmla="*/ 4087301 w 6666359"/>
              <a:gd name="connsiteY8475" fmla="*/ 1452174 h 4343113"/>
              <a:gd name="connsiteX8476" fmla="*/ 4096975 w 6666359"/>
              <a:gd name="connsiteY8476" fmla="*/ 1455399 h 4343113"/>
              <a:gd name="connsiteX8477" fmla="*/ 4109874 w 6666359"/>
              <a:gd name="connsiteY8477" fmla="*/ 1452174 h 4343113"/>
              <a:gd name="connsiteX8478" fmla="*/ 4119548 w 6666359"/>
              <a:gd name="connsiteY8478" fmla="*/ 1439276 h 4343113"/>
              <a:gd name="connsiteX8479" fmla="*/ 4119548 w 6666359"/>
              <a:gd name="connsiteY8479" fmla="*/ 1432826 h 4343113"/>
              <a:gd name="connsiteX8480" fmla="*/ 4122772 w 6666359"/>
              <a:gd name="connsiteY8480" fmla="*/ 1432826 h 4343113"/>
              <a:gd name="connsiteX8481" fmla="*/ 4129222 w 6666359"/>
              <a:gd name="connsiteY8481" fmla="*/ 1432826 h 4343113"/>
              <a:gd name="connsiteX8482" fmla="*/ 4138896 w 6666359"/>
              <a:gd name="connsiteY8482" fmla="*/ 1419927 h 4343113"/>
              <a:gd name="connsiteX8483" fmla="*/ 4142121 w 6666359"/>
              <a:gd name="connsiteY8483" fmla="*/ 1416702 h 4343113"/>
              <a:gd name="connsiteX8484" fmla="*/ 4142121 w 6666359"/>
              <a:gd name="connsiteY8484" fmla="*/ 1410253 h 4343113"/>
              <a:gd name="connsiteX8485" fmla="*/ 4142121 w 6666359"/>
              <a:gd name="connsiteY8485" fmla="*/ 1400579 h 4343113"/>
              <a:gd name="connsiteX8486" fmla="*/ 4142121 w 6666359"/>
              <a:gd name="connsiteY8486" fmla="*/ 1390905 h 4343113"/>
              <a:gd name="connsiteX8487" fmla="*/ 4142121 w 6666359"/>
              <a:gd name="connsiteY8487" fmla="*/ 1381231 h 4343113"/>
              <a:gd name="connsiteX8488" fmla="*/ 4142121 w 6666359"/>
              <a:gd name="connsiteY8488" fmla="*/ 1361882 h 4343113"/>
              <a:gd name="connsiteX8489" fmla="*/ 4151795 w 6666359"/>
              <a:gd name="connsiteY8489" fmla="*/ 1342534 h 4343113"/>
              <a:gd name="connsiteX8490" fmla="*/ 4158245 w 6666359"/>
              <a:gd name="connsiteY8490" fmla="*/ 1329636 h 4343113"/>
              <a:gd name="connsiteX8491" fmla="*/ 4171143 w 6666359"/>
              <a:gd name="connsiteY8491" fmla="*/ 1323187 h 4343113"/>
              <a:gd name="connsiteX8492" fmla="*/ 4180817 w 6666359"/>
              <a:gd name="connsiteY8492" fmla="*/ 1332861 h 4343113"/>
              <a:gd name="connsiteX8493" fmla="*/ 4187266 w 6666359"/>
              <a:gd name="connsiteY8493" fmla="*/ 1342534 h 4343113"/>
              <a:gd name="connsiteX8494" fmla="*/ 4190492 w 6666359"/>
              <a:gd name="connsiteY8494" fmla="*/ 1348984 h 4343113"/>
              <a:gd name="connsiteX8495" fmla="*/ 4206615 w 6666359"/>
              <a:gd name="connsiteY8495" fmla="*/ 1348984 h 4343113"/>
              <a:gd name="connsiteX8496" fmla="*/ 4216289 w 6666359"/>
              <a:gd name="connsiteY8496" fmla="*/ 1342534 h 4343113"/>
              <a:gd name="connsiteX8497" fmla="*/ 4213064 w 6666359"/>
              <a:gd name="connsiteY8497" fmla="*/ 1323187 h 4343113"/>
              <a:gd name="connsiteX8498" fmla="*/ 4213064 w 6666359"/>
              <a:gd name="connsiteY8498" fmla="*/ 1316737 h 4343113"/>
              <a:gd name="connsiteX8499" fmla="*/ 4219514 w 6666359"/>
              <a:gd name="connsiteY8499" fmla="*/ 1297389 h 4343113"/>
              <a:gd name="connsiteX8500" fmla="*/ 4213064 w 6666359"/>
              <a:gd name="connsiteY8500" fmla="*/ 1297389 h 4343113"/>
              <a:gd name="connsiteX8501" fmla="*/ 4213064 w 6666359"/>
              <a:gd name="connsiteY8501" fmla="*/ 1300613 h 4343113"/>
              <a:gd name="connsiteX8502" fmla="*/ 4203390 w 6666359"/>
              <a:gd name="connsiteY8502" fmla="*/ 1297389 h 4343113"/>
              <a:gd name="connsiteX8503" fmla="*/ 4196940 w 6666359"/>
              <a:gd name="connsiteY8503" fmla="*/ 1287714 h 4343113"/>
              <a:gd name="connsiteX8504" fmla="*/ 4193716 w 6666359"/>
              <a:gd name="connsiteY8504" fmla="*/ 1278040 h 4343113"/>
              <a:gd name="connsiteX8505" fmla="*/ 4196940 w 6666359"/>
              <a:gd name="connsiteY8505" fmla="*/ 1258693 h 4343113"/>
              <a:gd name="connsiteX8506" fmla="*/ 4213064 w 6666359"/>
              <a:gd name="connsiteY8506" fmla="*/ 1252243 h 4343113"/>
              <a:gd name="connsiteX8507" fmla="*/ 4238861 w 6666359"/>
              <a:gd name="connsiteY8507" fmla="*/ 1249019 h 4343113"/>
              <a:gd name="connsiteX8508" fmla="*/ 4251761 w 6666359"/>
              <a:gd name="connsiteY8508" fmla="*/ 1242569 h 4343113"/>
              <a:gd name="connsiteX8509" fmla="*/ 4264660 w 6666359"/>
              <a:gd name="connsiteY8509" fmla="*/ 1245793 h 4343113"/>
              <a:gd name="connsiteX8510" fmla="*/ 4271108 w 6666359"/>
              <a:gd name="connsiteY8510" fmla="*/ 1249019 h 4343113"/>
              <a:gd name="connsiteX8511" fmla="*/ 4290457 w 6666359"/>
              <a:gd name="connsiteY8511" fmla="*/ 1252243 h 4343113"/>
              <a:gd name="connsiteX8512" fmla="*/ 4293682 w 6666359"/>
              <a:gd name="connsiteY8512" fmla="*/ 1249019 h 4343113"/>
              <a:gd name="connsiteX8513" fmla="*/ 4296906 w 6666359"/>
              <a:gd name="connsiteY8513" fmla="*/ 1242569 h 4343113"/>
              <a:gd name="connsiteX8514" fmla="*/ 4309805 w 6666359"/>
              <a:gd name="connsiteY8514" fmla="*/ 1236119 h 4343113"/>
              <a:gd name="connsiteX8515" fmla="*/ 4316255 w 6666359"/>
              <a:gd name="connsiteY8515" fmla="*/ 1232895 h 4343113"/>
              <a:gd name="connsiteX8516" fmla="*/ 4319479 w 6666359"/>
              <a:gd name="connsiteY8516" fmla="*/ 1226446 h 4343113"/>
              <a:gd name="connsiteX8517" fmla="*/ 4316255 w 6666359"/>
              <a:gd name="connsiteY8517" fmla="*/ 1216772 h 4343113"/>
              <a:gd name="connsiteX8518" fmla="*/ 4303355 w 6666359"/>
              <a:gd name="connsiteY8518" fmla="*/ 1203872 h 4343113"/>
              <a:gd name="connsiteX8519" fmla="*/ 4290457 w 6666359"/>
              <a:gd name="connsiteY8519" fmla="*/ 1203872 h 4343113"/>
              <a:gd name="connsiteX8520" fmla="*/ 4277558 w 6666359"/>
              <a:gd name="connsiteY8520" fmla="*/ 1207098 h 4343113"/>
              <a:gd name="connsiteX8521" fmla="*/ 4264660 w 6666359"/>
              <a:gd name="connsiteY8521" fmla="*/ 1207098 h 4343113"/>
              <a:gd name="connsiteX8522" fmla="*/ 4235637 w 6666359"/>
              <a:gd name="connsiteY8522" fmla="*/ 1216772 h 4343113"/>
              <a:gd name="connsiteX8523" fmla="*/ 4222738 w 6666359"/>
              <a:gd name="connsiteY8523" fmla="*/ 1223221 h 4343113"/>
              <a:gd name="connsiteX8524" fmla="*/ 4213064 w 6666359"/>
              <a:gd name="connsiteY8524" fmla="*/ 1226446 h 4343113"/>
              <a:gd name="connsiteX8525" fmla="*/ 4213064 w 6666359"/>
              <a:gd name="connsiteY8525" fmla="*/ 1223221 h 4343113"/>
              <a:gd name="connsiteX8526" fmla="*/ 4209840 w 6666359"/>
              <a:gd name="connsiteY8526" fmla="*/ 1226446 h 4343113"/>
              <a:gd name="connsiteX8527" fmla="*/ 4187266 w 6666359"/>
              <a:gd name="connsiteY8527" fmla="*/ 1229670 h 4343113"/>
              <a:gd name="connsiteX8528" fmla="*/ 4180817 w 6666359"/>
              <a:gd name="connsiteY8528" fmla="*/ 1219996 h 4343113"/>
              <a:gd name="connsiteX8529" fmla="*/ 4174368 w 6666359"/>
              <a:gd name="connsiteY8529" fmla="*/ 1210322 h 4343113"/>
              <a:gd name="connsiteX8530" fmla="*/ 4164693 w 6666359"/>
              <a:gd name="connsiteY8530" fmla="*/ 1207098 h 4343113"/>
              <a:gd name="connsiteX8531" fmla="*/ 4151795 w 6666359"/>
              <a:gd name="connsiteY8531" fmla="*/ 1203872 h 4343113"/>
              <a:gd name="connsiteX8532" fmla="*/ 4148570 w 6666359"/>
              <a:gd name="connsiteY8532" fmla="*/ 1194199 h 4343113"/>
              <a:gd name="connsiteX8533" fmla="*/ 4148570 w 6666359"/>
              <a:gd name="connsiteY8533" fmla="*/ 1178075 h 4343113"/>
              <a:gd name="connsiteX8534" fmla="*/ 4151795 w 6666359"/>
              <a:gd name="connsiteY8534" fmla="*/ 1171625 h 4343113"/>
              <a:gd name="connsiteX8535" fmla="*/ 4155019 w 6666359"/>
              <a:gd name="connsiteY8535" fmla="*/ 1155502 h 4343113"/>
              <a:gd name="connsiteX8536" fmla="*/ 4145346 w 6666359"/>
              <a:gd name="connsiteY8536" fmla="*/ 1129704 h 4343113"/>
              <a:gd name="connsiteX8537" fmla="*/ 4145346 w 6666359"/>
              <a:gd name="connsiteY8537" fmla="*/ 1097457 h 4343113"/>
              <a:gd name="connsiteX8538" fmla="*/ 4158245 w 6666359"/>
              <a:gd name="connsiteY8538" fmla="*/ 1081334 h 4343113"/>
              <a:gd name="connsiteX8539" fmla="*/ 4161469 w 6666359"/>
              <a:gd name="connsiteY8539" fmla="*/ 1081334 h 4343113"/>
              <a:gd name="connsiteX8540" fmla="*/ 4164693 w 6666359"/>
              <a:gd name="connsiteY8540" fmla="*/ 1078110 h 4343113"/>
              <a:gd name="connsiteX8541" fmla="*/ 4171143 w 6666359"/>
              <a:gd name="connsiteY8541" fmla="*/ 1068436 h 4343113"/>
              <a:gd name="connsiteX8542" fmla="*/ 4171143 w 6666359"/>
              <a:gd name="connsiteY8542" fmla="*/ 1061986 h 4343113"/>
              <a:gd name="connsiteX8543" fmla="*/ 4177593 w 6666359"/>
              <a:gd name="connsiteY8543" fmla="*/ 1055536 h 4343113"/>
              <a:gd name="connsiteX8544" fmla="*/ 4193716 w 6666359"/>
              <a:gd name="connsiteY8544" fmla="*/ 1039413 h 4343113"/>
              <a:gd name="connsiteX8545" fmla="*/ 4213064 w 6666359"/>
              <a:gd name="connsiteY8545" fmla="*/ 1016841 h 4343113"/>
              <a:gd name="connsiteX8546" fmla="*/ 4216289 w 6666359"/>
              <a:gd name="connsiteY8546" fmla="*/ 1010391 h 4343113"/>
              <a:gd name="connsiteX8547" fmla="*/ 4216289 w 6666359"/>
              <a:gd name="connsiteY8547" fmla="*/ 1003942 h 4343113"/>
              <a:gd name="connsiteX8548" fmla="*/ 4229188 w 6666359"/>
              <a:gd name="connsiteY8548" fmla="*/ 994268 h 4343113"/>
              <a:gd name="connsiteX8549" fmla="*/ 4235637 w 6666359"/>
              <a:gd name="connsiteY8549" fmla="*/ 997492 h 4343113"/>
              <a:gd name="connsiteX8550" fmla="*/ 4235637 w 6666359"/>
              <a:gd name="connsiteY8550" fmla="*/ 968470 h 4343113"/>
              <a:gd name="connsiteX8551" fmla="*/ 4225963 w 6666359"/>
              <a:gd name="connsiteY8551" fmla="*/ 955571 h 4343113"/>
              <a:gd name="connsiteX8552" fmla="*/ 4222738 w 6666359"/>
              <a:gd name="connsiteY8552" fmla="*/ 955571 h 4343113"/>
              <a:gd name="connsiteX8553" fmla="*/ 4219514 w 6666359"/>
              <a:gd name="connsiteY8553" fmla="*/ 949121 h 4343113"/>
              <a:gd name="connsiteX8554" fmla="*/ 4216289 w 6666359"/>
              <a:gd name="connsiteY8554" fmla="*/ 949121 h 4343113"/>
              <a:gd name="connsiteX8555" fmla="*/ 4213590 w 6666359"/>
              <a:gd name="connsiteY8555" fmla="*/ 947772 h 4343113"/>
              <a:gd name="connsiteX8556" fmla="*/ 4210208 w 6666359"/>
              <a:gd name="connsiteY8556" fmla="*/ 948617 h 4343113"/>
              <a:gd name="connsiteX8557" fmla="*/ 4205317 w 6666359"/>
              <a:gd name="connsiteY8557" fmla="*/ 947028 h 4343113"/>
              <a:gd name="connsiteX8558" fmla="*/ 4196939 w 6666359"/>
              <a:gd name="connsiteY8558" fmla="*/ 949121 h 4343113"/>
              <a:gd name="connsiteX8559" fmla="*/ 4180816 w 6666359"/>
              <a:gd name="connsiteY8559" fmla="*/ 945897 h 4343113"/>
              <a:gd name="connsiteX8560" fmla="*/ 4171142 w 6666359"/>
              <a:gd name="connsiteY8560" fmla="*/ 945897 h 4343113"/>
              <a:gd name="connsiteX8561" fmla="*/ 4164692 w 6666359"/>
              <a:gd name="connsiteY8561" fmla="*/ 958796 h 4343113"/>
              <a:gd name="connsiteX8562" fmla="*/ 4161468 w 6666359"/>
              <a:gd name="connsiteY8562" fmla="*/ 968470 h 4343113"/>
              <a:gd name="connsiteX8563" fmla="*/ 4151794 w 6666359"/>
              <a:gd name="connsiteY8563" fmla="*/ 991042 h 4343113"/>
              <a:gd name="connsiteX8564" fmla="*/ 4145344 w 6666359"/>
              <a:gd name="connsiteY8564" fmla="*/ 997492 h 4343113"/>
              <a:gd name="connsiteX8565" fmla="*/ 4148570 w 6666359"/>
              <a:gd name="connsiteY8565" fmla="*/ 1010391 h 4343113"/>
              <a:gd name="connsiteX8566" fmla="*/ 4148570 w 6666359"/>
              <a:gd name="connsiteY8566" fmla="*/ 1013615 h 4343113"/>
              <a:gd name="connsiteX8567" fmla="*/ 4148570 w 6666359"/>
              <a:gd name="connsiteY8567" fmla="*/ 1023289 h 4343113"/>
              <a:gd name="connsiteX8568" fmla="*/ 4145344 w 6666359"/>
              <a:gd name="connsiteY8568" fmla="*/ 1029739 h 4343113"/>
              <a:gd name="connsiteX8569" fmla="*/ 4132446 w 6666359"/>
              <a:gd name="connsiteY8569" fmla="*/ 1049088 h 4343113"/>
              <a:gd name="connsiteX8570" fmla="*/ 4119547 w 6666359"/>
              <a:gd name="connsiteY8570" fmla="*/ 1058762 h 4343113"/>
              <a:gd name="connsiteX8571" fmla="*/ 4103424 w 6666359"/>
              <a:gd name="connsiteY8571" fmla="*/ 1068436 h 4343113"/>
              <a:gd name="connsiteX8572" fmla="*/ 4100199 w 6666359"/>
              <a:gd name="connsiteY8572" fmla="*/ 1074885 h 4343113"/>
              <a:gd name="connsiteX8573" fmla="*/ 4084076 w 6666359"/>
              <a:gd name="connsiteY8573" fmla="*/ 1091009 h 4343113"/>
              <a:gd name="connsiteX8574" fmla="*/ 4087300 w 6666359"/>
              <a:gd name="connsiteY8574" fmla="*/ 1094233 h 4343113"/>
              <a:gd name="connsiteX8575" fmla="*/ 4077626 w 6666359"/>
              <a:gd name="connsiteY8575" fmla="*/ 1103907 h 4343113"/>
              <a:gd name="connsiteX8576" fmla="*/ 4071176 w 6666359"/>
              <a:gd name="connsiteY8576" fmla="*/ 1113581 h 4343113"/>
              <a:gd name="connsiteX8577" fmla="*/ 4067952 w 6666359"/>
              <a:gd name="connsiteY8577" fmla="*/ 1113581 h 4343113"/>
              <a:gd name="connsiteX8578" fmla="*/ 4064727 w 6666359"/>
              <a:gd name="connsiteY8578" fmla="*/ 1113581 h 4343113"/>
              <a:gd name="connsiteX8579" fmla="*/ 4061502 w 6666359"/>
              <a:gd name="connsiteY8579" fmla="*/ 1132930 h 4343113"/>
              <a:gd name="connsiteX8580" fmla="*/ 4061502 w 6666359"/>
              <a:gd name="connsiteY8580" fmla="*/ 1149053 h 4343113"/>
              <a:gd name="connsiteX8581" fmla="*/ 4055052 w 6666359"/>
              <a:gd name="connsiteY8581" fmla="*/ 1152278 h 4343113"/>
              <a:gd name="connsiteX8582" fmla="*/ 4055052 w 6666359"/>
              <a:gd name="connsiteY8582" fmla="*/ 1161952 h 4343113"/>
              <a:gd name="connsiteX8583" fmla="*/ 4058277 w 6666359"/>
              <a:gd name="connsiteY8583" fmla="*/ 1168401 h 4343113"/>
              <a:gd name="connsiteX8584" fmla="*/ 4058277 w 6666359"/>
              <a:gd name="connsiteY8584" fmla="*/ 1171625 h 4343113"/>
              <a:gd name="connsiteX8585" fmla="*/ 4058277 w 6666359"/>
              <a:gd name="connsiteY8585" fmla="*/ 1184525 h 4343113"/>
              <a:gd name="connsiteX8586" fmla="*/ 4064727 w 6666359"/>
              <a:gd name="connsiteY8586" fmla="*/ 1197424 h 4343113"/>
              <a:gd name="connsiteX8587" fmla="*/ 4074402 w 6666359"/>
              <a:gd name="connsiteY8587" fmla="*/ 1200648 h 4343113"/>
              <a:gd name="connsiteX8588" fmla="*/ 4087300 w 6666359"/>
              <a:gd name="connsiteY8588" fmla="*/ 1216772 h 4343113"/>
              <a:gd name="connsiteX8589" fmla="*/ 4093750 w 6666359"/>
              <a:gd name="connsiteY8589" fmla="*/ 1219996 h 4343113"/>
              <a:gd name="connsiteX8590" fmla="*/ 4093750 w 6666359"/>
              <a:gd name="connsiteY8590" fmla="*/ 1229670 h 4343113"/>
              <a:gd name="connsiteX8591" fmla="*/ 4090525 w 6666359"/>
              <a:gd name="connsiteY8591" fmla="*/ 1242569 h 4343113"/>
              <a:gd name="connsiteX8592" fmla="*/ 4074402 w 6666359"/>
              <a:gd name="connsiteY8592" fmla="*/ 1271592 h 4343113"/>
              <a:gd name="connsiteX8593" fmla="*/ 4058277 w 6666359"/>
              <a:gd name="connsiteY8593" fmla="*/ 1281266 h 4343113"/>
              <a:gd name="connsiteX8594" fmla="*/ 4051828 w 6666359"/>
              <a:gd name="connsiteY8594" fmla="*/ 1284490 h 4343113"/>
              <a:gd name="connsiteX8595" fmla="*/ 4048602 w 6666359"/>
              <a:gd name="connsiteY8595" fmla="*/ 1297389 h 4343113"/>
              <a:gd name="connsiteX8596" fmla="*/ 4045378 w 6666359"/>
              <a:gd name="connsiteY8596" fmla="*/ 1313513 h 4343113"/>
              <a:gd name="connsiteX8597" fmla="*/ 4048602 w 6666359"/>
              <a:gd name="connsiteY8597" fmla="*/ 1323187 h 4343113"/>
              <a:gd name="connsiteX8598" fmla="*/ 4048602 w 6666359"/>
              <a:gd name="connsiteY8598" fmla="*/ 1326411 h 4343113"/>
              <a:gd name="connsiteX8599" fmla="*/ 4045378 w 6666359"/>
              <a:gd name="connsiteY8599" fmla="*/ 1336085 h 4343113"/>
              <a:gd name="connsiteX8600" fmla="*/ 4038928 w 6666359"/>
              <a:gd name="connsiteY8600" fmla="*/ 1361882 h 4343113"/>
              <a:gd name="connsiteX8601" fmla="*/ 4032480 w 6666359"/>
              <a:gd name="connsiteY8601" fmla="*/ 1384455 h 4343113"/>
              <a:gd name="connsiteX8602" fmla="*/ 4022805 w 6666359"/>
              <a:gd name="connsiteY8602" fmla="*/ 1384455 h 4343113"/>
              <a:gd name="connsiteX8603" fmla="*/ 4006681 w 6666359"/>
              <a:gd name="connsiteY8603" fmla="*/ 1384455 h 4343113"/>
              <a:gd name="connsiteX8604" fmla="*/ 3993783 w 6666359"/>
              <a:gd name="connsiteY8604" fmla="*/ 1394129 h 4343113"/>
              <a:gd name="connsiteX8605" fmla="*/ 3990558 w 6666359"/>
              <a:gd name="connsiteY8605" fmla="*/ 1400579 h 4343113"/>
              <a:gd name="connsiteX8606" fmla="*/ 3993783 w 6666359"/>
              <a:gd name="connsiteY8606" fmla="*/ 1407029 h 4343113"/>
              <a:gd name="connsiteX8607" fmla="*/ 3993783 w 6666359"/>
              <a:gd name="connsiteY8607" fmla="*/ 1410253 h 4343113"/>
              <a:gd name="connsiteX8608" fmla="*/ 3990558 w 6666359"/>
              <a:gd name="connsiteY8608" fmla="*/ 1416702 h 4343113"/>
              <a:gd name="connsiteX8609" fmla="*/ 3984109 w 6666359"/>
              <a:gd name="connsiteY8609" fmla="*/ 1416702 h 4343113"/>
              <a:gd name="connsiteX8610" fmla="*/ 3977660 w 6666359"/>
              <a:gd name="connsiteY8610" fmla="*/ 1416702 h 4343113"/>
              <a:gd name="connsiteX8611" fmla="*/ 3964760 w 6666359"/>
              <a:gd name="connsiteY8611" fmla="*/ 1416702 h 4343113"/>
              <a:gd name="connsiteX8612" fmla="*/ 3964760 w 6666359"/>
              <a:gd name="connsiteY8612" fmla="*/ 1407029 h 4343113"/>
              <a:gd name="connsiteX8613" fmla="*/ 3961536 w 6666359"/>
              <a:gd name="connsiteY8613" fmla="*/ 1397355 h 4343113"/>
              <a:gd name="connsiteX8614" fmla="*/ 3958312 w 6666359"/>
              <a:gd name="connsiteY8614" fmla="*/ 1381231 h 4343113"/>
              <a:gd name="connsiteX8615" fmla="*/ 3961536 w 6666359"/>
              <a:gd name="connsiteY8615" fmla="*/ 1368332 h 4343113"/>
              <a:gd name="connsiteX8616" fmla="*/ 3958312 w 6666359"/>
              <a:gd name="connsiteY8616" fmla="*/ 1361882 h 4343113"/>
              <a:gd name="connsiteX8617" fmla="*/ 3948637 w 6666359"/>
              <a:gd name="connsiteY8617" fmla="*/ 1352208 h 4343113"/>
              <a:gd name="connsiteX8618" fmla="*/ 3945413 w 6666359"/>
              <a:gd name="connsiteY8618" fmla="*/ 1339310 h 4343113"/>
              <a:gd name="connsiteX8619" fmla="*/ 3942188 w 6666359"/>
              <a:gd name="connsiteY8619" fmla="*/ 1326411 h 4343113"/>
              <a:gd name="connsiteX8620" fmla="*/ 3938963 w 6666359"/>
              <a:gd name="connsiteY8620" fmla="*/ 1310287 h 4343113"/>
              <a:gd name="connsiteX8621" fmla="*/ 3932513 w 6666359"/>
              <a:gd name="connsiteY8621" fmla="*/ 1297389 h 4343113"/>
              <a:gd name="connsiteX8622" fmla="*/ 3926065 w 6666359"/>
              <a:gd name="connsiteY8622" fmla="*/ 1290940 h 4343113"/>
              <a:gd name="connsiteX8623" fmla="*/ 3924452 w 6666359"/>
              <a:gd name="connsiteY8623" fmla="*/ 1271592 h 4343113"/>
              <a:gd name="connsiteX8624" fmla="*/ 3926065 w 6666359"/>
              <a:gd name="connsiteY8624" fmla="*/ 1265142 h 4343113"/>
              <a:gd name="connsiteX8625" fmla="*/ 3935739 w 6666359"/>
              <a:gd name="connsiteY8625" fmla="*/ 1274816 h 4343113"/>
              <a:gd name="connsiteX8626" fmla="*/ 3935739 w 6666359"/>
              <a:gd name="connsiteY8626" fmla="*/ 1274814 h 4343113"/>
              <a:gd name="connsiteX8627" fmla="*/ 3926067 w 6666359"/>
              <a:gd name="connsiteY8627" fmla="*/ 1265142 h 4343113"/>
              <a:gd name="connsiteX8628" fmla="*/ 3926065 w 6666359"/>
              <a:gd name="connsiteY8628" fmla="*/ 1265142 h 4343113"/>
              <a:gd name="connsiteX8629" fmla="*/ 3921229 w 6666359"/>
              <a:gd name="connsiteY8629" fmla="*/ 1265142 h 4343113"/>
              <a:gd name="connsiteX8630" fmla="*/ 3911555 w 6666359"/>
              <a:gd name="connsiteY8630" fmla="*/ 1261917 h 4343113"/>
              <a:gd name="connsiteX8631" fmla="*/ 3901881 w 6666359"/>
              <a:gd name="connsiteY8631" fmla="*/ 1271592 h 4343113"/>
              <a:gd name="connsiteX8632" fmla="*/ 3876084 w 6666359"/>
              <a:gd name="connsiteY8632" fmla="*/ 1294164 h 4343113"/>
              <a:gd name="connsiteX8633" fmla="*/ 3863184 w 6666359"/>
              <a:gd name="connsiteY8633" fmla="*/ 1307063 h 4343113"/>
              <a:gd name="connsiteX8634" fmla="*/ 3850285 w 6666359"/>
              <a:gd name="connsiteY8634" fmla="*/ 1310287 h 4343113"/>
              <a:gd name="connsiteX8635" fmla="*/ 3824488 w 6666359"/>
              <a:gd name="connsiteY8635" fmla="*/ 1303838 h 4343113"/>
              <a:gd name="connsiteX8636" fmla="*/ 3811590 w 6666359"/>
              <a:gd name="connsiteY8636" fmla="*/ 1294164 h 4343113"/>
              <a:gd name="connsiteX8637" fmla="*/ 3801916 w 6666359"/>
              <a:gd name="connsiteY8637" fmla="*/ 1281266 h 4343113"/>
              <a:gd name="connsiteX8638" fmla="*/ 3805140 w 6666359"/>
              <a:gd name="connsiteY8638" fmla="*/ 1271592 h 4343113"/>
              <a:gd name="connsiteX8639" fmla="*/ 3811590 w 6666359"/>
              <a:gd name="connsiteY8639" fmla="*/ 1268367 h 4343113"/>
              <a:gd name="connsiteX8640" fmla="*/ 3818039 w 6666359"/>
              <a:gd name="connsiteY8640" fmla="*/ 1255468 h 4343113"/>
              <a:gd name="connsiteX8641" fmla="*/ 3808364 w 6666359"/>
              <a:gd name="connsiteY8641" fmla="*/ 1255468 h 4343113"/>
              <a:gd name="connsiteX8642" fmla="*/ 3801916 w 6666359"/>
              <a:gd name="connsiteY8642" fmla="*/ 1258693 h 4343113"/>
              <a:gd name="connsiteX8643" fmla="*/ 3798690 w 6666359"/>
              <a:gd name="connsiteY8643" fmla="*/ 1255468 h 4343113"/>
              <a:gd name="connsiteX8644" fmla="*/ 3798690 w 6666359"/>
              <a:gd name="connsiteY8644" fmla="*/ 1242569 h 4343113"/>
              <a:gd name="connsiteX8645" fmla="*/ 3801916 w 6666359"/>
              <a:gd name="connsiteY8645" fmla="*/ 1239345 h 4343113"/>
              <a:gd name="connsiteX8646" fmla="*/ 3808364 w 6666359"/>
              <a:gd name="connsiteY8646" fmla="*/ 1229670 h 4343113"/>
              <a:gd name="connsiteX8647" fmla="*/ 3808364 w 6666359"/>
              <a:gd name="connsiteY8647" fmla="*/ 1226446 h 4343113"/>
              <a:gd name="connsiteX8648" fmla="*/ 3805140 w 6666359"/>
              <a:gd name="connsiteY8648" fmla="*/ 1219996 h 4343113"/>
              <a:gd name="connsiteX8649" fmla="*/ 3798690 w 6666359"/>
              <a:gd name="connsiteY8649" fmla="*/ 1219996 h 4343113"/>
              <a:gd name="connsiteX8650" fmla="*/ 3795466 w 6666359"/>
              <a:gd name="connsiteY8650" fmla="*/ 1210322 h 4343113"/>
              <a:gd name="connsiteX8651" fmla="*/ 3798690 w 6666359"/>
              <a:gd name="connsiteY8651" fmla="*/ 1203872 h 4343113"/>
              <a:gd name="connsiteX8652" fmla="*/ 3795466 w 6666359"/>
              <a:gd name="connsiteY8652" fmla="*/ 1190974 h 4343113"/>
              <a:gd name="connsiteX8653" fmla="*/ 3792241 w 6666359"/>
              <a:gd name="connsiteY8653" fmla="*/ 1181300 h 4343113"/>
              <a:gd name="connsiteX8654" fmla="*/ 3792241 w 6666359"/>
              <a:gd name="connsiteY8654" fmla="*/ 1174851 h 4343113"/>
              <a:gd name="connsiteX8655" fmla="*/ 3795466 w 6666359"/>
              <a:gd name="connsiteY8655" fmla="*/ 1168401 h 4343113"/>
              <a:gd name="connsiteX8656" fmla="*/ 3795466 w 6666359"/>
              <a:gd name="connsiteY8656" fmla="*/ 1161952 h 4343113"/>
              <a:gd name="connsiteX8657" fmla="*/ 3789016 w 6666359"/>
              <a:gd name="connsiteY8657" fmla="*/ 1152278 h 4343113"/>
              <a:gd name="connsiteX8658" fmla="*/ 3795466 w 6666359"/>
              <a:gd name="connsiteY8658" fmla="*/ 1142604 h 4343113"/>
              <a:gd name="connsiteX8659" fmla="*/ 3795466 w 6666359"/>
              <a:gd name="connsiteY8659" fmla="*/ 1126480 h 4343113"/>
              <a:gd name="connsiteX8660" fmla="*/ 3805140 w 6666359"/>
              <a:gd name="connsiteY8660" fmla="*/ 1126480 h 4343113"/>
              <a:gd name="connsiteX8661" fmla="*/ 3814814 w 6666359"/>
              <a:gd name="connsiteY8661" fmla="*/ 1123256 h 4343113"/>
              <a:gd name="connsiteX8662" fmla="*/ 3818039 w 6666359"/>
              <a:gd name="connsiteY8662" fmla="*/ 1110357 h 4343113"/>
              <a:gd name="connsiteX8663" fmla="*/ 3821264 w 6666359"/>
              <a:gd name="connsiteY8663" fmla="*/ 1107132 h 4343113"/>
              <a:gd name="connsiteX8664" fmla="*/ 3834163 w 6666359"/>
              <a:gd name="connsiteY8664" fmla="*/ 1107132 h 4343113"/>
              <a:gd name="connsiteX8665" fmla="*/ 3834163 w 6666359"/>
              <a:gd name="connsiteY8665" fmla="*/ 1100683 h 4343113"/>
              <a:gd name="connsiteX8666" fmla="*/ 3834163 w 6666359"/>
              <a:gd name="connsiteY8666" fmla="*/ 1091009 h 4343113"/>
              <a:gd name="connsiteX8667" fmla="*/ 3843837 w 6666359"/>
              <a:gd name="connsiteY8667" fmla="*/ 1087784 h 4343113"/>
              <a:gd name="connsiteX8668" fmla="*/ 3856735 w 6666359"/>
              <a:gd name="connsiteY8668" fmla="*/ 1091009 h 4343113"/>
              <a:gd name="connsiteX8669" fmla="*/ 3859960 w 6666359"/>
              <a:gd name="connsiteY8669" fmla="*/ 1084559 h 4343113"/>
              <a:gd name="connsiteX8670" fmla="*/ 3869634 w 6666359"/>
              <a:gd name="connsiteY8670" fmla="*/ 1071660 h 4343113"/>
              <a:gd name="connsiteX8671" fmla="*/ 3885758 w 6666359"/>
              <a:gd name="connsiteY8671" fmla="*/ 1068436 h 4343113"/>
              <a:gd name="connsiteX8672" fmla="*/ 3885758 w 6666359"/>
              <a:gd name="connsiteY8672" fmla="*/ 1061986 h 4343113"/>
              <a:gd name="connsiteX8673" fmla="*/ 3892207 w 6666359"/>
              <a:gd name="connsiteY8673" fmla="*/ 1058762 h 4343113"/>
              <a:gd name="connsiteX8674" fmla="*/ 3892207 w 6666359"/>
              <a:gd name="connsiteY8674" fmla="*/ 1049088 h 4343113"/>
              <a:gd name="connsiteX8675" fmla="*/ 3901881 w 6666359"/>
              <a:gd name="connsiteY8675" fmla="*/ 1036189 h 4343113"/>
              <a:gd name="connsiteX8676" fmla="*/ 3908330 w 6666359"/>
              <a:gd name="connsiteY8676" fmla="*/ 1029739 h 4343113"/>
              <a:gd name="connsiteX8677" fmla="*/ 3911555 w 6666359"/>
              <a:gd name="connsiteY8677" fmla="*/ 1020065 h 4343113"/>
              <a:gd name="connsiteX8678" fmla="*/ 3921229 w 6666359"/>
              <a:gd name="connsiteY8678" fmla="*/ 1020065 h 4343113"/>
              <a:gd name="connsiteX8679" fmla="*/ 3921229 w 6666359"/>
              <a:gd name="connsiteY8679" fmla="*/ 1013615 h 4343113"/>
              <a:gd name="connsiteX8680" fmla="*/ 3924453 w 6666359"/>
              <a:gd name="connsiteY8680" fmla="*/ 1013615 h 4343113"/>
              <a:gd name="connsiteX8681" fmla="*/ 3929291 w 6666359"/>
              <a:gd name="connsiteY8681" fmla="*/ 1016841 h 4343113"/>
              <a:gd name="connsiteX8682" fmla="*/ 3935741 w 6666359"/>
              <a:gd name="connsiteY8682" fmla="*/ 1013615 h 4343113"/>
              <a:gd name="connsiteX8683" fmla="*/ 3929291 w 6666359"/>
              <a:gd name="connsiteY8683" fmla="*/ 1007166 h 4343113"/>
              <a:gd name="connsiteX8684" fmla="*/ 3926067 w 6666359"/>
              <a:gd name="connsiteY8684" fmla="*/ 1000717 h 4343113"/>
              <a:gd name="connsiteX8685" fmla="*/ 3932515 w 6666359"/>
              <a:gd name="connsiteY8685" fmla="*/ 991042 h 4343113"/>
              <a:gd name="connsiteX8686" fmla="*/ 3942190 w 6666359"/>
              <a:gd name="connsiteY8686" fmla="*/ 984594 h 4343113"/>
              <a:gd name="connsiteX8687" fmla="*/ 3951864 w 6666359"/>
              <a:gd name="connsiteY8687" fmla="*/ 984594 h 4343113"/>
              <a:gd name="connsiteX8688" fmla="*/ 3955089 w 6666359"/>
              <a:gd name="connsiteY8688" fmla="*/ 971695 h 4343113"/>
              <a:gd name="connsiteX8689" fmla="*/ 3951864 w 6666359"/>
              <a:gd name="connsiteY8689" fmla="*/ 958796 h 4343113"/>
              <a:gd name="connsiteX8690" fmla="*/ 3951864 w 6666359"/>
              <a:gd name="connsiteY8690" fmla="*/ 949121 h 4343113"/>
              <a:gd name="connsiteX8691" fmla="*/ 3958313 w 6666359"/>
              <a:gd name="connsiteY8691" fmla="*/ 932998 h 4343113"/>
              <a:gd name="connsiteX8692" fmla="*/ 3961538 w 6666359"/>
              <a:gd name="connsiteY8692" fmla="*/ 929774 h 4343113"/>
              <a:gd name="connsiteX8693" fmla="*/ 3964763 w 6666359"/>
              <a:gd name="connsiteY8693" fmla="*/ 916874 h 4343113"/>
              <a:gd name="connsiteX8694" fmla="*/ 3967988 w 6666359"/>
              <a:gd name="connsiteY8694" fmla="*/ 907200 h 4343113"/>
              <a:gd name="connsiteX8695" fmla="*/ 3980886 w 6666359"/>
              <a:gd name="connsiteY8695" fmla="*/ 884628 h 4343113"/>
              <a:gd name="connsiteX8696" fmla="*/ 3990560 w 6666359"/>
              <a:gd name="connsiteY8696" fmla="*/ 884628 h 4343113"/>
              <a:gd name="connsiteX8697" fmla="*/ 3997010 w 6666359"/>
              <a:gd name="connsiteY8697" fmla="*/ 871729 h 4343113"/>
              <a:gd name="connsiteX8698" fmla="*/ 4006683 w 6666359"/>
              <a:gd name="connsiteY8698" fmla="*/ 868505 h 4343113"/>
              <a:gd name="connsiteX8699" fmla="*/ 4003459 w 6666359"/>
              <a:gd name="connsiteY8699" fmla="*/ 852381 h 4343113"/>
              <a:gd name="connsiteX8700" fmla="*/ 4013133 w 6666359"/>
              <a:gd name="connsiteY8700" fmla="*/ 839482 h 4343113"/>
              <a:gd name="connsiteX8701" fmla="*/ 4003459 w 6666359"/>
              <a:gd name="connsiteY8701" fmla="*/ 836258 h 4343113"/>
              <a:gd name="connsiteX8702" fmla="*/ 4009909 w 6666359"/>
              <a:gd name="connsiteY8702" fmla="*/ 829808 h 4343113"/>
              <a:gd name="connsiteX8703" fmla="*/ 4016358 w 6666359"/>
              <a:gd name="connsiteY8703" fmla="*/ 829808 h 4343113"/>
              <a:gd name="connsiteX8704" fmla="*/ 4026032 w 6666359"/>
              <a:gd name="connsiteY8704" fmla="*/ 829808 h 4343113"/>
              <a:gd name="connsiteX8705" fmla="*/ 4029257 w 6666359"/>
              <a:gd name="connsiteY8705" fmla="*/ 823359 h 4343113"/>
              <a:gd name="connsiteX8706" fmla="*/ 4035706 w 6666359"/>
              <a:gd name="connsiteY8706" fmla="*/ 826584 h 4343113"/>
              <a:gd name="connsiteX8707" fmla="*/ 4048604 w 6666359"/>
              <a:gd name="connsiteY8707" fmla="*/ 820134 h 4343113"/>
              <a:gd name="connsiteX8708" fmla="*/ 4042156 w 6666359"/>
              <a:gd name="connsiteY8708" fmla="*/ 810459 h 4343113"/>
              <a:gd name="connsiteX8709" fmla="*/ 4042156 w 6666359"/>
              <a:gd name="connsiteY8709" fmla="*/ 797561 h 4343113"/>
              <a:gd name="connsiteX8710" fmla="*/ 4045380 w 6666359"/>
              <a:gd name="connsiteY8710" fmla="*/ 787886 h 4343113"/>
              <a:gd name="connsiteX8711" fmla="*/ 4048604 w 6666359"/>
              <a:gd name="connsiteY8711" fmla="*/ 784662 h 4343113"/>
              <a:gd name="connsiteX8712" fmla="*/ 4058279 w 6666359"/>
              <a:gd name="connsiteY8712" fmla="*/ 774988 h 4343113"/>
              <a:gd name="connsiteX8713" fmla="*/ 4064728 w 6666359"/>
              <a:gd name="connsiteY8713" fmla="*/ 768538 h 4343113"/>
              <a:gd name="connsiteX8714" fmla="*/ 4067953 w 6666359"/>
              <a:gd name="connsiteY8714" fmla="*/ 758864 h 4343113"/>
              <a:gd name="connsiteX8715" fmla="*/ 4080851 w 6666359"/>
              <a:gd name="connsiteY8715" fmla="*/ 736291 h 4343113"/>
              <a:gd name="connsiteX8716" fmla="*/ 4084077 w 6666359"/>
              <a:gd name="connsiteY8716" fmla="*/ 733067 h 4343113"/>
              <a:gd name="connsiteX8717" fmla="*/ 4087301 w 6666359"/>
              <a:gd name="connsiteY8717" fmla="*/ 729842 h 4343113"/>
              <a:gd name="connsiteX8718" fmla="*/ 4093751 w 6666359"/>
              <a:gd name="connsiteY8718" fmla="*/ 723393 h 4343113"/>
              <a:gd name="connsiteX8719" fmla="*/ 4122772 w 6666359"/>
              <a:gd name="connsiteY8719" fmla="*/ 704044 h 4343113"/>
              <a:gd name="connsiteX8720" fmla="*/ 4129222 w 6666359"/>
              <a:gd name="connsiteY8720" fmla="*/ 707270 h 4343113"/>
              <a:gd name="connsiteX8721" fmla="*/ 4132447 w 6666359"/>
              <a:gd name="connsiteY8721" fmla="*/ 716944 h 4343113"/>
              <a:gd name="connsiteX8722" fmla="*/ 4138896 w 6666359"/>
              <a:gd name="connsiteY8722" fmla="*/ 710494 h 4343113"/>
              <a:gd name="connsiteX8723" fmla="*/ 4145346 w 6666359"/>
              <a:gd name="connsiteY8723" fmla="*/ 700820 h 4343113"/>
              <a:gd name="connsiteX8724" fmla="*/ 4145346 w 6666359"/>
              <a:gd name="connsiteY8724" fmla="*/ 687921 h 4343113"/>
              <a:gd name="connsiteX8725" fmla="*/ 4164693 w 6666359"/>
              <a:gd name="connsiteY8725" fmla="*/ 681472 h 4343113"/>
              <a:gd name="connsiteX8726" fmla="*/ 4174368 w 6666359"/>
              <a:gd name="connsiteY8726" fmla="*/ 684697 h 4343113"/>
              <a:gd name="connsiteX8727" fmla="*/ 4184042 w 6666359"/>
              <a:gd name="connsiteY8727" fmla="*/ 687921 h 4343113"/>
              <a:gd name="connsiteX8728" fmla="*/ 4196940 w 6666359"/>
              <a:gd name="connsiteY8728" fmla="*/ 681472 h 4343113"/>
              <a:gd name="connsiteX8729" fmla="*/ 4206615 w 6666359"/>
              <a:gd name="connsiteY8729" fmla="*/ 662123 h 4343113"/>
              <a:gd name="connsiteX8730" fmla="*/ 4213064 w 6666359"/>
              <a:gd name="connsiteY8730" fmla="*/ 646000 h 4343113"/>
              <a:gd name="connsiteX8731" fmla="*/ 4219514 w 6666359"/>
              <a:gd name="connsiteY8731" fmla="*/ 649225 h 4343113"/>
              <a:gd name="connsiteX8732" fmla="*/ 4222738 w 6666359"/>
              <a:gd name="connsiteY8732" fmla="*/ 639550 h 4343113"/>
              <a:gd name="connsiteX8733" fmla="*/ 4235637 w 6666359"/>
              <a:gd name="connsiteY8733" fmla="*/ 639550 h 4343113"/>
              <a:gd name="connsiteX8734" fmla="*/ 4242087 w 6666359"/>
              <a:gd name="connsiteY8734" fmla="*/ 639550 h 4343113"/>
              <a:gd name="connsiteX8735" fmla="*/ 4248536 w 6666359"/>
              <a:gd name="connsiteY8735" fmla="*/ 646000 h 4343113"/>
              <a:gd name="connsiteX8736" fmla="*/ 4242087 w 6666359"/>
              <a:gd name="connsiteY8736" fmla="*/ 658899 h 4343113"/>
              <a:gd name="connsiteX8737" fmla="*/ 4232413 w 6666359"/>
              <a:gd name="connsiteY8737" fmla="*/ 668573 h 4343113"/>
              <a:gd name="connsiteX8738" fmla="*/ 4229188 w 6666359"/>
              <a:gd name="connsiteY8738" fmla="*/ 691146 h 4343113"/>
              <a:gd name="connsiteX8739" fmla="*/ 4232413 w 6666359"/>
              <a:gd name="connsiteY8739" fmla="*/ 697596 h 4343113"/>
              <a:gd name="connsiteX8740" fmla="*/ 4238861 w 6666359"/>
              <a:gd name="connsiteY8740" fmla="*/ 687921 h 4343113"/>
              <a:gd name="connsiteX8741" fmla="*/ 4245311 w 6666359"/>
              <a:gd name="connsiteY8741" fmla="*/ 671797 h 4343113"/>
              <a:gd name="connsiteX8742" fmla="*/ 4258210 w 6666359"/>
              <a:gd name="connsiteY8742" fmla="*/ 646000 h 4343113"/>
              <a:gd name="connsiteX8743" fmla="*/ 4264660 w 6666359"/>
              <a:gd name="connsiteY8743" fmla="*/ 649225 h 4343113"/>
              <a:gd name="connsiteX8744" fmla="*/ 4264660 w 6666359"/>
              <a:gd name="connsiteY8744" fmla="*/ 665349 h 4343113"/>
              <a:gd name="connsiteX8745" fmla="*/ 4261435 w 6666359"/>
              <a:gd name="connsiteY8745" fmla="*/ 678247 h 4343113"/>
              <a:gd name="connsiteX8746" fmla="*/ 4271108 w 6666359"/>
              <a:gd name="connsiteY8746" fmla="*/ 671797 h 4343113"/>
              <a:gd name="connsiteX8747" fmla="*/ 4274334 w 6666359"/>
              <a:gd name="connsiteY8747" fmla="*/ 652449 h 4343113"/>
              <a:gd name="connsiteX8748" fmla="*/ 4274334 w 6666359"/>
              <a:gd name="connsiteY8748" fmla="*/ 642776 h 4343113"/>
              <a:gd name="connsiteX8749" fmla="*/ 4284008 w 6666359"/>
              <a:gd name="connsiteY8749" fmla="*/ 633102 h 4343113"/>
              <a:gd name="connsiteX8750" fmla="*/ 4300131 w 6666359"/>
              <a:gd name="connsiteY8750" fmla="*/ 629876 h 4343113"/>
              <a:gd name="connsiteX8751" fmla="*/ 4306581 w 6666359"/>
              <a:gd name="connsiteY8751" fmla="*/ 636326 h 4343113"/>
              <a:gd name="connsiteX8752" fmla="*/ 4303355 w 6666359"/>
              <a:gd name="connsiteY8752" fmla="*/ 646000 h 4343113"/>
              <a:gd name="connsiteX8753" fmla="*/ 4306581 w 6666359"/>
              <a:gd name="connsiteY8753" fmla="*/ 652449 h 4343113"/>
              <a:gd name="connsiteX8754" fmla="*/ 4325929 w 6666359"/>
              <a:gd name="connsiteY8754" fmla="*/ 652449 h 4343113"/>
              <a:gd name="connsiteX8755" fmla="*/ 4322704 w 6666359"/>
              <a:gd name="connsiteY8755" fmla="*/ 658899 h 4343113"/>
              <a:gd name="connsiteX8756" fmla="*/ 4329153 w 6666359"/>
              <a:gd name="connsiteY8756" fmla="*/ 655674 h 4343113"/>
              <a:gd name="connsiteX8757" fmla="*/ 4332378 w 6666359"/>
              <a:gd name="connsiteY8757" fmla="*/ 652449 h 4343113"/>
              <a:gd name="connsiteX8758" fmla="*/ 4342052 w 6666359"/>
              <a:gd name="connsiteY8758" fmla="*/ 655674 h 4343113"/>
              <a:gd name="connsiteX8759" fmla="*/ 4354951 w 6666359"/>
              <a:gd name="connsiteY8759" fmla="*/ 668573 h 4343113"/>
              <a:gd name="connsiteX8760" fmla="*/ 4361400 w 6666359"/>
              <a:gd name="connsiteY8760" fmla="*/ 675023 h 4343113"/>
              <a:gd name="connsiteX8761" fmla="*/ 4361400 w 6666359"/>
              <a:gd name="connsiteY8761" fmla="*/ 684697 h 4343113"/>
              <a:gd name="connsiteX8762" fmla="*/ 4332378 w 6666359"/>
              <a:gd name="connsiteY8762" fmla="*/ 697596 h 4343113"/>
              <a:gd name="connsiteX8763" fmla="*/ 4319479 w 6666359"/>
              <a:gd name="connsiteY8763" fmla="*/ 694370 h 4343113"/>
              <a:gd name="connsiteX8764" fmla="*/ 4306581 w 6666359"/>
              <a:gd name="connsiteY8764" fmla="*/ 691146 h 4343113"/>
              <a:gd name="connsiteX8765" fmla="*/ 4322704 w 6666359"/>
              <a:gd name="connsiteY8765" fmla="*/ 700820 h 4343113"/>
              <a:gd name="connsiteX8766" fmla="*/ 4332378 w 6666359"/>
              <a:gd name="connsiteY8766" fmla="*/ 704044 h 4343113"/>
              <a:gd name="connsiteX8767" fmla="*/ 4332378 w 6666359"/>
              <a:gd name="connsiteY8767" fmla="*/ 716944 h 4343113"/>
              <a:gd name="connsiteX8768" fmla="*/ 4338828 w 6666359"/>
              <a:gd name="connsiteY8768" fmla="*/ 716944 h 4343113"/>
              <a:gd name="connsiteX8769" fmla="*/ 4342052 w 6666359"/>
              <a:gd name="connsiteY8769" fmla="*/ 723393 h 4343113"/>
              <a:gd name="connsiteX8770" fmla="*/ 4342052 w 6666359"/>
              <a:gd name="connsiteY8770" fmla="*/ 716944 h 4343113"/>
              <a:gd name="connsiteX8771" fmla="*/ 4342052 w 6666359"/>
              <a:gd name="connsiteY8771" fmla="*/ 710494 h 4343113"/>
              <a:gd name="connsiteX8772" fmla="*/ 4345276 w 6666359"/>
              <a:gd name="connsiteY8772" fmla="*/ 710494 h 4343113"/>
              <a:gd name="connsiteX8773" fmla="*/ 4354951 w 6666359"/>
              <a:gd name="connsiteY8773" fmla="*/ 713718 h 4343113"/>
              <a:gd name="connsiteX8774" fmla="*/ 4358176 w 6666359"/>
              <a:gd name="connsiteY8774" fmla="*/ 713718 h 4343113"/>
              <a:gd name="connsiteX8775" fmla="*/ 4367850 w 6666359"/>
              <a:gd name="connsiteY8775" fmla="*/ 720167 h 4343113"/>
              <a:gd name="connsiteX8776" fmla="*/ 4374299 w 6666359"/>
              <a:gd name="connsiteY8776" fmla="*/ 720167 h 4343113"/>
              <a:gd name="connsiteX8777" fmla="*/ 4377523 w 6666359"/>
              <a:gd name="connsiteY8777" fmla="*/ 713718 h 4343113"/>
              <a:gd name="connsiteX8778" fmla="*/ 4383973 w 6666359"/>
              <a:gd name="connsiteY8778" fmla="*/ 704043 h 4343113"/>
              <a:gd name="connsiteX8779" fmla="*/ 4396872 w 6666359"/>
              <a:gd name="connsiteY8779" fmla="*/ 713718 h 4343113"/>
              <a:gd name="connsiteX8780" fmla="*/ 4406546 w 6666359"/>
              <a:gd name="connsiteY8780" fmla="*/ 716943 h 4343113"/>
              <a:gd name="connsiteX8781" fmla="*/ 4403321 w 6666359"/>
              <a:gd name="connsiteY8781" fmla="*/ 729841 h 4343113"/>
              <a:gd name="connsiteX8782" fmla="*/ 4412996 w 6666359"/>
              <a:gd name="connsiteY8782" fmla="*/ 736290 h 4343113"/>
              <a:gd name="connsiteX8783" fmla="*/ 4425894 w 6666359"/>
              <a:gd name="connsiteY8783" fmla="*/ 742740 h 4343113"/>
              <a:gd name="connsiteX8784" fmla="*/ 4445242 w 6666359"/>
              <a:gd name="connsiteY8784" fmla="*/ 745964 h 4343113"/>
              <a:gd name="connsiteX8785" fmla="*/ 4467815 w 6666359"/>
              <a:gd name="connsiteY8785" fmla="*/ 752414 h 4343113"/>
              <a:gd name="connsiteX8786" fmla="*/ 4496838 w 6666359"/>
              <a:gd name="connsiteY8786" fmla="*/ 774987 h 4343113"/>
              <a:gd name="connsiteX8787" fmla="*/ 4509736 w 6666359"/>
              <a:gd name="connsiteY8787" fmla="*/ 784661 h 4343113"/>
              <a:gd name="connsiteX8788" fmla="*/ 4522635 w 6666359"/>
              <a:gd name="connsiteY8788" fmla="*/ 797560 h 4343113"/>
              <a:gd name="connsiteX8789" fmla="*/ 4538759 w 6666359"/>
              <a:gd name="connsiteY8789" fmla="*/ 813684 h 4343113"/>
              <a:gd name="connsiteX8790" fmla="*/ 4548433 w 6666359"/>
              <a:gd name="connsiteY8790" fmla="*/ 820133 h 4343113"/>
              <a:gd name="connsiteX8791" fmla="*/ 4577455 w 6666359"/>
              <a:gd name="connsiteY8791" fmla="*/ 839481 h 4343113"/>
              <a:gd name="connsiteX8792" fmla="*/ 4587129 w 6666359"/>
              <a:gd name="connsiteY8792" fmla="*/ 868504 h 4343113"/>
              <a:gd name="connsiteX8793" fmla="*/ 4583904 w 6666359"/>
              <a:gd name="connsiteY8793" fmla="*/ 891076 h 4343113"/>
              <a:gd name="connsiteX8794" fmla="*/ 4574230 w 6666359"/>
              <a:gd name="connsiteY8794" fmla="*/ 907199 h 4343113"/>
              <a:gd name="connsiteX8795" fmla="*/ 4561332 w 6666359"/>
              <a:gd name="connsiteY8795" fmla="*/ 920099 h 4343113"/>
              <a:gd name="connsiteX8796" fmla="*/ 4535534 w 6666359"/>
              <a:gd name="connsiteY8796" fmla="*/ 929773 h 4343113"/>
              <a:gd name="connsiteX8797" fmla="*/ 4509736 w 6666359"/>
              <a:gd name="connsiteY8797" fmla="*/ 929773 h 4343113"/>
              <a:gd name="connsiteX8798" fmla="*/ 4480714 w 6666359"/>
              <a:gd name="connsiteY8798" fmla="*/ 920099 h 4343113"/>
              <a:gd name="connsiteX8799" fmla="*/ 4451691 w 6666359"/>
              <a:gd name="connsiteY8799" fmla="*/ 910425 h 4343113"/>
              <a:gd name="connsiteX8800" fmla="*/ 4425894 w 6666359"/>
              <a:gd name="connsiteY8800" fmla="*/ 897525 h 4343113"/>
              <a:gd name="connsiteX8801" fmla="*/ 4412996 w 6666359"/>
              <a:gd name="connsiteY8801" fmla="*/ 894301 h 4343113"/>
              <a:gd name="connsiteX8802" fmla="*/ 4400097 w 6666359"/>
              <a:gd name="connsiteY8802" fmla="*/ 881402 h 4343113"/>
              <a:gd name="connsiteX8803" fmla="*/ 4400097 w 6666359"/>
              <a:gd name="connsiteY8803" fmla="*/ 878178 h 4343113"/>
              <a:gd name="connsiteX8804" fmla="*/ 4393647 w 6666359"/>
              <a:gd name="connsiteY8804" fmla="*/ 871728 h 4343113"/>
              <a:gd name="connsiteX8805" fmla="*/ 4377523 w 6666359"/>
              <a:gd name="connsiteY8805" fmla="*/ 871728 h 4343113"/>
              <a:gd name="connsiteX8806" fmla="*/ 4390423 w 6666359"/>
              <a:gd name="connsiteY8806" fmla="*/ 884627 h 4343113"/>
              <a:gd name="connsiteX8807" fmla="*/ 4396872 w 6666359"/>
              <a:gd name="connsiteY8807" fmla="*/ 891076 h 4343113"/>
              <a:gd name="connsiteX8808" fmla="*/ 4400097 w 6666359"/>
              <a:gd name="connsiteY8808" fmla="*/ 900751 h 4343113"/>
              <a:gd name="connsiteX8809" fmla="*/ 4412996 w 6666359"/>
              <a:gd name="connsiteY8809" fmla="*/ 910425 h 4343113"/>
              <a:gd name="connsiteX8810" fmla="*/ 4419444 w 6666359"/>
              <a:gd name="connsiteY8810" fmla="*/ 916874 h 4343113"/>
              <a:gd name="connsiteX8811" fmla="*/ 4445242 w 6666359"/>
              <a:gd name="connsiteY8811" fmla="*/ 942672 h 4343113"/>
              <a:gd name="connsiteX8812" fmla="*/ 4448467 w 6666359"/>
              <a:gd name="connsiteY8812" fmla="*/ 952346 h 4343113"/>
              <a:gd name="connsiteX8813" fmla="*/ 4442018 w 6666359"/>
              <a:gd name="connsiteY8813" fmla="*/ 965244 h 4343113"/>
              <a:gd name="connsiteX8814" fmla="*/ 4438793 w 6666359"/>
              <a:gd name="connsiteY8814" fmla="*/ 965244 h 4343113"/>
              <a:gd name="connsiteX8815" fmla="*/ 4435568 w 6666359"/>
              <a:gd name="connsiteY8815" fmla="*/ 968469 h 4343113"/>
              <a:gd name="connsiteX8816" fmla="*/ 4442018 w 6666359"/>
              <a:gd name="connsiteY8816" fmla="*/ 991042 h 4343113"/>
              <a:gd name="connsiteX8817" fmla="*/ 4445242 w 6666359"/>
              <a:gd name="connsiteY8817" fmla="*/ 1000716 h 4343113"/>
              <a:gd name="connsiteX8818" fmla="*/ 4442018 w 6666359"/>
              <a:gd name="connsiteY8818" fmla="*/ 1013614 h 4343113"/>
              <a:gd name="connsiteX8819" fmla="*/ 4454917 w 6666359"/>
              <a:gd name="connsiteY8819" fmla="*/ 1023288 h 4343113"/>
              <a:gd name="connsiteX8820" fmla="*/ 4458141 w 6666359"/>
              <a:gd name="connsiteY8820" fmla="*/ 1023288 h 4343113"/>
              <a:gd name="connsiteX8821" fmla="*/ 4461365 w 6666359"/>
              <a:gd name="connsiteY8821" fmla="*/ 1020064 h 4343113"/>
              <a:gd name="connsiteX8822" fmla="*/ 4471040 w 6666359"/>
              <a:gd name="connsiteY8822" fmla="*/ 1029738 h 4343113"/>
              <a:gd name="connsiteX8823" fmla="*/ 4474265 w 6666359"/>
              <a:gd name="connsiteY8823" fmla="*/ 1039412 h 4343113"/>
              <a:gd name="connsiteX8824" fmla="*/ 4483938 w 6666359"/>
              <a:gd name="connsiteY8824" fmla="*/ 1042637 h 4343113"/>
              <a:gd name="connsiteX8825" fmla="*/ 4493613 w 6666359"/>
              <a:gd name="connsiteY8825" fmla="*/ 1045862 h 4343113"/>
              <a:gd name="connsiteX8826" fmla="*/ 4506512 w 6666359"/>
              <a:gd name="connsiteY8826" fmla="*/ 1042637 h 4343113"/>
              <a:gd name="connsiteX8827" fmla="*/ 4516186 w 6666359"/>
              <a:gd name="connsiteY8827" fmla="*/ 1039412 h 4343113"/>
              <a:gd name="connsiteX8828" fmla="*/ 4512961 w 6666359"/>
              <a:gd name="connsiteY8828" fmla="*/ 1026514 h 4343113"/>
              <a:gd name="connsiteX8829" fmla="*/ 4493613 w 6666359"/>
              <a:gd name="connsiteY8829" fmla="*/ 1020064 h 4343113"/>
              <a:gd name="connsiteX8830" fmla="*/ 4483938 w 6666359"/>
              <a:gd name="connsiteY8830" fmla="*/ 1000716 h 4343113"/>
              <a:gd name="connsiteX8831" fmla="*/ 4487164 w 6666359"/>
              <a:gd name="connsiteY8831" fmla="*/ 984593 h 4343113"/>
              <a:gd name="connsiteX8832" fmla="*/ 4490388 w 6666359"/>
              <a:gd name="connsiteY8832" fmla="*/ 978143 h 4343113"/>
              <a:gd name="connsiteX8833" fmla="*/ 4506512 w 6666359"/>
              <a:gd name="connsiteY8833" fmla="*/ 984593 h 4343113"/>
              <a:gd name="connsiteX8834" fmla="*/ 4516186 w 6666359"/>
              <a:gd name="connsiteY8834" fmla="*/ 1000716 h 4343113"/>
              <a:gd name="connsiteX8835" fmla="*/ 4522635 w 6666359"/>
              <a:gd name="connsiteY8835" fmla="*/ 1000716 h 4343113"/>
              <a:gd name="connsiteX8836" fmla="*/ 4529085 w 6666359"/>
              <a:gd name="connsiteY8836" fmla="*/ 1000716 h 4343113"/>
              <a:gd name="connsiteX8837" fmla="*/ 4541983 w 6666359"/>
              <a:gd name="connsiteY8837" fmla="*/ 1007165 h 4343113"/>
              <a:gd name="connsiteX8838" fmla="*/ 4554882 w 6666359"/>
              <a:gd name="connsiteY8838" fmla="*/ 1013614 h 4343113"/>
              <a:gd name="connsiteX8839" fmla="*/ 4567780 w 6666359"/>
              <a:gd name="connsiteY8839" fmla="*/ 1013614 h 4343113"/>
              <a:gd name="connsiteX8840" fmla="*/ 4567780 w 6666359"/>
              <a:gd name="connsiteY8840" fmla="*/ 1010390 h 4343113"/>
              <a:gd name="connsiteX8841" fmla="*/ 4554882 w 6666359"/>
              <a:gd name="connsiteY8841" fmla="*/ 978143 h 4343113"/>
              <a:gd name="connsiteX8842" fmla="*/ 4551658 w 6666359"/>
              <a:gd name="connsiteY8842" fmla="*/ 965244 h 4343113"/>
              <a:gd name="connsiteX8843" fmla="*/ 4554882 w 6666359"/>
              <a:gd name="connsiteY8843" fmla="*/ 955570 h 4343113"/>
              <a:gd name="connsiteX8844" fmla="*/ 4574230 w 6666359"/>
              <a:gd name="connsiteY8844" fmla="*/ 939447 h 4343113"/>
              <a:gd name="connsiteX8845" fmla="*/ 4593579 w 6666359"/>
              <a:gd name="connsiteY8845" fmla="*/ 926548 h 4343113"/>
              <a:gd name="connsiteX8846" fmla="*/ 4603253 w 6666359"/>
              <a:gd name="connsiteY8846" fmla="*/ 913649 h 4343113"/>
              <a:gd name="connsiteX8847" fmla="*/ 4609702 w 6666359"/>
              <a:gd name="connsiteY8847" fmla="*/ 907199 h 4343113"/>
              <a:gd name="connsiteX8848" fmla="*/ 4625826 w 6666359"/>
              <a:gd name="connsiteY8848" fmla="*/ 913649 h 4343113"/>
              <a:gd name="connsiteX8849" fmla="*/ 4638724 w 6666359"/>
              <a:gd name="connsiteY8849" fmla="*/ 920099 h 4343113"/>
              <a:gd name="connsiteX8850" fmla="*/ 4645174 w 6666359"/>
              <a:gd name="connsiteY8850" fmla="*/ 926548 h 4343113"/>
              <a:gd name="connsiteX8851" fmla="*/ 4648398 w 6666359"/>
              <a:gd name="connsiteY8851" fmla="*/ 923323 h 4343113"/>
              <a:gd name="connsiteX8852" fmla="*/ 4654848 w 6666359"/>
              <a:gd name="connsiteY8852" fmla="*/ 900751 h 4343113"/>
              <a:gd name="connsiteX8853" fmla="*/ 4654848 w 6666359"/>
              <a:gd name="connsiteY8853" fmla="*/ 887852 h 4343113"/>
              <a:gd name="connsiteX8854" fmla="*/ 4648398 w 6666359"/>
              <a:gd name="connsiteY8854" fmla="*/ 871728 h 4343113"/>
              <a:gd name="connsiteX8855" fmla="*/ 4638724 w 6666359"/>
              <a:gd name="connsiteY8855" fmla="*/ 868504 h 4343113"/>
              <a:gd name="connsiteX8856" fmla="*/ 4645174 w 6666359"/>
              <a:gd name="connsiteY8856" fmla="*/ 849155 h 4343113"/>
              <a:gd name="connsiteX8857" fmla="*/ 4648398 w 6666359"/>
              <a:gd name="connsiteY8857" fmla="*/ 816908 h 4343113"/>
              <a:gd name="connsiteX8858" fmla="*/ 4651623 w 6666359"/>
              <a:gd name="connsiteY8858" fmla="*/ 807234 h 4343113"/>
              <a:gd name="connsiteX8859" fmla="*/ 4645174 w 6666359"/>
              <a:gd name="connsiteY8859" fmla="*/ 800784 h 4343113"/>
              <a:gd name="connsiteX8860" fmla="*/ 4632274 w 6666359"/>
              <a:gd name="connsiteY8860" fmla="*/ 791110 h 4343113"/>
              <a:gd name="connsiteX8861" fmla="*/ 4629050 w 6666359"/>
              <a:gd name="connsiteY8861" fmla="*/ 784661 h 4343113"/>
              <a:gd name="connsiteX8862" fmla="*/ 4632274 w 6666359"/>
              <a:gd name="connsiteY8862" fmla="*/ 784661 h 4343113"/>
              <a:gd name="connsiteX8863" fmla="*/ 4645174 w 6666359"/>
              <a:gd name="connsiteY8863" fmla="*/ 791110 h 4343113"/>
              <a:gd name="connsiteX8864" fmla="*/ 4658072 w 6666359"/>
              <a:gd name="connsiteY8864" fmla="*/ 791110 h 4343113"/>
              <a:gd name="connsiteX8865" fmla="*/ 4683870 w 6666359"/>
              <a:gd name="connsiteY8865" fmla="*/ 794335 h 4343113"/>
              <a:gd name="connsiteX8866" fmla="*/ 4693544 w 6666359"/>
              <a:gd name="connsiteY8866" fmla="*/ 807234 h 4343113"/>
              <a:gd name="connsiteX8867" fmla="*/ 4699993 w 6666359"/>
              <a:gd name="connsiteY8867" fmla="*/ 816908 h 4343113"/>
              <a:gd name="connsiteX8868" fmla="*/ 4703218 w 6666359"/>
              <a:gd name="connsiteY8868" fmla="*/ 829807 h 4343113"/>
              <a:gd name="connsiteX8869" fmla="*/ 4693544 w 6666359"/>
              <a:gd name="connsiteY8869" fmla="*/ 836257 h 4343113"/>
              <a:gd name="connsiteX8870" fmla="*/ 4680645 w 6666359"/>
              <a:gd name="connsiteY8870" fmla="*/ 836257 h 4343113"/>
              <a:gd name="connsiteX8871" fmla="*/ 4670971 w 6666359"/>
              <a:gd name="connsiteY8871" fmla="*/ 849155 h 4343113"/>
              <a:gd name="connsiteX8872" fmla="*/ 4667747 w 6666359"/>
              <a:gd name="connsiteY8872" fmla="*/ 862054 h 4343113"/>
              <a:gd name="connsiteX8873" fmla="*/ 4680645 w 6666359"/>
              <a:gd name="connsiteY8873" fmla="*/ 878178 h 4343113"/>
              <a:gd name="connsiteX8874" fmla="*/ 4683870 w 6666359"/>
              <a:gd name="connsiteY8874" fmla="*/ 887852 h 4343113"/>
              <a:gd name="connsiteX8875" fmla="*/ 4690319 w 6666359"/>
              <a:gd name="connsiteY8875" fmla="*/ 891076 h 4343113"/>
              <a:gd name="connsiteX8876" fmla="*/ 4699993 w 6666359"/>
              <a:gd name="connsiteY8876" fmla="*/ 891076 h 4343113"/>
              <a:gd name="connsiteX8877" fmla="*/ 4716116 w 6666359"/>
              <a:gd name="connsiteY8877" fmla="*/ 887852 h 4343113"/>
              <a:gd name="connsiteX8878" fmla="*/ 4725791 w 6666359"/>
              <a:gd name="connsiteY8878" fmla="*/ 881402 h 4343113"/>
              <a:gd name="connsiteX8879" fmla="*/ 4729016 w 6666359"/>
              <a:gd name="connsiteY8879" fmla="*/ 858829 h 4343113"/>
              <a:gd name="connsiteX8880" fmla="*/ 4729016 w 6666359"/>
              <a:gd name="connsiteY8880" fmla="*/ 849155 h 4343113"/>
              <a:gd name="connsiteX8881" fmla="*/ 4735465 w 6666359"/>
              <a:gd name="connsiteY8881" fmla="*/ 842706 h 4343113"/>
              <a:gd name="connsiteX8882" fmla="*/ 4748363 w 6666359"/>
              <a:gd name="connsiteY8882" fmla="*/ 839481 h 4343113"/>
              <a:gd name="connsiteX8883" fmla="*/ 4777386 w 6666359"/>
              <a:gd name="connsiteY8883" fmla="*/ 816908 h 4343113"/>
              <a:gd name="connsiteX8884" fmla="*/ 4790284 w 6666359"/>
              <a:gd name="connsiteY8884" fmla="*/ 807234 h 4343113"/>
              <a:gd name="connsiteX8885" fmla="*/ 4803184 w 6666359"/>
              <a:gd name="connsiteY8885" fmla="*/ 800784 h 4343113"/>
              <a:gd name="connsiteX8886" fmla="*/ 4816083 w 6666359"/>
              <a:gd name="connsiteY8886" fmla="*/ 794335 h 4343113"/>
              <a:gd name="connsiteX8887" fmla="*/ 4838655 w 6666359"/>
              <a:gd name="connsiteY8887" fmla="*/ 778211 h 4343113"/>
              <a:gd name="connsiteX8888" fmla="*/ 4851554 w 6666359"/>
              <a:gd name="connsiteY8888" fmla="*/ 771763 h 4343113"/>
              <a:gd name="connsiteX8889" fmla="*/ 4864452 w 6666359"/>
              <a:gd name="connsiteY8889" fmla="*/ 765313 h 4343113"/>
              <a:gd name="connsiteX8890" fmla="*/ 4870902 w 6666359"/>
              <a:gd name="connsiteY8890" fmla="*/ 768537 h 4343113"/>
              <a:gd name="connsiteX8891" fmla="*/ 4861228 w 6666359"/>
              <a:gd name="connsiteY8891" fmla="*/ 778211 h 4343113"/>
              <a:gd name="connsiteX8892" fmla="*/ 4851554 w 6666359"/>
              <a:gd name="connsiteY8892" fmla="*/ 800784 h 4343113"/>
              <a:gd name="connsiteX8893" fmla="*/ 4848329 w 6666359"/>
              <a:gd name="connsiteY8893" fmla="*/ 810458 h 4343113"/>
              <a:gd name="connsiteX8894" fmla="*/ 4861228 w 6666359"/>
              <a:gd name="connsiteY8894" fmla="*/ 810458 h 4343113"/>
              <a:gd name="connsiteX8895" fmla="*/ 4870902 w 6666359"/>
              <a:gd name="connsiteY8895" fmla="*/ 810458 h 4343113"/>
              <a:gd name="connsiteX8896" fmla="*/ 4883801 w 6666359"/>
              <a:gd name="connsiteY8896" fmla="*/ 800784 h 4343113"/>
              <a:gd name="connsiteX8897" fmla="*/ 4893475 w 6666359"/>
              <a:gd name="connsiteY8897" fmla="*/ 791110 h 4343113"/>
              <a:gd name="connsiteX8898" fmla="*/ 4906373 w 6666359"/>
              <a:gd name="connsiteY8898" fmla="*/ 787886 h 4343113"/>
              <a:gd name="connsiteX8899" fmla="*/ 4919272 w 6666359"/>
              <a:gd name="connsiteY8899" fmla="*/ 791110 h 4343113"/>
              <a:gd name="connsiteX8900" fmla="*/ 4919272 w 6666359"/>
              <a:gd name="connsiteY8900" fmla="*/ 787886 h 4343113"/>
              <a:gd name="connsiteX8901" fmla="*/ 4938620 w 6666359"/>
              <a:gd name="connsiteY8901" fmla="*/ 787886 h 4343113"/>
              <a:gd name="connsiteX8902" fmla="*/ 4941846 w 6666359"/>
              <a:gd name="connsiteY8902" fmla="*/ 781437 h 4343113"/>
              <a:gd name="connsiteX8903" fmla="*/ 4951519 w 6666359"/>
              <a:gd name="connsiteY8903" fmla="*/ 774987 h 4343113"/>
              <a:gd name="connsiteX8904" fmla="*/ 4967643 w 6666359"/>
              <a:gd name="connsiteY8904" fmla="*/ 765313 h 4343113"/>
              <a:gd name="connsiteX8905" fmla="*/ 4970867 w 6666359"/>
              <a:gd name="connsiteY8905" fmla="*/ 768537 h 4343113"/>
              <a:gd name="connsiteX8906" fmla="*/ 4974093 w 6666359"/>
              <a:gd name="connsiteY8906" fmla="*/ 768537 h 4343113"/>
              <a:gd name="connsiteX8907" fmla="*/ 4983767 w 6666359"/>
              <a:gd name="connsiteY8907" fmla="*/ 781437 h 4343113"/>
              <a:gd name="connsiteX8908" fmla="*/ 4977317 w 6666359"/>
              <a:gd name="connsiteY8908" fmla="*/ 791110 h 4343113"/>
              <a:gd name="connsiteX8909" fmla="*/ 4977317 w 6666359"/>
              <a:gd name="connsiteY8909" fmla="*/ 800784 h 4343113"/>
              <a:gd name="connsiteX8910" fmla="*/ 4983767 w 6666359"/>
              <a:gd name="connsiteY8910" fmla="*/ 804009 h 4343113"/>
              <a:gd name="connsiteX8911" fmla="*/ 4993440 w 6666359"/>
              <a:gd name="connsiteY8911" fmla="*/ 800784 h 4343113"/>
              <a:gd name="connsiteX8912" fmla="*/ 5009564 w 6666359"/>
              <a:gd name="connsiteY8912" fmla="*/ 778211 h 4343113"/>
              <a:gd name="connsiteX8913" fmla="*/ 5016014 w 6666359"/>
              <a:gd name="connsiteY8913" fmla="*/ 758863 h 4343113"/>
              <a:gd name="connsiteX8914" fmla="*/ 5012788 w 6666359"/>
              <a:gd name="connsiteY8914" fmla="*/ 752414 h 4343113"/>
              <a:gd name="connsiteX8915" fmla="*/ 5006340 w 6666359"/>
              <a:gd name="connsiteY8915" fmla="*/ 742740 h 4343113"/>
              <a:gd name="connsiteX8916" fmla="*/ 4999890 w 6666359"/>
              <a:gd name="connsiteY8916" fmla="*/ 729841 h 4343113"/>
              <a:gd name="connsiteX8917" fmla="*/ 5003114 w 6666359"/>
              <a:gd name="connsiteY8917" fmla="*/ 723392 h 4343113"/>
              <a:gd name="connsiteX8918" fmla="*/ 5016014 w 6666359"/>
              <a:gd name="connsiteY8918" fmla="*/ 710493 h 4343113"/>
              <a:gd name="connsiteX8919" fmla="*/ 5025687 w 6666359"/>
              <a:gd name="connsiteY8919" fmla="*/ 713718 h 4343113"/>
              <a:gd name="connsiteX8920" fmla="*/ 5054709 w 6666359"/>
              <a:gd name="connsiteY8920" fmla="*/ 716943 h 4343113"/>
              <a:gd name="connsiteX8921" fmla="*/ 5083732 w 6666359"/>
              <a:gd name="connsiteY8921" fmla="*/ 729841 h 4343113"/>
              <a:gd name="connsiteX8922" fmla="*/ 5093406 w 6666359"/>
              <a:gd name="connsiteY8922" fmla="*/ 736290 h 4343113"/>
              <a:gd name="connsiteX8923" fmla="*/ 5106305 w 6666359"/>
              <a:gd name="connsiteY8923" fmla="*/ 745964 h 4343113"/>
              <a:gd name="connsiteX8924" fmla="*/ 5115979 w 6666359"/>
              <a:gd name="connsiteY8924" fmla="*/ 752414 h 4343113"/>
              <a:gd name="connsiteX8925" fmla="*/ 5119203 w 6666359"/>
              <a:gd name="connsiteY8925" fmla="*/ 755639 h 4343113"/>
              <a:gd name="connsiteX8926" fmla="*/ 5125653 w 6666359"/>
              <a:gd name="connsiteY8926" fmla="*/ 762088 h 4343113"/>
              <a:gd name="connsiteX8927" fmla="*/ 5135327 w 6666359"/>
              <a:gd name="connsiteY8927" fmla="*/ 765313 h 4343113"/>
              <a:gd name="connsiteX8928" fmla="*/ 5151450 w 6666359"/>
              <a:gd name="connsiteY8928" fmla="*/ 778211 h 4343113"/>
              <a:gd name="connsiteX8929" fmla="*/ 5164350 w 6666359"/>
              <a:gd name="connsiteY8929" fmla="*/ 791110 h 4343113"/>
              <a:gd name="connsiteX8930" fmla="*/ 5174023 w 6666359"/>
              <a:gd name="connsiteY8930" fmla="*/ 797560 h 4343113"/>
              <a:gd name="connsiteX8931" fmla="*/ 5177248 w 6666359"/>
              <a:gd name="connsiteY8931" fmla="*/ 807234 h 4343113"/>
              <a:gd name="connsiteX8932" fmla="*/ 5177248 w 6666359"/>
              <a:gd name="connsiteY8932" fmla="*/ 813684 h 4343113"/>
              <a:gd name="connsiteX8933" fmla="*/ 5178769 w 6666359"/>
              <a:gd name="connsiteY8933" fmla="*/ 812669 h 4343113"/>
              <a:gd name="connsiteX8934" fmla="*/ 5186922 w 6666359"/>
              <a:gd name="connsiteY8934" fmla="*/ 807234 h 4343113"/>
              <a:gd name="connsiteX8935" fmla="*/ 5190147 w 6666359"/>
              <a:gd name="connsiteY8935" fmla="*/ 787885 h 4343113"/>
              <a:gd name="connsiteX8936" fmla="*/ 5190147 w 6666359"/>
              <a:gd name="connsiteY8936" fmla="*/ 768537 h 4343113"/>
              <a:gd name="connsiteX8937" fmla="*/ 5174023 w 6666359"/>
              <a:gd name="connsiteY8937" fmla="*/ 749188 h 4343113"/>
              <a:gd name="connsiteX8938" fmla="*/ 5170798 w 6666359"/>
              <a:gd name="connsiteY8938" fmla="*/ 733066 h 4343113"/>
              <a:gd name="connsiteX8939" fmla="*/ 5161124 w 6666359"/>
              <a:gd name="connsiteY8939" fmla="*/ 726616 h 4343113"/>
              <a:gd name="connsiteX8940" fmla="*/ 5154675 w 6666359"/>
              <a:gd name="connsiteY8940" fmla="*/ 723391 h 4343113"/>
              <a:gd name="connsiteX8941" fmla="*/ 5148226 w 6666359"/>
              <a:gd name="connsiteY8941" fmla="*/ 720167 h 4343113"/>
              <a:gd name="connsiteX8942" fmla="*/ 5148226 w 6666359"/>
              <a:gd name="connsiteY8942" fmla="*/ 729841 h 4343113"/>
              <a:gd name="connsiteX8943" fmla="*/ 5145001 w 6666359"/>
              <a:gd name="connsiteY8943" fmla="*/ 710493 h 4343113"/>
              <a:gd name="connsiteX8944" fmla="*/ 5148226 w 6666359"/>
              <a:gd name="connsiteY8944" fmla="*/ 700819 h 4343113"/>
              <a:gd name="connsiteX8945" fmla="*/ 5154675 w 6666359"/>
              <a:gd name="connsiteY8945" fmla="*/ 662122 h 4343113"/>
              <a:gd name="connsiteX8946" fmla="*/ 5151450 w 6666359"/>
              <a:gd name="connsiteY8946" fmla="*/ 649223 h 4343113"/>
              <a:gd name="connsiteX8947" fmla="*/ 5145001 w 6666359"/>
              <a:gd name="connsiteY8947" fmla="*/ 652449 h 4343113"/>
              <a:gd name="connsiteX8948" fmla="*/ 5141776 w 6666359"/>
              <a:gd name="connsiteY8948" fmla="*/ 629875 h 4343113"/>
              <a:gd name="connsiteX8949" fmla="*/ 5148226 w 6666359"/>
              <a:gd name="connsiteY8949" fmla="*/ 616976 h 4343113"/>
              <a:gd name="connsiteX8950" fmla="*/ 5151450 w 6666359"/>
              <a:gd name="connsiteY8950" fmla="*/ 616976 h 4343113"/>
              <a:gd name="connsiteX8951" fmla="*/ 5177248 w 6666359"/>
              <a:gd name="connsiteY8951" fmla="*/ 591179 h 4343113"/>
              <a:gd name="connsiteX8952" fmla="*/ 5193371 w 6666359"/>
              <a:gd name="connsiteY8952" fmla="*/ 517011 h 4343113"/>
              <a:gd name="connsiteX8953" fmla="*/ 5199821 w 6666359"/>
              <a:gd name="connsiteY8953" fmla="*/ 504113 h 4343113"/>
              <a:gd name="connsiteX8954" fmla="*/ 5203045 w 6666359"/>
              <a:gd name="connsiteY8954" fmla="*/ 497663 h 4343113"/>
              <a:gd name="connsiteX8955" fmla="*/ 5209495 w 6666359"/>
              <a:gd name="connsiteY8955" fmla="*/ 497663 h 4343113"/>
              <a:gd name="connsiteX8956" fmla="*/ 5232068 w 6666359"/>
              <a:gd name="connsiteY8956" fmla="*/ 500887 h 4343113"/>
              <a:gd name="connsiteX8957" fmla="*/ 5248191 w 6666359"/>
              <a:gd name="connsiteY8957" fmla="*/ 500887 h 4343113"/>
              <a:gd name="connsiteX8958" fmla="*/ 5270763 w 6666359"/>
              <a:gd name="connsiteY8958" fmla="*/ 513786 h 4343113"/>
              <a:gd name="connsiteX8959" fmla="*/ 5277213 w 6666359"/>
              <a:gd name="connsiteY8959" fmla="*/ 517011 h 4343113"/>
              <a:gd name="connsiteX8960" fmla="*/ 5277213 w 6666359"/>
              <a:gd name="connsiteY8960" fmla="*/ 539584 h 4343113"/>
              <a:gd name="connsiteX8961" fmla="*/ 5270763 w 6666359"/>
              <a:gd name="connsiteY8961" fmla="*/ 565381 h 4343113"/>
              <a:gd name="connsiteX8962" fmla="*/ 5267539 w 6666359"/>
              <a:gd name="connsiteY8962" fmla="*/ 584730 h 4343113"/>
              <a:gd name="connsiteX8963" fmla="*/ 5264315 w 6666359"/>
              <a:gd name="connsiteY8963" fmla="*/ 591179 h 4343113"/>
              <a:gd name="connsiteX8964" fmla="*/ 5254641 w 6666359"/>
              <a:gd name="connsiteY8964" fmla="*/ 604078 h 4343113"/>
              <a:gd name="connsiteX8965" fmla="*/ 5261090 w 6666359"/>
              <a:gd name="connsiteY8965" fmla="*/ 616976 h 4343113"/>
              <a:gd name="connsiteX8966" fmla="*/ 5270763 w 6666359"/>
              <a:gd name="connsiteY8966" fmla="*/ 626651 h 4343113"/>
              <a:gd name="connsiteX8967" fmla="*/ 5277213 w 6666359"/>
              <a:gd name="connsiteY8967" fmla="*/ 642775 h 4343113"/>
              <a:gd name="connsiteX8968" fmla="*/ 5277213 w 6666359"/>
              <a:gd name="connsiteY8968" fmla="*/ 652449 h 4343113"/>
              <a:gd name="connsiteX8969" fmla="*/ 5273989 w 6666359"/>
              <a:gd name="connsiteY8969" fmla="*/ 675021 h 4343113"/>
              <a:gd name="connsiteX8970" fmla="*/ 5270763 w 6666359"/>
              <a:gd name="connsiteY8970" fmla="*/ 681470 h 4343113"/>
              <a:gd name="connsiteX8971" fmla="*/ 5273989 w 6666359"/>
              <a:gd name="connsiteY8971" fmla="*/ 707268 h 4343113"/>
              <a:gd name="connsiteX8972" fmla="*/ 5273989 w 6666359"/>
              <a:gd name="connsiteY8972" fmla="*/ 745964 h 4343113"/>
              <a:gd name="connsiteX8973" fmla="*/ 5270763 w 6666359"/>
              <a:gd name="connsiteY8973" fmla="*/ 752414 h 4343113"/>
              <a:gd name="connsiteX8974" fmla="*/ 5270763 w 6666359"/>
              <a:gd name="connsiteY8974" fmla="*/ 765312 h 4343113"/>
              <a:gd name="connsiteX8975" fmla="*/ 5280438 w 6666359"/>
              <a:gd name="connsiteY8975" fmla="*/ 778211 h 4343113"/>
              <a:gd name="connsiteX8976" fmla="*/ 5293337 w 6666359"/>
              <a:gd name="connsiteY8976" fmla="*/ 791110 h 4343113"/>
              <a:gd name="connsiteX8977" fmla="*/ 5296562 w 6666359"/>
              <a:gd name="connsiteY8977" fmla="*/ 797559 h 4343113"/>
              <a:gd name="connsiteX8978" fmla="*/ 5293337 w 6666359"/>
              <a:gd name="connsiteY8978" fmla="*/ 797559 h 4343113"/>
              <a:gd name="connsiteX8979" fmla="*/ 5286887 w 6666359"/>
              <a:gd name="connsiteY8979" fmla="*/ 807234 h 4343113"/>
              <a:gd name="connsiteX8980" fmla="*/ 5283663 w 6666359"/>
              <a:gd name="connsiteY8980" fmla="*/ 810458 h 4343113"/>
              <a:gd name="connsiteX8981" fmla="*/ 5283663 w 6666359"/>
              <a:gd name="connsiteY8981" fmla="*/ 823358 h 4343113"/>
              <a:gd name="connsiteX8982" fmla="*/ 5277213 w 6666359"/>
              <a:gd name="connsiteY8982" fmla="*/ 845931 h 4343113"/>
              <a:gd name="connsiteX8983" fmla="*/ 5261090 w 6666359"/>
              <a:gd name="connsiteY8983" fmla="*/ 878177 h 4343113"/>
              <a:gd name="connsiteX8984" fmla="*/ 5244966 w 6666359"/>
              <a:gd name="connsiteY8984" fmla="*/ 887852 h 4343113"/>
              <a:gd name="connsiteX8985" fmla="*/ 5251416 w 6666359"/>
              <a:gd name="connsiteY8985" fmla="*/ 897525 h 4343113"/>
              <a:gd name="connsiteX8986" fmla="*/ 5248191 w 6666359"/>
              <a:gd name="connsiteY8986" fmla="*/ 900750 h 4343113"/>
              <a:gd name="connsiteX8987" fmla="*/ 5251416 w 6666359"/>
              <a:gd name="connsiteY8987" fmla="*/ 920099 h 4343113"/>
              <a:gd name="connsiteX8988" fmla="*/ 5254641 w 6666359"/>
              <a:gd name="connsiteY8988" fmla="*/ 923323 h 4343113"/>
              <a:gd name="connsiteX8989" fmla="*/ 5261090 w 6666359"/>
              <a:gd name="connsiteY8989" fmla="*/ 923323 h 4343113"/>
              <a:gd name="connsiteX8990" fmla="*/ 5264315 w 6666359"/>
              <a:gd name="connsiteY8990" fmla="*/ 916873 h 4343113"/>
              <a:gd name="connsiteX8991" fmla="*/ 5270763 w 6666359"/>
              <a:gd name="connsiteY8991" fmla="*/ 903975 h 4343113"/>
              <a:gd name="connsiteX8992" fmla="*/ 5280438 w 6666359"/>
              <a:gd name="connsiteY8992" fmla="*/ 894300 h 4343113"/>
              <a:gd name="connsiteX8993" fmla="*/ 5293337 w 6666359"/>
              <a:gd name="connsiteY8993" fmla="*/ 891076 h 4343113"/>
              <a:gd name="connsiteX8994" fmla="*/ 5299786 w 6666359"/>
              <a:gd name="connsiteY8994" fmla="*/ 881402 h 4343113"/>
              <a:gd name="connsiteX8995" fmla="*/ 5303010 w 6666359"/>
              <a:gd name="connsiteY8995" fmla="*/ 871728 h 4343113"/>
              <a:gd name="connsiteX8996" fmla="*/ 5315910 w 6666359"/>
              <a:gd name="connsiteY8996" fmla="*/ 849155 h 4343113"/>
              <a:gd name="connsiteX8997" fmla="*/ 5322359 w 6666359"/>
              <a:gd name="connsiteY8997" fmla="*/ 829807 h 4343113"/>
              <a:gd name="connsiteX8998" fmla="*/ 5315910 w 6666359"/>
              <a:gd name="connsiteY8998" fmla="*/ 807234 h 4343113"/>
              <a:gd name="connsiteX8999" fmla="*/ 5309460 w 6666359"/>
              <a:gd name="connsiteY8999" fmla="*/ 800784 h 4343113"/>
              <a:gd name="connsiteX9000" fmla="*/ 5312685 w 6666359"/>
              <a:gd name="connsiteY9000" fmla="*/ 787885 h 4343113"/>
              <a:gd name="connsiteX9001" fmla="*/ 5322359 w 6666359"/>
              <a:gd name="connsiteY9001" fmla="*/ 774987 h 4343113"/>
              <a:gd name="connsiteX9002" fmla="*/ 5335258 w 6666359"/>
              <a:gd name="connsiteY9002" fmla="*/ 771762 h 4343113"/>
              <a:gd name="connsiteX9003" fmla="*/ 5348157 w 6666359"/>
              <a:gd name="connsiteY9003" fmla="*/ 765312 h 4343113"/>
              <a:gd name="connsiteX9004" fmla="*/ 5354606 w 6666359"/>
              <a:gd name="connsiteY9004" fmla="*/ 755638 h 4343113"/>
              <a:gd name="connsiteX9005" fmla="*/ 5332033 w 6666359"/>
              <a:gd name="connsiteY9005" fmla="*/ 752414 h 4343113"/>
              <a:gd name="connsiteX9006" fmla="*/ 5319134 w 6666359"/>
              <a:gd name="connsiteY9006" fmla="*/ 755638 h 4343113"/>
              <a:gd name="connsiteX9007" fmla="*/ 5306236 w 6666359"/>
              <a:gd name="connsiteY9007" fmla="*/ 758863 h 4343113"/>
              <a:gd name="connsiteX9008" fmla="*/ 5296562 w 6666359"/>
              <a:gd name="connsiteY9008" fmla="*/ 749188 h 4343113"/>
              <a:gd name="connsiteX9009" fmla="*/ 5296562 w 6666359"/>
              <a:gd name="connsiteY9009" fmla="*/ 707268 h 4343113"/>
              <a:gd name="connsiteX9010" fmla="*/ 5306236 w 6666359"/>
              <a:gd name="connsiteY9010" fmla="*/ 675021 h 4343113"/>
              <a:gd name="connsiteX9011" fmla="*/ 5309460 w 6666359"/>
              <a:gd name="connsiteY9011" fmla="*/ 655673 h 4343113"/>
              <a:gd name="connsiteX9012" fmla="*/ 5283663 w 6666359"/>
              <a:gd name="connsiteY9012" fmla="*/ 610528 h 4343113"/>
              <a:gd name="connsiteX9013" fmla="*/ 5293337 w 6666359"/>
              <a:gd name="connsiteY9013" fmla="*/ 578280 h 4343113"/>
              <a:gd name="connsiteX9014" fmla="*/ 5309460 w 6666359"/>
              <a:gd name="connsiteY9014" fmla="*/ 568607 h 4343113"/>
              <a:gd name="connsiteX9015" fmla="*/ 5325584 w 6666359"/>
              <a:gd name="connsiteY9015" fmla="*/ 558932 h 4343113"/>
              <a:gd name="connsiteX9016" fmla="*/ 5325584 w 6666359"/>
              <a:gd name="connsiteY9016" fmla="*/ 526685 h 4343113"/>
              <a:gd name="connsiteX9017" fmla="*/ 5322359 w 6666359"/>
              <a:gd name="connsiteY9017" fmla="*/ 504113 h 4343113"/>
              <a:gd name="connsiteX9018" fmla="*/ 5335258 w 6666359"/>
              <a:gd name="connsiteY9018" fmla="*/ 510562 h 4343113"/>
              <a:gd name="connsiteX9019" fmla="*/ 5338483 w 6666359"/>
              <a:gd name="connsiteY9019" fmla="*/ 526685 h 4343113"/>
              <a:gd name="connsiteX9020" fmla="*/ 5338483 w 6666359"/>
              <a:gd name="connsiteY9020" fmla="*/ 546034 h 4343113"/>
              <a:gd name="connsiteX9021" fmla="*/ 5335258 w 6666359"/>
              <a:gd name="connsiteY9021" fmla="*/ 565381 h 4343113"/>
              <a:gd name="connsiteX9022" fmla="*/ 5328809 w 6666359"/>
              <a:gd name="connsiteY9022" fmla="*/ 578280 h 4343113"/>
              <a:gd name="connsiteX9023" fmla="*/ 5332033 w 6666359"/>
              <a:gd name="connsiteY9023" fmla="*/ 610528 h 4343113"/>
              <a:gd name="connsiteX9024" fmla="*/ 5341707 w 6666359"/>
              <a:gd name="connsiteY9024" fmla="*/ 620201 h 4343113"/>
              <a:gd name="connsiteX9025" fmla="*/ 5357831 w 6666359"/>
              <a:gd name="connsiteY9025" fmla="*/ 623426 h 4343113"/>
              <a:gd name="connsiteX9026" fmla="*/ 5367505 w 6666359"/>
              <a:gd name="connsiteY9026" fmla="*/ 629875 h 4343113"/>
              <a:gd name="connsiteX9027" fmla="*/ 5364280 w 6666359"/>
              <a:gd name="connsiteY9027" fmla="*/ 604078 h 4343113"/>
              <a:gd name="connsiteX9028" fmla="*/ 5351381 w 6666359"/>
              <a:gd name="connsiteY9028" fmla="*/ 597628 h 4343113"/>
              <a:gd name="connsiteX9029" fmla="*/ 5348157 w 6666359"/>
              <a:gd name="connsiteY9029" fmla="*/ 578280 h 4343113"/>
              <a:gd name="connsiteX9030" fmla="*/ 5348157 w 6666359"/>
              <a:gd name="connsiteY9030" fmla="*/ 571831 h 4343113"/>
              <a:gd name="connsiteX9031" fmla="*/ 5361055 w 6666359"/>
              <a:gd name="connsiteY9031" fmla="*/ 565381 h 4343113"/>
              <a:gd name="connsiteX9032" fmla="*/ 5380404 w 6666359"/>
              <a:gd name="connsiteY9032" fmla="*/ 552483 h 4343113"/>
              <a:gd name="connsiteX9033" fmla="*/ 5406201 w 6666359"/>
              <a:gd name="connsiteY9033" fmla="*/ 539584 h 4343113"/>
              <a:gd name="connsiteX9034" fmla="*/ 5435223 w 6666359"/>
              <a:gd name="connsiteY9034" fmla="*/ 552483 h 4343113"/>
              <a:gd name="connsiteX9035" fmla="*/ 5448122 w 6666359"/>
              <a:gd name="connsiteY9035" fmla="*/ 562157 h 4343113"/>
              <a:gd name="connsiteX9036" fmla="*/ 5454572 w 6666359"/>
              <a:gd name="connsiteY9036" fmla="*/ 571831 h 4343113"/>
              <a:gd name="connsiteX9037" fmla="*/ 5461021 w 6666359"/>
              <a:gd name="connsiteY9037" fmla="*/ 581505 h 4343113"/>
              <a:gd name="connsiteX9038" fmla="*/ 5486819 w 6666359"/>
              <a:gd name="connsiteY9038" fmla="*/ 584730 h 4343113"/>
              <a:gd name="connsiteX9039" fmla="*/ 5490043 w 6666359"/>
              <a:gd name="connsiteY9039" fmla="*/ 565381 h 4343113"/>
              <a:gd name="connsiteX9040" fmla="*/ 5486819 w 6666359"/>
              <a:gd name="connsiteY9040" fmla="*/ 558932 h 4343113"/>
              <a:gd name="connsiteX9041" fmla="*/ 5486819 w 6666359"/>
              <a:gd name="connsiteY9041" fmla="*/ 552483 h 4343113"/>
              <a:gd name="connsiteX9042" fmla="*/ 5483593 w 6666359"/>
              <a:gd name="connsiteY9042" fmla="*/ 546034 h 4343113"/>
              <a:gd name="connsiteX9043" fmla="*/ 5454572 w 6666359"/>
              <a:gd name="connsiteY9043" fmla="*/ 533134 h 4343113"/>
              <a:gd name="connsiteX9044" fmla="*/ 5448122 w 6666359"/>
              <a:gd name="connsiteY9044" fmla="*/ 507337 h 4343113"/>
              <a:gd name="connsiteX9045" fmla="*/ 5444898 w 6666359"/>
              <a:gd name="connsiteY9045" fmla="*/ 458966 h 4343113"/>
              <a:gd name="connsiteX9046" fmla="*/ 5448122 w 6666359"/>
              <a:gd name="connsiteY9046" fmla="*/ 449292 h 4343113"/>
              <a:gd name="connsiteX9047" fmla="*/ 5457796 w 6666359"/>
              <a:gd name="connsiteY9047" fmla="*/ 449292 h 4343113"/>
              <a:gd name="connsiteX9048" fmla="*/ 5470695 w 6666359"/>
              <a:gd name="connsiteY9048" fmla="*/ 446068 h 4343113"/>
              <a:gd name="connsiteX9049" fmla="*/ 5499717 w 6666359"/>
              <a:gd name="connsiteY9049" fmla="*/ 442843 h 4343113"/>
              <a:gd name="connsiteX9050" fmla="*/ 5525514 w 6666359"/>
              <a:gd name="connsiteY9050" fmla="*/ 439619 h 4343113"/>
              <a:gd name="connsiteX9051" fmla="*/ 5544863 w 6666359"/>
              <a:gd name="connsiteY9051" fmla="*/ 436394 h 4343113"/>
              <a:gd name="connsiteX9052" fmla="*/ 5554537 w 6666359"/>
              <a:gd name="connsiteY9052" fmla="*/ 433169 h 4343113"/>
              <a:gd name="connsiteX9053" fmla="*/ 5567435 w 6666359"/>
              <a:gd name="connsiteY9053" fmla="*/ 426719 h 4343113"/>
              <a:gd name="connsiteX9054" fmla="*/ 5583559 w 6666359"/>
              <a:gd name="connsiteY9054" fmla="*/ 423495 h 4343113"/>
              <a:gd name="connsiteX9055" fmla="*/ 5586784 w 6666359"/>
              <a:gd name="connsiteY9055" fmla="*/ 413821 h 4343113"/>
              <a:gd name="connsiteX9056" fmla="*/ 5593233 w 6666359"/>
              <a:gd name="connsiteY9056" fmla="*/ 413821 h 4343113"/>
              <a:gd name="connsiteX9057" fmla="*/ 5586784 w 6666359"/>
              <a:gd name="connsiteY9057" fmla="*/ 384798 h 4343113"/>
              <a:gd name="connsiteX9058" fmla="*/ 5570661 w 6666359"/>
              <a:gd name="connsiteY9058" fmla="*/ 368675 h 4343113"/>
              <a:gd name="connsiteX9059" fmla="*/ 5570661 w 6666359"/>
              <a:gd name="connsiteY9059" fmla="*/ 349327 h 4343113"/>
              <a:gd name="connsiteX9060" fmla="*/ 5590008 w 6666359"/>
              <a:gd name="connsiteY9060" fmla="*/ 359001 h 4343113"/>
              <a:gd name="connsiteX9061" fmla="*/ 5593233 w 6666359"/>
              <a:gd name="connsiteY9061" fmla="*/ 339653 h 4343113"/>
              <a:gd name="connsiteX9062" fmla="*/ 5586784 w 6666359"/>
              <a:gd name="connsiteY9062" fmla="*/ 326754 h 4343113"/>
              <a:gd name="connsiteX9063" fmla="*/ 5586784 w 6666359"/>
              <a:gd name="connsiteY9063" fmla="*/ 323529 h 4343113"/>
              <a:gd name="connsiteX9064" fmla="*/ 5593233 w 6666359"/>
              <a:gd name="connsiteY9064" fmla="*/ 320304 h 4343113"/>
              <a:gd name="connsiteX9065" fmla="*/ 5615806 w 6666359"/>
              <a:gd name="connsiteY9065" fmla="*/ 317080 h 4343113"/>
              <a:gd name="connsiteX9066" fmla="*/ 5622256 w 6666359"/>
              <a:gd name="connsiteY9066" fmla="*/ 307406 h 4343113"/>
              <a:gd name="connsiteX9067" fmla="*/ 5631929 w 6666359"/>
              <a:gd name="connsiteY9067" fmla="*/ 297732 h 4343113"/>
              <a:gd name="connsiteX9068" fmla="*/ 5635155 w 6666359"/>
              <a:gd name="connsiteY9068" fmla="*/ 294507 h 4343113"/>
              <a:gd name="connsiteX9069" fmla="*/ 5689974 w 6666359"/>
              <a:gd name="connsiteY9069" fmla="*/ 275159 h 4343113"/>
              <a:gd name="connsiteX9070" fmla="*/ 5718997 w 6666359"/>
              <a:gd name="connsiteY9070" fmla="*/ 265485 h 4343113"/>
              <a:gd name="connsiteX9071" fmla="*/ 5718997 w 6666359"/>
              <a:gd name="connsiteY9071" fmla="*/ 259035 h 4343113"/>
              <a:gd name="connsiteX9072" fmla="*/ 5715771 w 6666359"/>
              <a:gd name="connsiteY9072" fmla="*/ 249362 h 4343113"/>
              <a:gd name="connsiteX9073" fmla="*/ 5722221 w 6666359"/>
              <a:gd name="connsiteY9073" fmla="*/ 239688 h 4343113"/>
              <a:gd name="connsiteX9074" fmla="*/ 5735120 w 6666359"/>
              <a:gd name="connsiteY9074" fmla="*/ 236462 h 4343113"/>
              <a:gd name="connsiteX9075" fmla="*/ 5748018 w 6666359"/>
              <a:gd name="connsiteY9075" fmla="*/ 236462 h 4343113"/>
              <a:gd name="connsiteX9076" fmla="*/ 5751244 w 6666359"/>
              <a:gd name="connsiteY9076" fmla="*/ 242912 h 4343113"/>
              <a:gd name="connsiteX9077" fmla="*/ 5760918 w 6666359"/>
              <a:gd name="connsiteY9077" fmla="*/ 239688 h 4343113"/>
              <a:gd name="connsiteX9078" fmla="*/ 5770591 w 6666359"/>
              <a:gd name="connsiteY9078" fmla="*/ 233238 h 4343113"/>
              <a:gd name="connsiteX9079" fmla="*/ 5786715 w 6666359"/>
              <a:gd name="connsiteY9079" fmla="*/ 236462 h 4343113"/>
              <a:gd name="connsiteX9080" fmla="*/ 5796389 w 6666359"/>
              <a:gd name="connsiteY9080" fmla="*/ 249362 h 4343113"/>
              <a:gd name="connsiteX9081" fmla="*/ 5809288 w 6666359"/>
              <a:gd name="connsiteY9081" fmla="*/ 249362 h 4343113"/>
              <a:gd name="connsiteX9082" fmla="*/ 5822186 w 6666359"/>
              <a:gd name="connsiteY9082" fmla="*/ 249362 h 4343113"/>
              <a:gd name="connsiteX9083" fmla="*/ 5838310 w 6666359"/>
              <a:gd name="connsiteY9083" fmla="*/ 226788 h 4343113"/>
              <a:gd name="connsiteX9084" fmla="*/ 5857658 w 6666359"/>
              <a:gd name="connsiteY9084" fmla="*/ 226788 h 4343113"/>
              <a:gd name="connsiteX9085" fmla="*/ 5864107 w 6666359"/>
              <a:gd name="connsiteY9085" fmla="*/ 217114 h 4343113"/>
              <a:gd name="connsiteX9086" fmla="*/ 5867333 w 6666359"/>
              <a:gd name="connsiteY9086" fmla="*/ 204215 h 4343113"/>
              <a:gd name="connsiteX9087" fmla="*/ 5896354 w 6666359"/>
              <a:gd name="connsiteY9087" fmla="*/ 204215 h 4343113"/>
              <a:gd name="connsiteX9088" fmla="*/ 5899580 w 6666359"/>
              <a:gd name="connsiteY9088" fmla="*/ 200991 h 4343113"/>
              <a:gd name="connsiteX9089" fmla="*/ 5893130 w 6666359"/>
              <a:gd name="connsiteY9089" fmla="*/ 171968 h 4343113"/>
              <a:gd name="connsiteX9090" fmla="*/ 5899580 w 6666359"/>
              <a:gd name="connsiteY9090" fmla="*/ 142947 h 4343113"/>
              <a:gd name="connsiteX9091" fmla="*/ 5915702 w 6666359"/>
              <a:gd name="connsiteY9091" fmla="*/ 120373 h 4343113"/>
              <a:gd name="connsiteX9092" fmla="*/ 5941501 w 6666359"/>
              <a:gd name="connsiteY9092" fmla="*/ 91352 h 4343113"/>
              <a:gd name="connsiteX9093" fmla="*/ 5954399 w 6666359"/>
              <a:gd name="connsiteY9093" fmla="*/ 84902 h 4343113"/>
              <a:gd name="connsiteX9094" fmla="*/ 1367271 w 6666359"/>
              <a:gd name="connsiteY9094" fmla="*/ 78453 h 4343113"/>
              <a:gd name="connsiteX9095" fmla="*/ 1370495 w 6666359"/>
              <a:gd name="connsiteY9095" fmla="*/ 81679 h 4343113"/>
              <a:gd name="connsiteX9096" fmla="*/ 1376945 w 6666359"/>
              <a:gd name="connsiteY9096" fmla="*/ 94577 h 4343113"/>
              <a:gd name="connsiteX9097" fmla="*/ 1389843 w 6666359"/>
              <a:gd name="connsiteY9097" fmla="*/ 120374 h 4343113"/>
              <a:gd name="connsiteX9098" fmla="*/ 1393068 w 6666359"/>
              <a:gd name="connsiteY9098" fmla="*/ 136498 h 4343113"/>
              <a:gd name="connsiteX9099" fmla="*/ 1386619 w 6666359"/>
              <a:gd name="connsiteY9099" fmla="*/ 142948 h 4343113"/>
              <a:gd name="connsiteX9100" fmla="*/ 1376945 w 6666359"/>
              <a:gd name="connsiteY9100" fmla="*/ 136498 h 4343113"/>
              <a:gd name="connsiteX9101" fmla="*/ 1367271 w 6666359"/>
              <a:gd name="connsiteY9101" fmla="*/ 123600 h 4343113"/>
              <a:gd name="connsiteX9102" fmla="*/ 1360821 w 6666359"/>
              <a:gd name="connsiteY9102" fmla="*/ 94577 h 4343113"/>
              <a:gd name="connsiteX9103" fmla="*/ 1605897 w 6666359"/>
              <a:gd name="connsiteY9103" fmla="*/ 75229 h 4343113"/>
              <a:gd name="connsiteX9104" fmla="*/ 1622021 w 6666359"/>
              <a:gd name="connsiteY9104" fmla="*/ 75229 h 4343113"/>
              <a:gd name="connsiteX9105" fmla="*/ 1638144 w 6666359"/>
              <a:gd name="connsiteY9105" fmla="*/ 81679 h 4343113"/>
              <a:gd name="connsiteX9106" fmla="*/ 1631695 w 6666359"/>
              <a:gd name="connsiteY9106" fmla="*/ 110701 h 4343113"/>
              <a:gd name="connsiteX9107" fmla="*/ 1615572 w 6666359"/>
              <a:gd name="connsiteY9107" fmla="*/ 107476 h 4343113"/>
              <a:gd name="connsiteX9108" fmla="*/ 1583325 w 6666359"/>
              <a:gd name="connsiteY9108" fmla="*/ 107476 h 4343113"/>
              <a:gd name="connsiteX9109" fmla="*/ 1576875 w 6666359"/>
              <a:gd name="connsiteY9109" fmla="*/ 104251 h 4343113"/>
              <a:gd name="connsiteX9110" fmla="*/ 1570426 w 6666359"/>
              <a:gd name="connsiteY9110" fmla="*/ 91353 h 4343113"/>
              <a:gd name="connsiteX9111" fmla="*/ 1573651 w 6666359"/>
              <a:gd name="connsiteY9111" fmla="*/ 81679 h 4343113"/>
              <a:gd name="connsiteX9112" fmla="*/ 3295638 w 6666359"/>
              <a:gd name="connsiteY9112" fmla="*/ 62330 h 4343113"/>
              <a:gd name="connsiteX9113" fmla="*/ 3295638 w 6666359"/>
              <a:gd name="connsiteY9113" fmla="*/ 72004 h 4343113"/>
              <a:gd name="connsiteX9114" fmla="*/ 3292414 w 6666359"/>
              <a:gd name="connsiteY9114" fmla="*/ 84902 h 4343113"/>
              <a:gd name="connsiteX9115" fmla="*/ 3282740 w 6666359"/>
              <a:gd name="connsiteY9115" fmla="*/ 84902 h 4343113"/>
              <a:gd name="connsiteX9116" fmla="*/ 1444663 w 6666359"/>
              <a:gd name="connsiteY9116" fmla="*/ 62330 h 4343113"/>
              <a:gd name="connsiteX9117" fmla="*/ 1464011 w 6666359"/>
              <a:gd name="connsiteY9117" fmla="*/ 72004 h 4343113"/>
              <a:gd name="connsiteX9118" fmla="*/ 1467236 w 6666359"/>
              <a:gd name="connsiteY9118" fmla="*/ 78453 h 4343113"/>
              <a:gd name="connsiteX9119" fmla="*/ 1467236 w 6666359"/>
              <a:gd name="connsiteY9119" fmla="*/ 81679 h 4343113"/>
              <a:gd name="connsiteX9120" fmla="*/ 1457562 w 6666359"/>
              <a:gd name="connsiteY9120" fmla="*/ 84903 h 4343113"/>
              <a:gd name="connsiteX9121" fmla="*/ 1438213 w 6666359"/>
              <a:gd name="connsiteY9121" fmla="*/ 81679 h 4343113"/>
              <a:gd name="connsiteX9122" fmla="*/ 1434989 w 6666359"/>
              <a:gd name="connsiteY9122" fmla="*/ 65555 h 4343113"/>
              <a:gd name="connsiteX9123" fmla="*/ 1177014 w 6666359"/>
              <a:gd name="connsiteY9123" fmla="*/ 46206 h 4343113"/>
              <a:gd name="connsiteX9124" fmla="*/ 1183463 w 6666359"/>
              <a:gd name="connsiteY9124" fmla="*/ 59106 h 4343113"/>
              <a:gd name="connsiteX9125" fmla="*/ 1193136 w 6666359"/>
              <a:gd name="connsiteY9125" fmla="*/ 72004 h 4343113"/>
              <a:gd name="connsiteX9126" fmla="*/ 1157665 w 6666359"/>
              <a:gd name="connsiteY9126" fmla="*/ 55880 h 4343113"/>
              <a:gd name="connsiteX9127" fmla="*/ 1167339 w 6666359"/>
              <a:gd name="connsiteY9127" fmla="*/ 49432 h 4343113"/>
              <a:gd name="connsiteX9128" fmla="*/ 1241507 w 6666359"/>
              <a:gd name="connsiteY9128" fmla="*/ 42982 h 4343113"/>
              <a:gd name="connsiteX9129" fmla="*/ 1273754 w 6666359"/>
              <a:gd name="connsiteY9129" fmla="*/ 42982 h 4343113"/>
              <a:gd name="connsiteX9130" fmla="*/ 1280204 w 6666359"/>
              <a:gd name="connsiteY9130" fmla="*/ 46206 h 4343113"/>
              <a:gd name="connsiteX9131" fmla="*/ 1276979 w 6666359"/>
              <a:gd name="connsiteY9131" fmla="*/ 59106 h 4343113"/>
              <a:gd name="connsiteX9132" fmla="*/ 1267304 w 6666359"/>
              <a:gd name="connsiteY9132" fmla="*/ 101027 h 4343113"/>
              <a:gd name="connsiteX9133" fmla="*/ 1241507 w 6666359"/>
              <a:gd name="connsiteY9133" fmla="*/ 117150 h 4343113"/>
              <a:gd name="connsiteX9134" fmla="*/ 1215710 w 6666359"/>
              <a:gd name="connsiteY9134" fmla="*/ 117150 h 4343113"/>
              <a:gd name="connsiteX9135" fmla="*/ 1206036 w 6666359"/>
              <a:gd name="connsiteY9135" fmla="*/ 107476 h 4343113"/>
              <a:gd name="connsiteX9136" fmla="*/ 1199586 w 6666359"/>
              <a:gd name="connsiteY9136" fmla="*/ 101027 h 4343113"/>
              <a:gd name="connsiteX9137" fmla="*/ 1196362 w 6666359"/>
              <a:gd name="connsiteY9137" fmla="*/ 75229 h 4343113"/>
              <a:gd name="connsiteX9138" fmla="*/ 1199586 w 6666359"/>
              <a:gd name="connsiteY9138" fmla="*/ 62330 h 4343113"/>
              <a:gd name="connsiteX9139" fmla="*/ 1209261 w 6666359"/>
              <a:gd name="connsiteY9139" fmla="*/ 55880 h 4343113"/>
              <a:gd name="connsiteX9140" fmla="*/ 1215710 w 6666359"/>
              <a:gd name="connsiteY9140" fmla="*/ 52656 h 4343113"/>
              <a:gd name="connsiteX9141" fmla="*/ 6028567 w 6666359"/>
              <a:gd name="connsiteY9141" fmla="*/ 33307 h 4343113"/>
              <a:gd name="connsiteX9142" fmla="*/ 6041465 w 6666359"/>
              <a:gd name="connsiteY9142" fmla="*/ 36531 h 4343113"/>
              <a:gd name="connsiteX9143" fmla="*/ 6038241 w 6666359"/>
              <a:gd name="connsiteY9143" fmla="*/ 46205 h 4343113"/>
              <a:gd name="connsiteX9144" fmla="*/ 6031792 w 6666359"/>
              <a:gd name="connsiteY9144" fmla="*/ 46205 h 4343113"/>
              <a:gd name="connsiteX9145" fmla="*/ 6012443 w 6666359"/>
              <a:gd name="connsiteY9145" fmla="*/ 39756 h 4343113"/>
              <a:gd name="connsiteX9146" fmla="*/ 6015669 w 6666359"/>
              <a:gd name="connsiteY9146" fmla="*/ 36531 h 4343113"/>
              <a:gd name="connsiteX9147" fmla="*/ 4180817 w 6666359"/>
              <a:gd name="connsiteY9147" fmla="*/ 26859 h 4343113"/>
              <a:gd name="connsiteX9148" fmla="*/ 4193716 w 6666359"/>
              <a:gd name="connsiteY9148" fmla="*/ 36533 h 4343113"/>
              <a:gd name="connsiteX9149" fmla="*/ 4187266 w 6666359"/>
              <a:gd name="connsiteY9149" fmla="*/ 52656 h 4343113"/>
              <a:gd name="connsiteX9150" fmla="*/ 4206615 w 6666359"/>
              <a:gd name="connsiteY9150" fmla="*/ 65555 h 4343113"/>
              <a:gd name="connsiteX9151" fmla="*/ 4216289 w 6666359"/>
              <a:gd name="connsiteY9151" fmla="*/ 68780 h 4343113"/>
              <a:gd name="connsiteX9152" fmla="*/ 4222738 w 6666359"/>
              <a:gd name="connsiteY9152" fmla="*/ 75229 h 4343113"/>
              <a:gd name="connsiteX9153" fmla="*/ 4219514 w 6666359"/>
              <a:gd name="connsiteY9153" fmla="*/ 81679 h 4343113"/>
              <a:gd name="connsiteX9154" fmla="*/ 4206615 w 6666359"/>
              <a:gd name="connsiteY9154" fmla="*/ 94577 h 4343113"/>
              <a:gd name="connsiteX9155" fmla="*/ 4203390 w 6666359"/>
              <a:gd name="connsiteY9155" fmla="*/ 104252 h 4343113"/>
              <a:gd name="connsiteX9156" fmla="*/ 4200166 w 6666359"/>
              <a:gd name="connsiteY9156" fmla="*/ 110701 h 4343113"/>
              <a:gd name="connsiteX9157" fmla="*/ 4180817 w 6666359"/>
              <a:gd name="connsiteY9157" fmla="*/ 126824 h 4343113"/>
              <a:gd name="connsiteX9158" fmla="*/ 4171143 w 6666359"/>
              <a:gd name="connsiteY9158" fmla="*/ 126824 h 4343113"/>
              <a:gd name="connsiteX9159" fmla="*/ 4164693 w 6666359"/>
              <a:gd name="connsiteY9159" fmla="*/ 104252 h 4343113"/>
              <a:gd name="connsiteX9160" fmla="*/ 4161469 w 6666359"/>
              <a:gd name="connsiteY9160" fmla="*/ 107476 h 4343113"/>
              <a:gd name="connsiteX9161" fmla="*/ 4145346 w 6666359"/>
              <a:gd name="connsiteY9161" fmla="*/ 110701 h 4343113"/>
              <a:gd name="connsiteX9162" fmla="*/ 4138896 w 6666359"/>
              <a:gd name="connsiteY9162" fmla="*/ 110701 h 4343113"/>
              <a:gd name="connsiteX9163" fmla="*/ 4138896 w 6666359"/>
              <a:gd name="connsiteY9163" fmla="*/ 97802 h 4343113"/>
              <a:gd name="connsiteX9164" fmla="*/ 4145346 w 6666359"/>
              <a:gd name="connsiteY9164" fmla="*/ 81679 h 4343113"/>
              <a:gd name="connsiteX9165" fmla="*/ 4148570 w 6666359"/>
              <a:gd name="connsiteY9165" fmla="*/ 55881 h 4343113"/>
              <a:gd name="connsiteX9166" fmla="*/ 4138896 w 6666359"/>
              <a:gd name="connsiteY9166" fmla="*/ 46208 h 4343113"/>
              <a:gd name="connsiteX9167" fmla="*/ 4142121 w 6666359"/>
              <a:gd name="connsiteY9167" fmla="*/ 36533 h 4343113"/>
              <a:gd name="connsiteX9168" fmla="*/ 4158245 w 6666359"/>
              <a:gd name="connsiteY9168" fmla="*/ 30084 h 4343113"/>
              <a:gd name="connsiteX9169" fmla="*/ 6015669 w 6666359"/>
              <a:gd name="connsiteY9169" fmla="*/ 17184 h 4343113"/>
              <a:gd name="connsiteX9170" fmla="*/ 6022117 w 6666359"/>
              <a:gd name="connsiteY9170" fmla="*/ 23632 h 4343113"/>
              <a:gd name="connsiteX9171" fmla="*/ 6012443 w 6666359"/>
              <a:gd name="connsiteY9171" fmla="*/ 30082 h 4343113"/>
              <a:gd name="connsiteX9172" fmla="*/ 6005993 w 6666359"/>
              <a:gd name="connsiteY9172" fmla="*/ 30082 h 4343113"/>
              <a:gd name="connsiteX9173" fmla="*/ 5878345 w 6666359"/>
              <a:gd name="connsiteY9173" fmla="*/ 0 h 4343113"/>
              <a:gd name="connsiteX9174" fmla="*/ 5988073 w 6666359"/>
              <a:gd name="connsiteY9174" fmla="*/ 0 h 4343113"/>
              <a:gd name="connsiteX9175" fmla="*/ 5986645 w 6666359"/>
              <a:gd name="connsiteY9175" fmla="*/ 4284 h 4343113"/>
              <a:gd name="connsiteX9176" fmla="*/ 5980196 w 6666359"/>
              <a:gd name="connsiteY9176" fmla="*/ 13958 h 4343113"/>
              <a:gd name="connsiteX9177" fmla="*/ 5970522 w 6666359"/>
              <a:gd name="connsiteY9177" fmla="*/ 13958 h 4343113"/>
              <a:gd name="connsiteX9178" fmla="*/ 5944725 w 6666359"/>
              <a:gd name="connsiteY9178" fmla="*/ 26858 h 4343113"/>
              <a:gd name="connsiteX9179" fmla="*/ 5915702 w 6666359"/>
              <a:gd name="connsiteY9179" fmla="*/ 30082 h 4343113"/>
              <a:gd name="connsiteX9180" fmla="*/ 5886680 w 6666359"/>
              <a:gd name="connsiteY9180" fmla="*/ 46205 h 4343113"/>
              <a:gd name="connsiteX9181" fmla="*/ 5873781 w 6666359"/>
              <a:gd name="connsiteY9181" fmla="*/ 55879 h 4343113"/>
              <a:gd name="connsiteX9182" fmla="*/ 5860883 w 6666359"/>
              <a:gd name="connsiteY9182" fmla="*/ 55879 h 4343113"/>
              <a:gd name="connsiteX9183" fmla="*/ 4124470 w 6666359"/>
              <a:gd name="connsiteY9183" fmla="*/ 0 h 4343113"/>
              <a:gd name="connsiteX9184" fmla="*/ 4167919 w 6666359"/>
              <a:gd name="connsiteY9184" fmla="*/ 0 h 4343113"/>
              <a:gd name="connsiteX9185" fmla="*/ 4167919 w 6666359"/>
              <a:gd name="connsiteY9185" fmla="*/ 23634 h 4343113"/>
              <a:gd name="connsiteX9186" fmla="*/ 4161469 w 6666359"/>
              <a:gd name="connsiteY9186" fmla="*/ 26859 h 4343113"/>
              <a:gd name="connsiteX9187" fmla="*/ 4142121 w 6666359"/>
              <a:gd name="connsiteY9187" fmla="*/ 30084 h 4343113"/>
              <a:gd name="connsiteX9188" fmla="*/ 4135672 w 6666359"/>
              <a:gd name="connsiteY9188" fmla="*/ 20409 h 4343113"/>
              <a:gd name="connsiteX9189" fmla="*/ 4132447 w 6666359"/>
              <a:gd name="connsiteY9189" fmla="*/ 10735 h 4343113"/>
              <a:gd name="connsiteX9190" fmla="*/ 4122772 w 6666359"/>
              <a:gd name="connsiteY9190" fmla="*/ 1061 h 4343113"/>
              <a:gd name="connsiteX9191" fmla="*/ 4023890 w 6666359"/>
              <a:gd name="connsiteY9191" fmla="*/ 0 h 4343113"/>
              <a:gd name="connsiteX9192" fmla="*/ 4102343 w 6666359"/>
              <a:gd name="connsiteY9192" fmla="*/ 0 h 4343113"/>
              <a:gd name="connsiteX9193" fmla="*/ 4100200 w 6666359"/>
              <a:gd name="connsiteY9193" fmla="*/ 4286 h 4343113"/>
              <a:gd name="connsiteX9194" fmla="*/ 4096975 w 6666359"/>
              <a:gd name="connsiteY9194" fmla="*/ 17185 h 4343113"/>
              <a:gd name="connsiteX9195" fmla="*/ 4096975 w 6666359"/>
              <a:gd name="connsiteY9195" fmla="*/ 26859 h 4343113"/>
              <a:gd name="connsiteX9196" fmla="*/ 4087301 w 6666359"/>
              <a:gd name="connsiteY9196" fmla="*/ 65555 h 4343113"/>
              <a:gd name="connsiteX9197" fmla="*/ 4077627 w 6666359"/>
              <a:gd name="connsiteY9197" fmla="*/ 94577 h 4343113"/>
              <a:gd name="connsiteX9198" fmla="*/ 4071178 w 6666359"/>
              <a:gd name="connsiteY9198" fmla="*/ 107476 h 4343113"/>
              <a:gd name="connsiteX9199" fmla="*/ 4055054 w 6666359"/>
              <a:gd name="connsiteY9199" fmla="*/ 178420 h 4343113"/>
              <a:gd name="connsiteX9200" fmla="*/ 4051830 w 6666359"/>
              <a:gd name="connsiteY9200" fmla="*/ 194543 h 4343113"/>
              <a:gd name="connsiteX9201" fmla="*/ 4042156 w 6666359"/>
              <a:gd name="connsiteY9201" fmla="*/ 194543 h 4343113"/>
              <a:gd name="connsiteX9202" fmla="*/ 4022807 w 6666359"/>
              <a:gd name="connsiteY9202" fmla="*/ 165521 h 4343113"/>
              <a:gd name="connsiteX9203" fmla="*/ 4013133 w 6666359"/>
              <a:gd name="connsiteY9203" fmla="*/ 152621 h 4343113"/>
              <a:gd name="connsiteX9204" fmla="*/ 3997010 w 6666359"/>
              <a:gd name="connsiteY9204" fmla="*/ 133274 h 4343113"/>
              <a:gd name="connsiteX9205" fmla="*/ 3987336 w 6666359"/>
              <a:gd name="connsiteY9205" fmla="*/ 113926 h 4343113"/>
              <a:gd name="connsiteX9206" fmla="*/ 3987336 w 6666359"/>
              <a:gd name="connsiteY9206" fmla="*/ 101027 h 4343113"/>
              <a:gd name="connsiteX9207" fmla="*/ 3990560 w 6666359"/>
              <a:gd name="connsiteY9207" fmla="*/ 97802 h 4343113"/>
              <a:gd name="connsiteX9208" fmla="*/ 3997010 w 6666359"/>
              <a:gd name="connsiteY9208" fmla="*/ 94577 h 4343113"/>
              <a:gd name="connsiteX9209" fmla="*/ 4000235 w 6666359"/>
              <a:gd name="connsiteY9209" fmla="*/ 104252 h 4343113"/>
              <a:gd name="connsiteX9210" fmla="*/ 4003459 w 6666359"/>
              <a:gd name="connsiteY9210" fmla="*/ 101027 h 4343113"/>
              <a:gd name="connsiteX9211" fmla="*/ 4006683 w 6666359"/>
              <a:gd name="connsiteY9211" fmla="*/ 97802 h 4343113"/>
              <a:gd name="connsiteX9212" fmla="*/ 4003459 w 6666359"/>
              <a:gd name="connsiteY9212" fmla="*/ 88128 h 4343113"/>
              <a:gd name="connsiteX9213" fmla="*/ 3990560 w 6666359"/>
              <a:gd name="connsiteY9213" fmla="*/ 75229 h 4343113"/>
              <a:gd name="connsiteX9214" fmla="*/ 3980886 w 6666359"/>
              <a:gd name="connsiteY9214" fmla="*/ 78453 h 4343113"/>
              <a:gd name="connsiteX9215" fmla="*/ 3977662 w 6666359"/>
              <a:gd name="connsiteY9215" fmla="*/ 49432 h 4343113"/>
              <a:gd name="connsiteX9216" fmla="*/ 3984111 w 6666359"/>
              <a:gd name="connsiteY9216" fmla="*/ 42982 h 4343113"/>
              <a:gd name="connsiteX9217" fmla="*/ 3993785 w 6666359"/>
              <a:gd name="connsiteY9217" fmla="*/ 42982 h 4343113"/>
              <a:gd name="connsiteX9218" fmla="*/ 4009909 w 6666359"/>
              <a:gd name="connsiteY9218" fmla="*/ 36533 h 4343113"/>
              <a:gd name="connsiteX9219" fmla="*/ 4022807 w 6666359"/>
              <a:gd name="connsiteY9219" fmla="*/ 20409 h 4343113"/>
              <a:gd name="connsiteX9220" fmla="*/ 4026032 w 6666359"/>
              <a:gd name="connsiteY9220" fmla="*/ 4286 h 4343113"/>
              <a:gd name="connsiteX9221" fmla="*/ 3950582 w 6666359"/>
              <a:gd name="connsiteY9221" fmla="*/ 0 h 4343113"/>
              <a:gd name="connsiteX9222" fmla="*/ 4002625 w 6666359"/>
              <a:gd name="connsiteY9222" fmla="*/ 0 h 4343113"/>
              <a:gd name="connsiteX9223" fmla="*/ 4003459 w 6666359"/>
              <a:gd name="connsiteY9223" fmla="*/ 7511 h 4343113"/>
              <a:gd name="connsiteX9224" fmla="*/ 3993785 w 6666359"/>
              <a:gd name="connsiteY9224" fmla="*/ 20409 h 4343113"/>
              <a:gd name="connsiteX9225" fmla="*/ 3984111 w 6666359"/>
              <a:gd name="connsiteY9225" fmla="*/ 30084 h 4343113"/>
              <a:gd name="connsiteX9226" fmla="*/ 3964763 w 6666359"/>
              <a:gd name="connsiteY9226" fmla="*/ 23634 h 4343113"/>
              <a:gd name="connsiteX9227" fmla="*/ 3927595 w 6666359"/>
              <a:gd name="connsiteY9227" fmla="*/ 0 h 4343113"/>
              <a:gd name="connsiteX9228" fmla="*/ 3937358 w 6666359"/>
              <a:gd name="connsiteY9228" fmla="*/ 0 h 4343113"/>
              <a:gd name="connsiteX9229" fmla="*/ 3938965 w 6666359"/>
              <a:gd name="connsiteY9229" fmla="*/ 4286 h 4343113"/>
              <a:gd name="connsiteX9230" fmla="*/ 3948639 w 6666359"/>
              <a:gd name="connsiteY9230" fmla="*/ 30084 h 4343113"/>
              <a:gd name="connsiteX9231" fmla="*/ 3932515 w 6666359"/>
              <a:gd name="connsiteY9231" fmla="*/ 10735 h 4343113"/>
              <a:gd name="connsiteX9232" fmla="*/ 2089243 w 6666359"/>
              <a:gd name="connsiteY9232" fmla="*/ 0 h 4343113"/>
              <a:gd name="connsiteX9233" fmla="*/ 3220393 w 6666359"/>
              <a:gd name="connsiteY9233" fmla="*/ 0 h 4343113"/>
              <a:gd name="connsiteX9234" fmla="*/ 3215022 w 6666359"/>
              <a:gd name="connsiteY9234" fmla="*/ 26858 h 4343113"/>
              <a:gd name="connsiteX9235" fmla="*/ 3198898 w 6666359"/>
              <a:gd name="connsiteY9235" fmla="*/ 84902 h 4343113"/>
              <a:gd name="connsiteX9236" fmla="*/ 3208572 w 6666359"/>
              <a:gd name="connsiteY9236" fmla="*/ 84902 h 4343113"/>
              <a:gd name="connsiteX9237" fmla="*/ 3224695 w 6666359"/>
              <a:gd name="connsiteY9237" fmla="*/ 94576 h 4343113"/>
              <a:gd name="connsiteX9238" fmla="*/ 3253717 w 6666359"/>
              <a:gd name="connsiteY9238" fmla="*/ 117149 h 4343113"/>
              <a:gd name="connsiteX9239" fmla="*/ 3279515 w 6666359"/>
              <a:gd name="connsiteY9239" fmla="*/ 120374 h 4343113"/>
              <a:gd name="connsiteX9240" fmla="*/ 3282740 w 6666359"/>
              <a:gd name="connsiteY9240" fmla="*/ 136498 h 4343113"/>
              <a:gd name="connsiteX9241" fmla="*/ 3282740 w 6666359"/>
              <a:gd name="connsiteY9241" fmla="*/ 165520 h 4343113"/>
              <a:gd name="connsiteX9242" fmla="*/ 3269841 w 6666359"/>
              <a:gd name="connsiteY9242" fmla="*/ 168744 h 4343113"/>
              <a:gd name="connsiteX9243" fmla="*/ 3244043 w 6666359"/>
              <a:gd name="connsiteY9243" fmla="*/ 155846 h 4343113"/>
              <a:gd name="connsiteX9244" fmla="*/ 3218246 w 6666359"/>
              <a:gd name="connsiteY9244" fmla="*/ 155846 h 4343113"/>
              <a:gd name="connsiteX9245" fmla="*/ 3198898 w 6666359"/>
              <a:gd name="connsiteY9245" fmla="*/ 165520 h 4343113"/>
              <a:gd name="connsiteX9246" fmla="*/ 3189224 w 6666359"/>
              <a:gd name="connsiteY9246" fmla="*/ 171969 h 4343113"/>
              <a:gd name="connsiteX9247" fmla="*/ 3182775 w 6666359"/>
              <a:gd name="connsiteY9247" fmla="*/ 181643 h 4343113"/>
              <a:gd name="connsiteX9248" fmla="*/ 3189224 w 6666359"/>
              <a:gd name="connsiteY9248" fmla="*/ 197767 h 4343113"/>
              <a:gd name="connsiteX9249" fmla="*/ 3202122 w 6666359"/>
              <a:gd name="connsiteY9249" fmla="*/ 220340 h 4343113"/>
              <a:gd name="connsiteX9250" fmla="*/ 3231145 w 6666359"/>
              <a:gd name="connsiteY9250" fmla="*/ 226788 h 4343113"/>
              <a:gd name="connsiteX9251" fmla="*/ 3244043 w 6666359"/>
              <a:gd name="connsiteY9251" fmla="*/ 223564 h 4343113"/>
              <a:gd name="connsiteX9252" fmla="*/ 3250493 w 6666359"/>
              <a:gd name="connsiteY9252" fmla="*/ 236463 h 4343113"/>
              <a:gd name="connsiteX9253" fmla="*/ 3250493 w 6666359"/>
              <a:gd name="connsiteY9253" fmla="*/ 242912 h 4343113"/>
              <a:gd name="connsiteX9254" fmla="*/ 3250493 w 6666359"/>
              <a:gd name="connsiteY9254" fmla="*/ 255811 h 4343113"/>
              <a:gd name="connsiteX9255" fmla="*/ 3256942 w 6666359"/>
              <a:gd name="connsiteY9255" fmla="*/ 281609 h 4343113"/>
              <a:gd name="connsiteX9256" fmla="*/ 3253717 w 6666359"/>
              <a:gd name="connsiteY9256" fmla="*/ 320305 h 4343113"/>
              <a:gd name="connsiteX9257" fmla="*/ 3244043 w 6666359"/>
              <a:gd name="connsiteY9257" fmla="*/ 323529 h 4343113"/>
              <a:gd name="connsiteX9258" fmla="*/ 3227920 w 6666359"/>
              <a:gd name="connsiteY9258" fmla="*/ 339653 h 4343113"/>
              <a:gd name="connsiteX9259" fmla="*/ 3227920 w 6666359"/>
              <a:gd name="connsiteY9259" fmla="*/ 362226 h 4343113"/>
              <a:gd name="connsiteX9260" fmla="*/ 3247269 w 6666359"/>
              <a:gd name="connsiteY9260" fmla="*/ 365450 h 4343113"/>
              <a:gd name="connsiteX9261" fmla="*/ 3266616 w 6666359"/>
              <a:gd name="connsiteY9261" fmla="*/ 378350 h 4343113"/>
              <a:gd name="connsiteX9262" fmla="*/ 3247269 w 6666359"/>
              <a:gd name="connsiteY9262" fmla="*/ 397698 h 4343113"/>
              <a:gd name="connsiteX9263" fmla="*/ 3240819 w 6666359"/>
              <a:gd name="connsiteY9263" fmla="*/ 394473 h 4343113"/>
              <a:gd name="connsiteX9264" fmla="*/ 3237594 w 6666359"/>
              <a:gd name="connsiteY9264" fmla="*/ 384799 h 4343113"/>
              <a:gd name="connsiteX9265" fmla="*/ 3231145 w 6666359"/>
              <a:gd name="connsiteY9265" fmla="*/ 381574 h 4343113"/>
              <a:gd name="connsiteX9266" fmla="*/ 3215022 w 6666359"/>
              <a:gd name="connsiteY9266" fmla="*/ 378350 h 4343113"/>
              <a:gd name="connsiteX9267" fmla="*/ 3208572 w 6666359"/>
              <a:gd name="connsiteY9267" fmla="*/ 381574 h 4343113"/>
              <a:gd name="connsiteX9268" fmla="*/ 3202122 w 6666359"/>
              <a:gd name="connsiteY9268" fmla="*/ 388024 h 4343113"/>
              <a:gd name="connsiteX9269" fmla="*/ 3198898 w 6666359"/>
              <a:gd name="connsiteY9269" fmla="*/ 394473 h 4343113"/>
              <a:gd name="connsiteX9270" fmla="*/ 3195673 w 6666359"/>
              <a:gd name="connsiteY9270" fmla="*/ 413821 h 4343113"/>
              <a:gd name="connsiteX9271" fmla="*/ 3202122 w 6666359"/>
              <a:gd name="connsiteY9271" fmla="*/ 423495 h 4343113"/>
              <a:gd name="connsiteX9272" fmla="*/ 3208572 w 6666359"/>
              <a:gd name="connsiteY9272" fmla="*/ 413821 h 4343113"/>
              <a:gd name="connsiteX9273" fmla="*/ 3221470 w 6666359"/>
              <a:gd name="connsiteY9273" fmla="*/ 420271 h 4343113"/>
              <a:gd name="connsiteX9274" fmla="*/ 3227920 w 6666359"/>
              <a:gd name="connsiteY9274" fmla="*/ 426720 h 4343113"/>
              <a:gd name="connsiteX9275" fmla="*/ 3231145 w 6666359"/>
              <a:gd name="connsiteY9275" fmla="*/ 439619 h 4343113"/>
              <a:gd name="connsiteX9276" fmla="*/ 3234369 w 6666359"/>
              <a:gd name="connsiteY9276" fmla="*/ 452518 h 4343113"/>
              <a:gd name="connsiteX9277" fmla="*/ 3231145 w 6666359"/>
              <a:gd name="connsiteY9277" fmla="*/ 458967 h 4343113"/>
              <a:gd name="connsiteX9278" fmla="*/ 3218246 w 6666359"/>
              <a:gd name="connsiteY9278" fmla="*/ 458967 h 4343113"/>
              <a:gd name="connsiteX9279" fmla="*/ 3208572 w 6666359"/>
              <a:gd name="connsiteY9279" fmla="*/ 458967 h 4343113"/>
              <a:gd name="connsiteX9280" fmla="*/ 3195673 w 6666359"/>
              <a:gd name="connsiteY9280" fmla="*/ 475091 h 4343113"/>
              <a:gd name="connsiteX9281" fmla="*/ 3182775 w 6666359"/>
              <a:gd name="connsiteY9281" fmla="*/ 468641 h 4343113"/>
              <a:gd name="connsiteX9282" fmla="*/ 3166651 w 6666359"/>
              <a:gd name="connsiteY9282" fmla="*/ 458967 h 4343113"/>
              <a:gd name="connsiteX9283" fmla="*/ 3156977 w 6666359"/>
              <a:gd name="connsiteY9283" fmla="*/ 449292 h 4343113"/>
              <a:gd name="connsiteX9284" fmla="*/ 3147302 w 6666359"/>
              <a:gd name="connsiteY9284" fmla="*/ 446068 h 4343113"/>
              <a:gd name="connsiteX9285" fmla="*/ 3144078 w 6666359"/>
              <a:gd name="connsiteY9285" fmla="*/ 452518 h 4343113"/>
              <a:gd name="connsiteX9286" fmla="*/ 3140854 w 6666359"/>
              <a:gd name="connsiteY9286" fmla="*/ 452518 h 4343113"/>
              <a:gd name="connsiteX9287" fmla="*/ 3137628 w 6666359"/>
              <a:gd name="connsiteY9287" fmla="*/ 449292 h 4343113"/>
              <a:gd name="connsiteX9288" fmla="*/ 3131179 w 6666359"/>
              <a:gd name="connsiteY9288" fmla="*/ 458967 h 4343113"/>
              <a:gd name="connsiteX9289" fmla="*/ 3115056 w 6666359"/>
              <a:gd name="connsiteY9289" fmla="*/ 475091 h 4343113"/>
              <a:gd name="connsiteX9290" fmla="*/ 3118280 w 6666359"/>
              <a:gd name="connsiteY9290" fmla="*/ 484765 h 4343113"/>
              <a:gd name="connsiteX9291" fmla="*/ 3124730 w 6666359"/>
              <a:gd name="connsiteY9291" fmla="*/ 487989 h 4343113"/>
              <a:gd name="connsiteX9292" fmla="*/ 3131179 w 6666359"/>
              <a:gd name="connsiteY9292" fmla="*/ 487989 h 4343113"/>
              <a:gd name="connsiteX9293" fmla="*/ 3134404 w 6666359"/>
              <a:gd name="connsiteY9293" fmla="*/ 494439 h 4343113"/>
              <a:gd name="connsiteX9294" fmla="*/ 3137628 w 6666359"/>
              <a:gd name="connsiteY9294" fmla="*/ 510562 h 4343113"/>
              <a:gd name="connsiteX9295" fmla="*/ 3140854 w 6666359"/>
              <a:gd name="connsiteY9295" fmla="*/ 517012 h 4343113"/>
              <a:gd name="connsiteX9296" fmla="*/ 3144078 w 6666359"/>
              <a:gd name="connsiteY9296" fmla="*/ 526686 h 4343113"/>
              <a:gd name="connsiteX9297" fmla="*/ 3144078 w 6666359"/>
              <a:gd name="connsiteY9297" fmla="*/ 536359 h 4343113"/>
              <a:gd name="connsiteX9298" fmla="*/ 3166651 w 6666359"/>
              <a:gd name="connsiteY9298" fmla="*/ 555707 h 4343113"/>
              <a:gd name="connsiteX9299" fmla="*/ 3185999 w 6666359"/>
              <a:gd name="connsiteY9299" fmla="*/ 571831 h 4343113"/>
              <a:gd name="connsiteX9300" fmla="*/ 3189224 w 6666359"/>
              <a:gd name="connsiteY9300" fmla="*/ 584730 h 4343113"/>
              <a:gd name="connsiteX9301" fmla="*/ 3189224 w 6666359"/>
              <a:gd name="connsiteY9301" fmla="*/ 594404 h 4343113"/>
              <a:gd name="connsiteX9302" fmla="*/ 3189224 w 6666359"/>
              <a:gd name="connsiteY9302" fmla="*/ 613752 h 4343113"/>
              <a:gd name="connsiteX9303" fmla="*/ 3195673 w 6666359"/>
              <a:gd name="connsiteY9303" fmla="*/ 604078 h 4343113"/>
              <a:gd name="connsiteX9304" fmla="*/ 3205347 w 6666359"/>
              <a:gd name="connsiteY9304" fmla="*/ 600854 h 4343113"/>
              <a:gd name="connsiteX9305" fmla="*/ 3205347 w 6666359"/>
              <a:gd name="connsiteY9305" fmla="*/ 610528 h 4343113"/>
              <a:gd name="connsiteX9306" fmla="*/ 3205347 w 6666359"/>
              <a:gd name="connsiteY9306" fmla="*/ 626651 h 4343113"/>
              <a:gd name="connsiteX9307" fmla="*/ 3202122 w 6666359"/>
              <a:gd name="connsiteY9307" fmla="*/ 649224 h 4343113"/>
              <a:gd name="connsiteX9308" fmla="*/ 3208572 w 6666359"/>
              <a:gd name="connsiteY9308" fmla="*/ 658898 h 4343113"/>
              <a:gd name="connsiteX9309" fmla="*/ 3208572 w 6666359"/>
              <a:gd name="connsiteY9309" fmla="*/ 671796 h 4343113"/>
              <a:gd name="connsiteX9310" fmla="*/ 3205347 w 6666359"/>
              <a:gd name="connsiteY9310" fmla="*/ 675022 h 4343113"/>
              <a:gd name="connsiteX9311" fmla="*/ 3202122 w 6666359"/>
              <a:gd name="connsiteY9311" fmla="*/ 675022 h 4343113"/>
              <a:gd name="connsiteX9312" fmla="*/ 3185999 w 6666359"/>
              <a:gd name="connsiteY9312" fmla="*/ 675022 h 4343113"/>
              <a:gd name="connsiteX9313" fmla="*/ 3173101 w 6666359"/>
              <a:gd name="connsiteY9313" fmla="*/ 675022 h 4343113"/>
              <a:gd name="connsiteX9314" fmla="*/ 3163426 w 6666359"/>
              <a:gd name="connsiteY9314" fmla="*/ 665348 h 4343113"/>
              <a:gd name="connsiteX9315" fmla="*/ 3150527 w 6666359"/>
              <a:gd name="connsiteY9315" fmla="*/ 645999 h 4343113"/>
              <a:gd name="connsiteX9316" fmla="*/ 3150527 w 6666359"/>
              <a:gd name="connsiteY9316" fmla="*/ 636325 h 4343113"/>
              <a:gd name="connsiteX9317" fmla="*/ 3147302 w 6666359"/>
              <a:gd name="connsiteY9317" fmla="*/ 626651 h 4343113"/>
              <a:gd name="connsiteX9318" fmla="*/ 3134404 w 6666359"/>
              <a:gd name="connsiteY9318" fmla="*/ 616977 h 4343113"/>
              <a:gd name="connsiteX9319" fmla="*/ 3121505 w 6666359"/>
              <a:gd name="connsiteY9319" fmla="*/ 623427 h 4343113"/>
              <a:gd name="connsiteX9320" fmla="*/ 3115056 w 6666359"/>
              <a:gd name="connsiteY9320" fmla="*/ 629875 h 4343113"/>
              <a:gd name="connsiteX9321" fmla="*/ 3092483 w 6666359"/>
              <a:gd name="connsiteY9321" fmla="*/ 639550 h 4343113"/>
              <a:gd name="connsiteX9322" fmla="*/ 3082809 w 6666359"/>
              <a:gd name="connsiteY9322" fmla="*/ 639550 h 4343113"/>
              <a:gd name="connsiteX9323" fmla="*/ 3079584 w 6666359"/>
              <a:gd name="connsiteY9323" fmla="*/ 639550 h 4343113"/>
              <a:gd name="connsiteX9324" fmla="*/ 3073134 w 6666359"/>
              <a:gd name="connsiteY9324" fmla="*/ 642775 h 4343113"/>
              <a:gd name="connsiteX9325" fmla="*/ 3069910 w 6666359"/>
              <a:gd name="connsiteY9325" fmla="*/ 645999 h 4343113"/>
              <a:gd name="connsiteX9326" fmla="*/ 3066686 w 6666359"/>
              <a:gd name="connsiteY9326" fmla="*/ 655673 h 4343113"/>
              <a:gd name="connsiteX9327" fmla="*/ 3060236 w 6666359"/>
              <a:gd name="connsiteY9327" fmla="*/ 665348 h 4343113"/>
              <a:gd name="connsiteX9328" fmla="*/ 3060236 w 6666359"/>
              <a:gd name="connsiteY9328" fmla="*/ 675022 h 4343113"/>
              <a:gd name="connsiteX9329" fmla="*/ 3076359 w 6666359"/>
              <a:gd name="connsiteY9329" fmla="*/ 681471 h 4343113"/>
              <a:gd name="connsiteX9330" fmla="*/ 3089258 w 6666359"/>
              <a:gd name="connsiteY9330" fmla="*/ 687920 h 4343113"/>
              <a:gd name="connsiteX9331" fmla="*/ 3098933 w 6666359"/>
              <a:gd name="connsiteY9331" fmla="*/ 687920 h 4343113"/>
              <a:gd name="connsiteX9332" fmla="*/ 3105381 w 6666359"/>
              <a:gd name="connsiteY9332" fmla="*/ 687920 h 4343113"/>
              <a:gd name="connsiteX9333" fmla="*/ 3115056 w 6666359"/>
              <a:gd name="connsiteY9333" fmla="*/ 681471 h 4343113"/>
              <a:gd name="connsiteX9334" fmla="*/ 3124730 w 6666359"/>
              <a:gd name="connsiteY9334" fmla="*/ 678246 h 4343113"/>
              <a:gd name="connsiteX9335" fmla="*/ 3140854 w 6666359"/>
              <a:gd name="connsiteY9335" fmla="*/ 681471 h 4343113"/>
              <a:gd name="connsiteX9336" fmla="*/ 3166651 w 6666359"/>
              <a:gd name="connsiteY9336" fmla="*/ 694369 h 4343113"/>
              <a:gd name="connsiteX9337" fmla="*/ 3195673 w 6666359"/>
              <a:gd name="connsiteY9337" fmla="*/ 697595 h 4343113"/>
              <a:gd name="connsiteX9338" fmla="*/ 3185999 w 6666359"/>
              <a:gd name="connsiteY9338" fmla="*/ 707269 h 4343113"/>
              <a:gd name="connsiteX9339" fmla="*/ 3176325 w 6666359"/>
              <a:gd name="connsiteY9339" fmla="*/ 713718 h 4343113"/>
              <a:gd name="connsiteX9340" fmla="*/ 3169875 w 6666359"/>
              <a:gd name="connsiteY9340" fmla="*/ 716943 h 4343113"/>
              <a:gd name="connsiteX9341" fmla="*/ 3156977 w 6666359"/>
              <a:gd name="connsiteY9341" fmla="*/ 733066 h 4343113"/>
              <a:gd name="connsiteX9342" fmla="*/ 3144078 w 6666359"/>
              <a:gd name="connsiteY9342" fmla="*/ 742740 h 4343113"/>
              <a:gd name="connsiteX9343" fmla="*/ 3140854 w 6666359"/>
              <a:gd name="connsiteY9343" fmla="*/ 739516 h 4343113"/>
              <a:gd name="connsiteX9344" fmla="*/ 3131179 w 6666359"/>
              <a:gd name="connsiteY9344" fmla="*/ 755639 h 4343113"/>
              <a:gd name="connsiteX9345" fmla="*/ 3127954 w 6666359"/>
              <a:gd name="connsiteY9345" fmla="*/ 762088 h 4343113"/>
              <a:gd name="connsiteX9346" fmla="*/ 3121505 w 6666359"/>
              <a:gd name="connsiteY9346" fmla="*/ 768537 h 4343113"/>
              <a:gd name="connsiteX9347" fmla="*/ 3108607 w 6666359"/>
              <a:gd name="connsiteY9347" fmla="*/ 781437 h 4343113"/>
              <a:gd name="connsiteX9348" fmla="*/ 3095707 w 6666359"/>
              <a:gd name="connsiteY9348" fmla="*/ 787886 h 4343113"/>
              <a:gd name="connsiteX9349" fmla="*/ 3066686 w 6666359"/>
              <a:gd name="connsiteY9349" fmla="*/ 797560 h 4343113"/>
              <a:gd name="connsiteX9350" fmla="*/ 3060236 w 6666359"/>
              <a:gd name="connsiteY9350" fmla="*/ 794335 h 4343113"/>
              <a:gd name="connsiteX9351" fmla="*/ 3053786 w 6666359"/>
              <a:gd name="connsiteY9351" fmla="*/ 804009 h 4343113"/>
              <a:gd name="connsiteX9352" fmla="*/ 3047337 w 6666359"/>
              <a:gd name="connsiteY9352" fmla="*/ 804009 h 4343113"/>
              <a:gd name="connsiteX9353" fmla="*/ 3040888 w 6666359"/>
              <a:gd name="connsiteY9353" fmla="*/ 807234 h 4343113"/>
              <a:gd name="connsiteX9354" fmla="*/ 3011865 w 6666359"/>
              <a:gd name="connsiteY9354" fmla="*/ 816908 h 4343113"/>
              <a:gd name="connsiteX9355" fmla="*/ 2998967 w 6666359"/>
              <a:gd name="connsiteY9355" fmla="*/ 820133 h 4343113"/>
              <a:gd name="connsiteX9356" fmla="*/ 2986068 w 6666359"/>
              <a:gd name="connsiteY9356" fmla="*/ 816908 h 4343113"/>
              <a:gd name="connsiteX9357" fmla="*/ 2979618 w 6666359"/>
              <a:gd name="connsiteY9357" fmla="*/ 804009 h 4343113"/>
              <a:gd name="connsiteX9358" fmla="*/ 2969944 w 6666359"/>
              <a:gd name="connsiteY9358" fmla="*/ 787886 h 4343113"/>
              <a:gd name="connsiteX9359" fmla="*/ 2969944 w 6666359"/>
              <a:gd name="connsiteY9359" fmla="*/ 791110 h 4343113"/>
              <a:gd name="connsiteX9360" fmla="*/ 2969944 w 6666359"/>
              <a:gd name="connsiteY9360" fmla="*/ 800784 h 4343113"/>
              <a:gd name="connsiteX9361" fmla="*/ 2973169 w 6666359"/>
              <a:gd name="connsiteY9361" fmla="*/ 829807 h 4343113"/>
              <a:gd name="connsiteX9362" fmla="*/ 2960271 w 6666359"/>
              <a:gd name="connsiteY9362" fmla="*/ 842706 h 4343113"/>
              <a:gd name="connsiteX9363" fmla="*/ 2953821 w 6666359"/>
              <a:gd name="connsiteY9363" fmla="*/ 855605 h 4343113"/>
              <a:gd name="connsiteX9364" fmla="*/ 2950597 w 6666359"/>
              <a:gd name="connsiteY9364" fmla="*/ 868504 h 4343113"/>
              <a:gd name="connsiteX9365" fmla="*/ 2944147 w 6666359"/>
              <a:gd name="connsiteY9365" fmla="*/ 878178 h 4343113"/>
              <a:gd name="connsiteX9366" fmla="*/ 2937697 w 6666359"/>
              <a:gd name="connsiteY9366" fmla="*/ 887852 h 4343113"/>
              <a:gd name="connsiteX9367" fmla="*/ 2931248 w 6666359"/>
              <a:gd name="connsiteY9367" fmla="*/ 900751 h 4343113"/>
              <a:gd name="connsiteX9368" fmla="*/ 2918350 w 6666359"/>
              <a:gd name="connsiteY9368" fmla="*/ 913649 h 4343113"/>
              <a:gd name="connsiteX9369" fmla="*/ 2908676 w 6666359"/>
              <a:gd name="connsiteY9369" fmla="*/ 920099 h 4343113"/>
              <a:gd name="connsiteX9370" fmla="*/ 2905450 w 6666359"/>
              <a:gd name="connsiteY9370" fmla="*/ 920099 h 4343113"/>
              <a:gd name="connsiteX9371" fmla="*/ 2899001 w 6666359"/>
              <a:gd name="connsiteY9371" fmla="*/ 929773 h 4343113"/>
              <a:gd name="connsiteX9372" fmla="*/ 2889327 w 6666359"/>
              <a:gd name="connsiteY9372" fmla="*/ 939447 h 4343113"/>
              <a:gd name="connsiteX9373" fmla="*/ 2869979 w 6666359"/>
              <a:gd name="connsiteY9373" fmla="*/ 949120 h 4343113"/>
              <a:gd name="connsiteX9374" fmla="*/ 2857080 w 6666359"/>
              <a:gd name="connsiteY9374" fmla="*/ 942672 h 4343113"/>
              <a:gd name="connsiteX9375" fmla="*/ 2844182 w 6666359"/>
              <a:gd name="connsiteY9375" fmla="*/ 952346 h 4343113"/>
              <a:gd name="connsiteX9376" fmla="*/ 2824833 w 6666359"/>
              <a:gd name="connsiteY9376" fmla="*/ 958795 h 4343113"/>
              <a:gd name="connsiteX9377" fmla="*/ 2815159 w 6666359"/>
              <a:gd name="connsiteY9377" fmla="*/ 965244 h 4343113"/>
              <a:gd name="connsiteX9378" fmla="*/ 2805485 w 6666359"/>
              <a:gd name="connsiteY9378" fmla="*/ 981367 h 4343113"/>
              <a:gd name="connsiteX9379" fmla="*/ 2795811 w 6666359"/>
              <a:gd name="connsiteY9379" fmla="*/ 987817 h 4343113"/>
              <a:gd name="connsiteX9380" fmla="*/ 2792587 w 6666359"/>
              <a:gd name="connsiteY9380" fmla="*/ 981367 h 4343113"/>
              <a:gd name="connsiteX9381" fmla="*/ 2786137 w 6666359"/>
              <a:gd name="connsiteY9381" fmla="*/ 984593 h 4343113"/>
              <a:gd name="connsiteX9382" fmla="*/ 2782912 w 6666359"/>
              <a:gd name="connsiteY9382" fmla="*/ 997491 h 4343113"/>
              <a:gd name="connsiteX9383" fmla="*/ 2789361 w 6666359"/>
              <a:gd name="connsiteY9383" fmla="*/ 1003940 h 4343113"/>
              <a:gd name="connsiteX9384" fmla="*/ 2792587 w 6666359"/>
              <a:gd name="connsiteY9384" fmla="*/ 1010390 h 4343113"/>
              <a:gd name="connsiteX9385" fmla="*/ 2795811 w 6666359"/>
              <a:gd name="connsiteY9385" fmla="*/ 1023288 h 4343113"/>
              <a:gd name="connsiteX9386" fmla="*/ 2786137 w 6666359"/>
              <a:gd name="connsiteY9386" fmla="*/ 1020064 h 4343113"/>
              <a:gd name="connsiteX9387" fmla="*/ 2776463 w 6666359"/>
              <a:gd name="connsiteY9387" fmla="*/ 1023288 h 4343113"/>
              <a:gd name="connsiteX9388" fmla="*/ 2770014 w 6666359"/>
              <a:gd name="connsiteY9388" fmla="*/ 1026514 h 4343113"/>
              <a:gd name="connsiteX9389" fmla="*/ 2782912 w 6666359"/>
              <a:gd name="connsiteY9389" fmla="*/ 1032963 h 4343113"/>
              <a:gd name="connsiteX9390" fmla="*/ 2792587 w 6666359"/>
              <a:gd name="connsiteY9390" fmla="*/ 1032963 h 4343113"/>
              <a:gd name="connsiteX9391" fmla="*/ 2792587 w 6666359"/>
              <a:gd name="connsiteY9391" fmla="*/ 1055535 h 4343113"/>
              <a:gd name="connsiteX9392" fmla="*/ 2786137 w 6666359"/>
              <a:gd name="connsiteY9392" fmla="*/ 1068435 h 4343113"/>
              <a:gd name="connsiteX9393" fmla="*/ 2753890 w 6666359"/>
              <a:gd name="connsiteY9393" fmla="*/ 1110356 h 4343113"/>
              <a:gd name="connsiteX9394" fmla="*/ 2750665 w 6666359"/>
              <a:gd name="connsiteY9394" fmla="*/ 1113580 h 4343113"/>
              <a:gd name="connsiteX9395" fmla="*/ 2753890 w 6666359"/>
              <a:gd name="connsiteY9395" fmla="*/ 1116805 h 4343113"/>
              <a:gd name="connsiteX9396" fmla="*/ 2753890 w 6666359"/>
              <a:gd name="connsiteY9396" fmla="*/ 1123255 h 4343113"/>
              <a:gd name="connsiteX9397" fmla="*/ 2757114 w 6666359"/>
              <a:gd name="connsiteY9397" fmla="*/ 1136153 h 4343113"/>
              <a:gd name="connsiteX9398" fmla="*/ 2753890 w 6666359"/>
              <a:gd name="connsiteY9398" fmla="*/ 1149052 h 4343113"/>
              <a:gd name="connsiteX9399" fmla="*/ 2753890 w 6666359"/>
              <a:gd name="connsiteY9399" fmla="*/ 1152277 h 4343113"/>
              <a:gd name="connsiteX9400" fmla="*/ 2747441 w 6666359"/>
              <a:gd name="connsiteY9400" fmla="*/ 1165176 h 4343113"/>
              <a:gd name="connsiteX9401" fmla="*/ 2744216 w 6666359"/>
              <a:gd name="connsiteY9401" fmla="*/ 1178074 h 4343113"/>
              <a:gd name="connsiteX9402" fmla="*/ 2744216 w 6666359"/>
              <a:gd name="connsiteY9402" fmla="*/ 1194197 h 4343113"/>
              <a:gd name="connsiteX9403" fmla="*/ 2744216 w 6666359"/>
              <a:gd name="connsiteY9403" fmla="*/ 1197423 h 4343113"/>
              <a:gd name="connsiteX9404" fmla="*/ 2740991 w 6666359"/>
              <a:gd name="connsiteY9404" fmla="*/ 1203871 h 4343113"/>
              <a:gd name="connsiteX9405" fmla="*/ 2734542 w 6666359"/>
              <a:gd name="connsiteY9405" fmla="*/ 1207097 h 4343113"/>
              <a:gd name="connsiteX9406" fmla="*/ 2737767 w 6666359"/>
              <a:gd name="connsiteY9406" fmla="*/ 1219995 h 4343113"/>
              <a:gd name="connsiteX9407" fmla="*/ 2731317 w 6666359"/>
              <a:gd name="connsiteY9407" fmla="*/ 1223220 h 4343113"/>
              <a:gd name="connsiteX9408" fmla="*/ 2721643 w 6666359"/>
              <a:gd name="connsiteY9408" fmla="*/ 1219995 h 4343113"/>
              <a:gd name="connsiteX9409" fmla="*/ 2711969 w 6666359"/>
              <a:gd name="connsiteY9409" fmla="*/ 1219995 h 4343113"/>
              <a:gd name="connsiteX9410" fmla="*/ 2705520 w 6666359"/>
              <a:gd name="connsiteY9410" fmla="*/ 1226445 h 4343113"/>
              <a:gd name="connsiteX9411" fmla="*/ 2699070 w 6666359"/>
              <a:gd name="connsiteY9411" fmla="*/ 1226445 h 4343113"/>
              <a:gd name="connsiteX9412" fmla="*/ 2692620 w 6666359"/>
              <a:gd name="connsiteY9412" fmla="*/ 1219995 h 4343113"/>
              <a:gd name="connsiteX9413" fmla="*/ 2692620 w 6666359"/>
              <a:gd name="connsiteY9413" fmla="*/ 1207097 h 4343113"/>
              <a:gd name="connsiteX9414" fmla="*/ 2679722 w 6666359"/>
              <a:gd name="connsiteY9414" fmla="*/ 1203871 h 4343113"/>
              <a:gd name="connsiteX9415" fmla="*/ 2673273 w 6666359"/>
              <a:gd name="connsiteY9415" fmla="*/ 1200647 h 4343113"/>
              <a:gd name="connsiteX9416" fmla="*/ 2670048 w 6666359"/>
              <a:gd name="connsiteY9416" fmla="*/ 1190973 h 4343113"/>
              <a:gd name="connsiteX9417" fmla="*/ 2663599 w 6666359"/>
              <a:gd name="connsiteY9417" fmla="*/ 1178074 h 4343113"/>
              <a:gd name="connsiteX9418" fmla="*/ 2650699 w 6666359"/>
              <a:gd name="connsiteY9418" fmla="*/ 1184523 h 4343113"/>
              <a:gd name="connsiteX9419" fmla="*/ 2631352 w 6666359"/>
              <a:gd name="connsiteY9419" fmla="*/ 1187748 h 4343113"/>
              <a:gd name="connsiteX9420" fmla="*/ 2628127 w 6666359"/>
              <a:gd name="connsiteY9420" fmla="*/ 1187748 h 4343113"/>
              <a:gd name="connsiteX9421" fmla="*/ 2624902 w 6666359"/>
              <a:gd name="connsiteY9421" fmla="*/ 1184523 h 4343113"/>
              <a:gd name="connsiteX9422" fmla="*/ 2618452 w 6666359"/>
              <a:gd name="connsiteY9422" fmla="*/ 1178074 h 4343113"/>
              <a:gd name="connsiteX9423" fmla="*/ 2612004 w 6666359"/>
              <a:gd name="connsiteY9423" fmla="*/ 1165176 h 4343113"/>
              <a:gd name="connsiteX9424" fmla="*/ 2602330 w 6666359"/>
              <a:gd name="connsiteY9424" fmla="*/ 1155501 h 4343113"/>
              <a:gd name="connsiteX9425" fmla="*/ 2602330 w 6666359"/>
              <a:gd name="connsiteY9425" fmla="*/ 1149052 h 4343113"/>
              <a:gd name="connsiteX9426" fmla="*/ 2592655 w 6666359"/>
              <a:gd name="connsiteY9426" fmla="*/ 1136153 h 4343113"/>
              <a:gd name="connsiteX9427" fmla="*/ 2579757 w 6666359"/>
              <a:gd name="connsiteY9427" fmla="*/ 1113580 h 4343113"/>
              <a:gd name="connsiteX9428" fmla="*/ 2579757 w 6666359"/>
              <a:gd name="connsiteY9428" fmla="*/ 1103906 h 4343113"/>
              <a:gd name="connsiteX9429" fmla="*/ 2576531 w 6666359"/>
              <a:gd name="connsiteY9429" fmla="*/ 1094232 h 4343113"/>
              <a:gd name="connsiteX9430" fmla="*/ 2563633 w 6666359"/>
              <a:gd name="connsiteY9430" fmla="*/ 1071659 h 4343113"/>
              <a:gd name="connsiteX9431" fmla="*/ 2560408 w 6666359"/>
              <a:gd name="connsiteY9431" fmla="*/ 1071659 h 4343113"/>
              <a:gd name="connsiteX9432" fmla="*/ 2553959 w 6666359"/>
              <a:gd name="connsiteY9432" fmla="*/ 1058761 h 4343113"/>
              <a:gd name="connsiteX9433" fmla="*/ 2544285 w 6666359"/>
              <a:gd name="connsiteY9433" fmla="*/ 1036188 h 4343113"/>
              <a:gd name="connsiteX9434" fmla="*/ 2528162 w 6666359"/>
              <a:gd name="connsiteY9434" fmla="*/ 981367 h 4343113"/>
              <a:gd name="connsiteX9435" fmla="*/ 2524937 w 6666359"/>
              <a:gd name="connsiteY9435" fmla="*/ 958795 h 4343113"/>
              <a:gd name="connsiteX9436" fmla="*/ 2515263 w 6666359"/>
              <a:gd name="connsiteY9436" fmla="*/ 952346 h 4343113"/>
              <a:gd name="connsiteX9437" fmla="*/ 2505589 w 6666359"/>
              <a:gd name="connsiteY9437" fmla="*/ 929773 h 4343113"/>
              <a:gd name="connsiteX9438" fmla="*/ 2508813 w 6666359"/>
              <a:gd name="connsiteY9438" fmla="*/ 910425 h 4343113"/>
              <a:gd name="connsiteX9439" fmla="*/ 2521712 w 6666359"/>
              <a:gd name="connsiteY9439" fmla="*/ 900751 h 4343113"/>
              <a:gd name="connsiteX9440" fmla="*/ 2499139 w 6666359"/>
              <a:gd name="connsiteY9440" fmla="*/ 878178 h 4343113"/>
              <a:gd name="connsiteX9441" fmla="*/ 2502363 w 6666359"/>
              <a:gd name="connsiteY9441" fmla="*/ 855605 h 4343113"/>
              <a:gd name="connsiteX9442" fmla="*/ 2505589 w 6666359"/>
              <a:gd name="connsiteY9442" fmla="*/ 836257 h 4343113"/>
              <a:gd name="connsiteX9443" fmla="*/ 2512038 w 6666359"/>
              <a:gd name="connsiteY9443" fmla="*/ 826583 h 4343113"/>
              <a:gd name="connsiteX9444" fmla="*/ 2508813 w 6666359"/>
              <a:gd name="connsiteY9444" fmla="*/ 813684 h 4343113"/>
              <a:gd name="connsiteX9445" fmla="*/ 2518487 w 6666359"/>
              <a:gd name="connsiteY9445" fmla="*/ 813684 h 4343113"/>
              <a:gd name="connsiteX9446" fmla="*/ 2524937 w 6666359"/>
              <a:gd name="connsiteY9446" fmla="*/ 800784 h 4343113"/>
              <a:gd name="connsiteX9447" fmla="*/ 2537836 w 6666359"/>
              <a:gd name="connsiteY9447" fmla="*/ 791110 h 4343113"/>
              <a:gd name="connsiteX9448" fmla="*/ 2557184 w 6666359"/>
              <a:gd name="connsiteY9448" fmla="*/ 791110 h 4343113"/>
              <a:gd name="connsiteX9449" fmla="*/ 2563633 w 6666359"/>
              <a:gd name="connsiteY9449" fmla="*/ 787886 h 4343113"/>
              <a:gd name="connsiteX9450" fmla="*/ 2570083 w 6666359"/>
              <a:gd name="connsiteY9450" fmla="*/ 774987 h 4343113"/>
              <a:gd name="connsiteX9451" fmla="*/ 2563633 w 6666359"/>
              <a:gd name="connsiteY9451" fmla="*/ 778211 h 4343113"/>
              <a:gd name="connsiteX9452" fmla="*/ 2557184 w 6666359"/>
              <a:gd name="connsiteY9452" fmla="*/ 778211 h 4343113"/>
              <a:gd name="connsiteX9453" fmla="*/ 2560408 w 6666359"/>
              <a:gd name="connsiteY9453" fmla="*/ 752414 h 4343113"/>
              <a:gd name="connsiteX9454" fmla="*/ 2566858 w 6666359"/>
              <a:gd name="connsiteY9454" fmla="*/ 729841 h 4343113"/>
              <a:gd name="connsiteX9455" fmla="*/ 2573307 w 6666359"/>
              <a:gd name="connsiteY9455" fmla="*/ 716943 h 4343113"/>
              <a:gd name="connsiteX9456" fmla="*/ 2579757 w 6666359"/>
              <a:gd name="connsiteY9456" fmla="*/ 716943 h 4343113"/>
              <a:gd name="connsiteX9457" fmla="*/ 2579757 w 6666359"/>
              <a:gd name="connsiteY9457" fmla="*/ 700819 h 4343113"/>
              <a:gd name="connsiteX9458" fmla="*/ 2570083 w 6666359"/>
              <a:gd name="connsiteY9458" fmla="*/ 704043 h 4343113"/>
              <a:gd name="connsiteX9459" fmla="*/ 2560408 w 6666359"/>
              <a:gd name="connsiteY9459" fmla="*/ 704043 h 4343113"/>
              <a:gd name="connsiteX9460" fmla="*/ 2550734 w 6666359"/>
              <a:gd name="connsiteY9460" fmla="*/ 704043 h 4343113"/>
              <a:gd name="connsiteX9461" fmla="*/ 2534611 w 6666359"/>
              <a:gd name="connsiteY9461" fmla="*/ 697595 h 4343113"/>
              <a:gd name="connsiteX9462" fmla="*/ 2515263 w 6666359"/>
              <a:gd name="connsiteY9462" fmla="*/ 681471 h 4343113"/>
              <a:gd name="connsiteX9463" fmla="*/ 2499139 w 6666359"/>
              <a:gd name="connsiteY9463" fmla="*/ 675022 h 4343113"/>
              <a:gd name="connsiteX9464" fmla="*/ 2486240 w 6666359"/>
              <a:gd name="connsiteY9464" fmla="*/ 658898 h 4343113"/>
              <a:gd name="connsiteX9465" fmla="*/ 2495915 w 6666359"/>
              <a:gd name="connsiteY9465" fmla="*/ 649224 h 4343113"/>
              <a:gd name="connsiteX9466" fmla="*/ 2508813 w 6666359"/>
              <a:gd name="connsiteY9466" fmla="*/ 649224 h 4343113"/>
              <a:gd name="connsiteX9467" fmla="*/ 2521712 w 6666359"/>
              <a:gd name="connsiteY9467" fmla="*/ 652449 h 4343113"/>
              <a:gd name="connsiteX9468" fmla="*/ 2537836 w 6666359"/>
              <a:gd name="connsiteY9468" fmla="*/ 662122 h 4343113"/>
              <a:gd name="connsiteX9469" fmla="*/ 2550734 w 6666359"/>
              <a:gd name="connsiteY9469" fmla="*/ 671796 h 4343113"/>
              <a:gd name="connsiteX9470" fmla="*/ 2553959 w 6666359"/>
              <a:gd name="connsiteY9470" fmla="*/ 671796 h 4343113"/>
              <a:gd name="connsiteX9471" fmla="*/ 2557184 w 6666359"/>
              <a:gd name="connsiteY9471" fmla="*/ 665348 h 4343113"/>
              <a:gd name="connsiteX9472" fmla="*/ 2560408 w 6666359"/>
              <a:gd name="connsiteY9472" fmla="*/ 665348 h 4343113"/>
              <a:gd name="connsiteX9473" fmla="*/ 2570083 w 6666359"/>
              <a:gd name="connsiteY9473" fmla="*/ 662122 h 4343113"/>
              <a:gd name="connsiteX9474" fmla="*/ 2566858 w 6666359"/>
              <a:gd name="connsiteY9474" fmla="*/ 649224 h 4343113"/>
              <a:gd name="connsiteX9475" fmla="*/ 2544285 w 6666359"/>
              <a:gd name="connsiteY9475" fmla="*/ 633101 h 4343113"/>
              <a:gd name="connsiteX9476" fmla="*/ 2557184 w 6666359"/>
              <a:gd name="connsiteY9476" fmla="*/ 639550 h 4343113"/>
              <a:gd name="connsiteX9477" fmla="*/ 2566858 w 6666359"/>
              <a:gd name="connsiteY9477" fmla="*/ 633101 h 4343113"/>
              <a:gd name="connsiteX9478" fmla="*/ 2531386 w 6666359"/>
              <a:gd name="connsiteY9478" fmla="*/ 626651 h 4343113"/>
              <a:gd name="connsiteX9479" fmla="*/ 2531386 w 6666359"/>
              <a:gd name="connsiteY9479" fmla="*/ 610528 h 4343113"/>
              <a:gd name="connsiteX9480" fmla="*/ 2528162 w 6666359"/>
              <a:gd name="connsiteY9480" fmla="*/ 610528 h 4343113"/>
              <a:gd name="connsiteX9481" fmla="*/ 2521712 w 6666359"/>
              <a:gd name="connsiteY9481" fmla="*/ 607303 h 4343113"/>
              <a:gd name="connsiteX9482" fmla="*/ 2531386 w 6666359"/>
              <a:gd name="connsiteY9482" fmla="*/ 597628 h 4343113"/>
              <a:gd name="connsiteX9483" fmla="*/ 2521712 w 6666359"/>
              <a:gd name="connsiteY9483" fmla="*/ 587954 h 4343113"/>
              <a:gd name="connsiteX9484" fmla="*/ 2515263 w 6666359"/>
              <a:gd name="connsiteY9484" fmla="*/ 587954 h 4343113"/>
              <a:gd name="connsiteX9485" fmla="*/ 2512038 w 6666359"/>
              <a:gd name="connsiteY9485" fmla="*/ 578280 h 4343113"/>
              <a:gd name="connsiteX9486" fmla="*/ 2505589 w 6666359"/>
              <a:gd name="connsiteY9486" fmla="*/ 584730 h 4343113"/>
              <a:gd name="connsiteX9487" fmla="*/ 2499139 w 6666359"/>
              <a:gd name="connsiteY9487" fmla="*/ 597628 h 4343113"/>
              <a:gd name="connsiteX9488" fmla="*/ 2492690 w 6666359"/>
              <a:gd name="connsiteY9488" fmla="*/ 610528 h 4343113"/>
              <a:gd name="connsiteX9489" fmla="*/ 2486240 w 6666359"/>
              <a:gd name="connsiteY9489" fmla="*/ 613752 h 4343113"/>
              <a:gd name="connsiteX9490" fmla="*/ 2470118 w 6666359"/>
              <a:gd name="connsiteY9490" fmla="*/ 610528 h 4343113"/>
              <a:gd name="connsiteX9491" fmla="*/ 2457218 w 6666359"/>
              <a:gd name="connsiteY9491" fmla="*/ 591180 h 4343113"/>
              <a:gd name="connsiteX9492" fmla="*/ 2460443 w 6666359"/>
              <a:gd name="connsiteY9492" fmla="*/ 584730 h 4343113"/>
              <a:gd name="connsiteX9493" fmla="*/ 2463668 w 6666359"/>
              <a:gd name="connsiteY9493" fmla="*/ 568607 h 4343113"/>
              <a:gd name="connsiteX9494" fmla="*/ 2473342 w 6666359"/>
              <a:gd name="connsiteY9494" fmla="*/ 552483 h 4343113"/>
              <a:gd name="connsiteX9495" fmla="*/ 2466892 w 6666359"/>
              <a:gd name="connsiteY9495" fmla="*/ 529910 h 4343113"/>
              <a:gd name="connsiteX9496" fmla="*/ 2476566 w 6666359"/>
              <a:gd name="connsiteY9496" fmla="*/ 533135 h 4343113"/>
              <a:gd name="connsiteX9497" fmla="*/ 2479791 w 6666359"/>
              <a:gd name="connsiteY9497" fmla="*/ 526686 h 4343113"/>
              <a:gd name="connsiteX9498" fmla="*/ 2479791 w 6666359"/>
              <a:gd name="connsiteY9498" fmla="*/ 507337 h 4343113"/>
              <a:gd name="connsiteX9499" fmla="*/ 2486240 w 6666359"/>
              <a:gd name="connsiteY9499" fmla="*/ 507337 h 4343113"/>
              <a:gd name="connsiteX9500" fmla="*/ 2476566 w 6666359"/>
              <a:gd name="connsiteY9500" fmla="*/ 494439 h 4343113"/>
              <a:gd name="connsiteX9501" fmla="*/ 2466892 w 6666359"/>
              <a:gd name="connsiteY9501" fmla="*/ 487989 h 4343113"/>
              <a:gd name="connsiteX9502" fmla="*/ 2463668 w 6666359"/>
              <a:gd name="connsiteY9502" fmla="*/ 455742 h 4343113"/>
              <a:gd name="connsiteX9503" fmla="*/ 2453994 w 6666359"/>
              <a:gd name="connsiteY9503" fmla="*/ 442844 h 4343113"/>
              <a:gd name="connsiteX9504" fmla="*/ 2450769 w 6666359"/>
              <a:gd name="connsiteY9504" fmla="*/ 388024 h 4343113"/>
              <a:gd name="connsiteX9505" fmla="*/ 2450769 w 6666359"/>
              <a:gd name="connsiteY9505" fmla="*/ 371900 h 4343113"/>
              <a:gd name="connsiteX9506" fmla="*/ 2444319 w 6666359"/>
              <a:gd name="connsiteY9506" fmla="*/ 371900 h 4343113"/>
              <a:gd name="connsiteX9507" fmla="*/ 2434645 w 6666359"/>
              <a:gd name="connsiteY9507" fmla="*/ 359002 h 4343113"/>
              <a:gd name="connsiteX9508" fmla="*/ 2431421 w 6666359"/>
              <a:gd name="connsiteY9508" fmla="*/ 346103 h 4343113"/>
              <a:gd name="connsiteX9509" fmla="*/ 2424971 w 6666359"/>
              <a:gd name="connsiteY9509" fmla="*/ 339653 h 4343113"/>
              <a:gd name="connsiteX9510" fmla="*/ 2399174 w 6666359"/>
              <a:gd name="connsiteY9510" fmla="*/ 307406 h 4343113"/>
              <a:gd name="connsiteX9511" fmla="*/ 2405623 w 6666359"/>
              <a:gd name="connsiteY9511" fmla="*/ 297732 h 4343113"/>
              <a:gd name="connsiteX9512" fmla="*/ 2405623 w 6666359"/>
              <a:gd name="connsiteY9512" fmla="*/ 284834 h 4343113"/>
              <a:gd name="connsiteX9513" fmla="*/ 2395950 w 6666359"/>
              <a:gd name="connsiteY9513" fmla="*/ 271935 h 4343113"/>
              <a:gd name="connsiteX9514" fmla="*/ 2383050 w 6666359"/>
              <a:gd name="connsiteY9514" fmla="*/ 262261 h 4343113"/>
              <a:gd name="connsiteX9515" fmla="*/ 2366927 w 6666359"/>
              <a:gd name="connsiteY9515" fmla="*/ 249362 h 4343113"/>
              <a:gd name="connsiteX9516" fmla="*/ 2312107 w 6666359"/>
              <a:gd name="connsiteY9516" fmla="*/ 223564 h 4343113"/>
              <a:gd name="connsiteX9517" fmla="*/ 2289535 w 6666359"/>
              <a:gd name="connsiteY9517" fmla="*/ 213890 h 4343113"/>
              <a:gd name="connsiteX9518" fmla="*/ 2286309 w 6666359"/>
              <a:gd name="connsiteY9518" fmla="*/ 230014 h 4343113"/>
              <a:gd name="connsiteX9519" fmla="*/ 2279861 w 6666359"/>
              <a:gd name="connsiteY9519" fmla="*/ 236463 h 4343113"/>
              <a:gd name="connsiteX9520" fmla="*/ 2273411 w 6666359"/>
              <a:gd name="connsiteY9520" fmla="*/ 226788 h 4343113"/>
              <a:gd name="connsiteX9521" fmla="*/ 2266961 w 6666359"/>
              <a:gd name="connsiteY9521" fmla="*/ 226788 h 4343113"/>
              <a:gd name="connsiteX9522" fmla="*/ 2237939 w 6666359"/>
              <a:gd name="connsiteY9522" fmla="*/ 236463 h 4343113"/>
              <a:gd name="connsiteX9523" fmla="*/ 2225040 w 6666359"/>
              <a:gd name="connsiteY9523" fmla="*/ 255811 h 4343113"/>
              <a:gd name="connsiteX9524" fmla="*/ 2215367 w 6666359"/>
              <a:gd name="connsiteY9524" fmla="*/ 249362 h 4343113"/>
              <a:gd name="connsiteX9525" fmla="*/ 2186344 w 6666359"/>
              <a:gd name="connsiteY9525" fmla="*/ 239688 h 4343113"/>
              <a:gd name="connsiteX9526" fmla="*/ 2173446 w 6666359"/>
              <a:gd name="connsiteY9526" fmla="*/ 230014 h 4343113"/>
              <a:gd name="connsiteX9527" fmla="*/ 2163772 w 6666359"/>
              <a:gd name="connsiteY9527" fmla="*/ 217114 h 4343113"/>
              <a:gd name="connsiteX9528" fmla="*/ 2150872 w 6666359"/>
              <a:gd name="connsiteY9528" fmla="*/ 194542 h 4343113"/>
              <a:gd name="connsiteX9529" fmla="*/ 2134749 w 6666359"/>
              <a:gd name="connsiteY9529" fmla="*/ 175194 h 4343113"/>
              <a:gd name="connsiteX9530" fmla="*/ 2128299 w 6666359"/>
              <a:gd name="connsiteY9530" fmla="*/ 168744 h 4343113"/>
              <a:gd name="connsiteX9531" fmla="*/ 2118625 w 6666359"/>
              <a:gd name="connsiteY9531" fmla="*/ 155846 h 4343113"/>
              <a:gd name="connsiteX9532" fmla="*/ 2121850 w 6666359"/>
              <a:gd name="connsiteY9532" fmla="*/ 142947 h 4343113"/>
              <a:gd name="connsiteX9533" fmla="*/ 2131525 w 6666359"/>
              <a:gd name="connsiteY9533" fmla="*/ 133273 h 4343113"/>
              <a:gd name="connsiteX9534" fmla="*/ 2147648 w 6666359"/>
              <a:gd name="connsiteY9534" fmla="*/ 130048 h 4343113"/>
              <a:gd name="connsiteX9535" fmla="*/ 2157322 w 6666359"/>
              <a:gd name="connsiteY9535" fmla="*/ 133273 h 4343113"/>
              <a:gd name="connsiteX9536" fmla="*/ 2166996 w 6666359"/>
              <a:gd name="connsiteY9536" fmla="*/ 107475 h 4343113"/>
              <a:gd name="connsiteX9537" fmla="*/ 2137973 w 6666359"/>
              <a:gd name="connsiteY9537" fmla="*/ 88127 h 4343113"/>
              <a:gd name="connsiteX9538" fmla="*/ 2134749 w 6666359"/>
              <a:gd name="connsiteY9538" fmla="*/ 84902 h 4343113"/>
              <a:gd name="connsiteX9539" fmla="*/ 2134749 w 6666359"/>
              <a:gd name="connsiteY9539" fmla="*/ 75228 h 4343113"/>
              <a:gd name="connsiteX9540" fmla="*/ 2128299 w 6666359"/>
              <a:gd name="connsiteY9540" fmla="*/ 75228 h 4343113"/>
              <a:gd name="connsiteX9541" fmla="*/ 2115401 w 6666359"/>
              <a:gd name="connsiteY9541" fmla="*/ 72004 h 4343113"/>
              <a:gd name="connsiteX9542" fmla="*/ 2099278 w 6666359"/>
              <a:gd name="connsiteY9542" fmla="*/ 59105 h 4343113"/>
              <a:gd name="connsiteX9543" fmla="*/ 2083154 w 6666359"/>
              <a:gd name="connsiteY9543" fmla="*/ 36531 h 4343113"/>
              <a:gd name="connsiteX9544" fmla="*/ 1767127 w 6666359"/>
              <a:gd name="connsiteY9544" fmla="*/ 0 h 4343113"/>
              <a:gd name="connsiteX9545" fmla="*/ 2040922 w 6666359"/>
              <a:gd name="connsiteY9545" fmla="*/ 0 h 4343113"/>
              <a:gd name="connsiteX9546" fmla="*/ 2038007 w 6666359"/>
              <a:gd name="connsiteY9546" fmla="*/ 20409 h 4343113"/>
              <a:gd name="connsiteX9547" fmla="*/ 2025108 w 6666359"/>
              <a:gd name="connsiteY9547" fmla="*/ 42982 h 4343113"/>
              <a:gd name="connsiteX9548" fmla="*/ 2015434 w 6666359"/>
              <a:gd name="connsiteY9548" fmla="*/ 55880 h 4343113"/>
              <a:gd name="connsiteX9549" fmla="*/ 1986411 w 6666359"/>
              <a:gd name="connsiteY9549" fmla="*/ 59106 h 4343113"/>
              <a:gd name="connsiteX9550" fmla="*/ 1973513 w 6666359"/>
              <a:gd name="connsiteY9550" fmla="*/ 55880 h 4343113"/>
              <a:gd name="connsiteX9551" fmla="*/ 1963839 w 6666359"/>
              <a:gd name="connsiteY9551" fmla="*/ 62330 h 4343113"/>
              <a:gd name="connsiteX9552" fmla="*/ 1970287 w 6666359"/>
              <a:gd name="connsiteY9552" fmla="*/ 72004 h 4343113"/>
              <a:gd name="connsiteX9553" fmla="*/ 1976737 w 6666359"/>
              <a:gd name="connsiteY9553" fmla="*/ 94577 h 4343113"/>
              <a:gd name="connsiteX9554" fmla="*/ 1963839 w 6666359"/>
              <a:gd name="connsiteY9554" fmla="*/ 117150 h 4343113"/>
              <a:gd name="connsiteX9555" fmla="*/ 1957389 w 6666359"/>
              <a:gd name="connsiteY9555" fmla="*/ 123600 h 4343113"/>
              <a:gd name="connsiteX9556" fmla="*/ 1947715 w 6666359"/>
              <a:gd name="connsiteY9556" fmla="*/ 136498 h 4343113"/>
              <a:gd name="connsiteX9557" fmla="*/ 1944490 w 6666359"/>
              <a:gd name="connsiteY9557" fmla="*/ 155847 h 4343113"/>
              <a:gd name="connsiteX9558" fmla="*/ 1950940 w 6666359"/>
              <a:gd name="connsiteY9558" fmla="*/ 168745 h 4343113"/>
              <a:gd name="connsiteX9559" fmla="*/ 1957389 w 6666359"/>
              <a:gd name="connsiteY9559" fmla="*/ 165521 h 4343113"/>
              <a:gd name="connsiteX9560" fmla="*/ 1976737 w 6666359"/>
              <a:gd name="connsiteY9560" fmla="*/ 171969 h 4343113"/>
              <a:gd name="connsiteX9561" fmla="*/ 1976737 w 6666359"/>
              <a:gd name="connsiteY9561" fmla="*/ 188093 h 4343113"/>
              <a:gd name="connsiteX9562" fmla="*/ 1967063 w 6666359"/>
              <a:gd name="connsiteY9562" fmla="*/ 200992 h 4343113"/>
              <a:gd name="connsiteX9563" fmla="*/ 1954164 w 6666359"/>
              <a:gd name="connsiteY9563" fmla="*/ 210666 h 4343113"/>
              <a:gd name="connsiteX9564" fmla="*/ 1941266 w 6666359"/>
              <a:gd name="connsiteY9564" fmla="*/ 220340 h 4343113"/>
              <a:gd name="connsiteX9565" fmla="*/ 1931592 w 6666359"/>
              <a:gd name="connsiteY9565" fmla="*/ 223565 h 4343113"/>
              <a:gd name="connsiteX9566" fmla="*/ 1915468 w 6666359"/>
              <a:gd name="connsiteY9566" fmla="*/ 233239 h 4343113"/>
              <a:gd name="connsiteX9567" fmla="*/ 1912243 w 6666359"/>
              <a:gd name="connsiteY9567" fmla="*/ 233239 h 4343113"/>
              <a:gd name="connsiteX9568" fmla="*/ 1905794 w 6666359"/>
              <a:gd name="connsiteY9568" fmla="*/ 236463 h 4343113"/>
              <a:gd name="connsiteX9569" fmla="*/ 1912243 w 6666359"/>
              <a:gd name="connsiteY9569" fmla="*/ 210666 h 4343113"/>
              <a:gd name="connsiteX9570" fmla="*/ 1902569 w 6666359"/>
              <a:gd name="connsiteY9570" fmla="*/ 200992 h 4343113"/>
              <a:gd name="connsiteX9571" fmla="*/ 1892895 w 6666359"/>
              <a:gd name="connsiteY9571" fmla="*/ 204216 h 4343113"/>
              <a:gd name="connsiteX9572" fmla="*/ 1886446 w 6666359"/>
              <a:gd name="connsiteY9572" fmla="*/ 204216 h 4343113"/>
              <a:gd name="connsiteX9573" fmla="*/ 1883221 w 6666359"/>
              <a:gd name="connsiteY9573" fmla="*/ 207442 h 4343113"/>
              <a:gd name="connsiteX9574" fmla="*/ 1870322 w 6666359"/>
              <a:gd name="connsiteY9574" fmla="*/ 210666 h 4343113"/>
              <a:gd name="connsiteX9575" fmla="*/ 1854199 w 6666359"/>
              <a:gd name="connsiteY9575" fmla="*/ 210666 h 4343113"/>
              <a:gd name="connsiteX9576" fmla="*/ 1844525 w 6666359"/>
              <a:gd name="connsiteY9576" fmla="*/ 200992 h 4343113"/>
              <a:gd name="connsiteX9577" fmla="*/ 1828401 w 6666359"/>
              <a:gd name="connsiteY9577" fmla="*/ 207442 h 4343113"/>
              <a:gd name="connsiteX9578" fmla="*/ 1831626 w 6666359"/>
              <a:gd name="connsiteY9578" fmla="*/ 217116 h 4343113"/>
              <a:gd name="connsiteX9579" fmla="*/ 1818727 w 6666359"/>
              <a:gd name="connsiteY9579" fmla="*/ 220340 h 4343113"/>
              <a:gd name="connsiteX9580" fmla="*/ 1805829 w 6666359"/>
              <a:gd name="connsiteY9580" fmla="*/ 217116 h 4343113"/>
              <a:gd name="connsiteX9581" fmla="*/ 1792930 w 6666359"/>
              <a:gd name="connsiteY9581" fmla="*/ 213891 h 4343113"/>
              <a:gd name="connsiteX9582" fmla="*/ 1780032 w 6666359"/>
              <a:gd name="connsiteY9582" fmla="*/ 217116 h 4343113"/>
              <a:gd name="connsiteX9583" fmla="*/ 1751009 w 6666359"/>
              <a:gd name="connsiteY9583" fmla="*/ 213891 h 4343113"/>
              <a:gd name="connsiteX9584" fmla="*/ 1721986 w 6666359"/>
              <a:gd name="connsiteY9584" fmla="*/ 200992 h 4343113"/>
              <a:gd name="connsiteX9585" fmla="*/ 1718762 w 6666359"/>
              <a:gd name="connsiteY9585" fmla="*/ 184868 h 4343113"/>
              <a:gd name="connsiteX9586" fmla="*/ 1721986 w 6666359"/>
              <a:gd name="connsiteY9586" fmla="*/ 165521 h 4343113"/>
              <a:gd name="connsiteX9587" fmla="*/ 1738110 w 6666359"/>
              <a:gd name="connsiteY9587" fmla="*/ 146172 h 4343113"/>
              <a:gd name="connsiteX9588" fmla="*/ 1763908 w 6666359"/>
              <a:gd name="connsiteY9588" fmla="*/ 139723 h 4343113"/>
              <a:gd name="connsiteX9589" fmla="*/ 1754233 w 6666359"/>
              <a:gd name="connsiteY9589" fmla="*/ 104251 h 4343113"/>
              <a:gd name="connsiteX9590" fmla="*/ 1751009 w 6666359"/>
              <a:gd name="connsiteY9590" fmla="*/ 72004 h 4343113"/>
              <a:gd name="connsiteX9591" fmla="*/ 1776806 w 6666359"/>
              <a:gd name="connsiteY9591" fmla="*/ 65555 h 4343113"/>
              <a:gd name="connsiteX9592" fmla="*/ 1789705 w 6666359"/>
              <a:gd name="connsiteY9592" fmla="*/ 72004 h 4343113"/>
              <a:gd name="connsiteX9593" fmla="*/ 1802604 w 6666359"/>
              <a:gd name="connsiteY9593" fmla="*/ 107476 h 4343113"/>
              <a:gd name="connsiteX9594" fmla="*/ 1812278 w 6666359"/>
              <a:gd name="connsiteY9594" fmla="*/ 117150 h 4343113"/>
              <a:gd name="connsiteX9595" fmla="*/ 1828401 w 6666359"/>
              <a:gd name="connsiteY9595" fmla="*/ 120374 h 4343113"/>
              <a:gd name="connsiteX9596" fmla="*/ 1828401 w 6666359"/>
              <a:gd name="connsiteY9596" fmla="*/ 113925 h 4343113"/>
              <a:gd name="connsiteX9597" fmla="*/ 1828401 w 6666359"/>
              <a:gd name="connsiteY9597" fmla="*/ 107476 h 4343113"/>
              <a:gd name="connsiteX9598" fmla="*/ 1818727 w 6666359"/>
              <a:gd name="connsiteY9598" fmla="*/ 94577 h 4343113"/>
              <a:gd name="connsiteX9599" fmla="*/ 1812278 w 6666359"/>
              <a:gd name="connsiteY9599" fmla="*/ 88127 h 4343113"/>
              <a:gd name="connsiteX9600" fmla="*/ 1809053 w 6666359"/>
              <a:gd name="connsiteY9600" fmla="*/ 62330 h 4343113"/>
              <a:gd name="connsiteX9601" fmla="*/ 1796155 w 6666359"/>
              <a:gd name="connsiteY9601" fmla="*/ 46206 h 4343113"/>
              <a:gd name="connsiteX9602" fmla="*/ 1786481 w 6666359"/>
              <a:gd name="connsiteY9602" fmla="*/ 42982 h 4343113"/>
              <a:gd name="connsiteX9603" fmla="*/ 1767132 w 6666359"/>
              <a:gd name="connsiteY9603" fmla="*/ 39757 h 4343113"/>
              <a:gd name="connsiteX9604" fmla="*/ 1763908 w 6666359"/>
              <a:gd name="connsiteY9604" fmla="*/ 39757 h 4343113"/>
              <a:gd name="connsiteX9605" fmla="*/ 1763908 w 6666359"/>
              <a:gd name="connsiteY9605" fmla="*/ 7511 h 4343113"/>
              <a:gd name="connsiteX9606" fmla="*/ 1642880 w 6666359"/>
              <a:gd name="connsiteY9606" fmla="*/ 0 h 4343113"/>
              <a:gd name="connsiteX9607" fmla="*/ 1751274 w 6666359"/>
              <a:gd name="connsiteY9607" fmla="*/ 0 h 4343113"/>
              <a:gd name="connsiteX9608" fmla="*/ 1751009 w 6666359"/>
              <a:gd name="connsiteY9608" fmla="*/ 1061 h 4343113"/>
              <a:gd name="connsiteX9609" fmla="*/ 1741335 w 6666359"/>
              <a:gd name="connsiteY9609" fmla="*/ 13959 h 4343113"/>
              <a:gd name="connsiteX9610" fmla="*/ 1728436 w 6666359"/>
              <a:gd name="connsiteY9610" fmla="*/ 33308 h 4343113"/>
              <a:gd name="connsiteX9611" fmla="*/ 1715538 w 6666359"/>
              <a:gd name="connsiteY9611" fmla="*/ 20409 h 4343113"/>
              <a:gd name="connsiteX9612" fmla="*/ 1689740 w 6666359"/>
              <a:gd name="connsiteY9612" fmla="*/ 36533 h 4343113"/>
              <a:gd name="connsiteX9613" fmla="*/ 1663943 w 6666359"/>
              <a:gd name="connsiteY9613" fmla="*/ 30083 h 4343113"/>
              <a:gd name="connsiteX9614" fmla="*/ 1651043 w 6666359"/>
              <a:gd name="connsiteY9614" fmla="*/ 17185 h 4343113"/>
              <a:gd name="connsiteX9615" fmla="*/ 1644594 w 6666359"/>
              <a:gd name="connsiteY9615" fmla="*/ 4286 h 4343113"/>
              <a:gd name="connsiteX9616" fmla="*/ 1526208 w 6666359"/>
              <a:gd name="connsiteY9616" fmla="*/ 0 h 4343113"/>
              <a:gd name="connsiteX9617" fmla="*/ 1591938 w 6666359"/>
              <a:gd name="connsiteY9617" fmla="*/ 0 h 4343113"/>
              <a:gd name="connsiteX9618" fmla="*/ 1602673 w 6666359"/>
              <a:gd name="connsiteY9618" fmla="*/ 10735 h 4343113"/>
              <a:gd name="connsiteX9619" fmla="*/ 1602673 w 6666359"/>
              <a:gd name="connsiteY9619" fmla="*/ 46206 h 4343113"/>
              <a:gd name="connsiteX9620" fmla="*/ 1596223 w 6666359"/>
              <a:gd name="connsiteY9620" fmla="*/ 59106 h 4343113"/>
              <a:gd name="connsiteX9621" fmla="*/ 1573651 w 6666359"/>
              <a:gd name="connsiteY9621" fmla="*/ 65555 h 4343113"/>
              <a:gd name="connsiteX9622" fmla="*/ 1560752 w 6666359"/>
              <a:gd name="connsiteY9622" fmla="*/ 75229 h 4343113"/>
              <a:gd name="connsiteX9623" fmla="*/ 1544628 w 6666359"/>
              <a:gd name="connsiteY9623" fmla="*/ 52656 h 4343113"/>
              <a:gd name="connsiteX9624" fmla="*/ 1547853 w 6666359"/>
              <a:gd name="connsiteY9624" fmla="*/ 30083 h 4343113"/>
              <a:gd name="connsiteX9625" fmla="*/ 1534955 w 6666359"/>
              <a:gd name="connsiteY9625" fmla="*/ 20409 h 4343113"/>
              <a:gd name="connsiteX9626" fmla="*/ 1380169 w 6666359"/>
              <a:gd name="connsiteY9626" fmla="*/ 0 h 4343113"/>
              <a:gd name="connsiteX9627" fmla="*/ 1499482 w 6666359"/>
              <a:gd name="connsiteY9627" fmla="*/ 0 h 4343113"/>
              <a:gd name="connsiteX9628" fmla="*/ 1499482 w 6666359"/>
              <a:gd name="connsiteY9628" fmla="*/ 10735 h 4343113"/>
              <a:gd name="connsiteX9629" fmla="*/ 1502707 w 6666359"/>
              <a:gd name="connsiteY9629" fmla="*/ 30083 h 4343113"/>
              <a:gd name="connsiteX9630" fmla="*/ 1512381 w 6666359"/>
              <a:gd name="connsiteY9630" fmla="*/ 42982 h 4343113"/>
              <a:gd name="connsiteX9631" fmla="*/ 1512381 w 6666359"/>
              <a:gd name="connsiteY9631" fmla="*/ 65555 h 4343113"/>
              <a:gd name="connsiteX9632" fmla="*/ 1505932 w 6666359"/>
              <a:gd name="connsiteY9632" fmla="*/ 68780 h 4343113"/>
              <a:gd name="connsiteX9633" fmla="*/ 1496258 w 6666359"/>
              <a:gd name="connsiteY9633" fmla="*/ 72004 h 4343113"/>
              <a:gd name="connsiteX9634" fmla="*/ 1483360 w 6666359"/>
              <a:gd name="connsiteY9634" fmla="*/ 72004 h 4343113"/>
              <a:gd name="connsiteX9635" fmla="*/ 1470460 w 6666359"/>
              <a:gd name="connsiteY9635" fmla="*/ 52656 h 4343113"/>
              <a:gd name="connsiteX9636" fmla="*/ 1467236 w 6666359"/>
              <a:gd name="connsiteY9636" fmla="*/ 36533 h 4343113"/>
              <a:gd name="connsiteX9637" fmla="*/ 1464011 w 6666359"/>
              <a:gd name="connsiteY9637" fmla="*/ 30083 h 4343113"/>
              <a:gd name="connsiteX9638" fmla="*/ 1431764 w 6666359"/>
              <a:gd name="connsiteY9638" fmla="*/ 13959 h 4343113"/>
              <a:gd name="connsiteX9639" fmla="*/ 1399518 w 6666359"/>
              <a:gd name="connsiteY9639" fmla="*/ 26859 h 4343113"/>
              <a:gd name="connsiteX9640" fmla="*/ 1386619 w 6666359"/>
              <a:gd name="connsiteY9640" fmla="*/ 17185 h 4343113"/>
              <a:gd name="connsiteX9641" fmla="*/ 1380169 w 6666359"/>
              <a:gd name="connsiteY9641" fmla="*/ 7511 h 4343113"/>
              <a:gd name="connsiteX9642" fmla="*/ 1213547 w 6666359"/>
              <a:gd name="connsiteY9642" fmla="*/ 0 h 4343113"/>
              <a:gd name="connsiteX9643" fmla="*/ 1285946 w 6666359"/>
              <a:gd name="connsiteY9643" fmla="*/ 0 h 4343113"/>
              <a:gd name="connsiteX9644" fmla="*/ 1286653 w 6666359"/>
              <a:gd name="connsiteY9644" fmla="*/ 1061 h 4343113"/>
              <a:gd name="connsiteX9645" fmla="*/ 1283428 w 6666359"/>
              <a:gd name="connsiteY9645" fmla="*/ 20409 h 4343113"/>
              <a:gd name="connsiteX9646" fmla="*/ 1276979 w 6666359"/>
              <a:gd name="connsiteY9646" fmla="*/ 20409 h 4343113"/>
              <a:gd name="connsiteX9647" fmla="*/ 1238283 w 6666359"/>
              <a:gd name="connsiteY9647" fmla="*/ 23633 h 4343113"/>
              <a:gd name="connsiteX9648" fmla="*/ 1231833 w 6666359"/>
              <a:gd name="connsiteY9648" fmla="*/ 23633 h 4343113"/>
              <a:gd name="connsiteX9649" fmla="*/ 1228609 w 6666359"/>
              <a:gd name="connsiteY9649" fmla="*/ 17185 h 4343113"/>
              <a:gd name="connsiteX9650" fmla="*/ 1225385 w 6666359"/>
              <a:gd name="connsiteY9650" fmla="*/ 13959 h 4343113"/>
              <a:gd name="connsiteX9651" fmla="*/ 1209261 w 6666359"/>
              <a:gd name="connsiteY9651" fmla="*/ 20409 h 4343113"/>
              <a:gd name="connsiteX9652" fmla="*/ 1196362 w 6666359"/>
              <a:gd name="connsiteY9652" fmla="*/ 17185 h 4343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Lst>
            <a:rect l="l" t="t" r="r" b="b"/>
            <a:pathLst>
              <a:path w="6666359" h="4343113">
                <a:moveTo>
                  <a:pt x="2189226" y="4338702"/>
                </a:moveTo>
                <a:lnTo>
                  <a:pt x="2192789" y="4339889"/>
                </a:lnTo>
                <a:lnTo>
                  <a:pt x="2189565" y="4339889"/>
                </a:lnTo>
                <a:close/>
                <a:moveTo>
                  <a:pt x="2205688" y="4336664"/>
                </a:moveTo>
                <a:lnTo>
                  <a:pt x="2208913" y="4343113"/>
                </a:lnTo>
                <a:lnTo>
                  <a:pt x="2205688" y="4343113"/>
                </a:lnTo>
                <a:lnTo>
                  <a:pt x="2202464" y="4343113"/>
                </a:lnTo>
                <a:close/>
                <a:moveTo>
                  <a:pt x="2147644" y="4314092"/>
                </a:moveTo>
                <a:lnTo>
                  <a:pt x="2163767" y="4314092"/>
                </a:lnTo>
                <a:lnTo>
                  <a:pt x="2166992" y="4314092"/>
                </a:lnTo>
                <a:lnTo>
                  <a:pt x="2160543" y="4316241"/>
                </a:lnTo>
                <a:lnTo>
                  <a:pt x="2173441" y="4314092"/>
                </a:lnTo>
                <a:lnTo>
                  <a:pt x="2183115" y="4317316"/>
                </a:lnTo>
                <a:lnTo>
                  <a:pt x="2189226" y="4338702"/>
                </a:lnTo>
                <a:lnTo>
                  <a:pt x="2183115" y="4336664"/>
                </a:lnTo>
                <a:lnTo>
                  <a:pt x="2173441" y="4330215"/>
                </a:lnTo>
                <a:lnTo>
                  <a:pt x="2166992" y="4330215"/>
                </a:lnTo>
                <a:lnTo>
                  <a:pt x="2163767" y="4333439"/>
                </a:lnTo>
                <a:lnTo>
                  <a:pt x="2157318" y="4326990"/>
                </a:lnTo>
                <a:lnTo>
                  <a:pt x="2147644" y="4323765"/>
                </a:lnTo>
                <a:lnTo>
                  <a:pt x="2147644" y="4317316"/>
                </a:lnTo>
                <a:lnTo>
                  <a:pt x="2154094" y="4317316"/>
                </a:lnTo>
                <a:lnTo>
                  <a:pt x="2156243" y="4316957"/>
                </a:lnTo>
                <a:close/>
                <a:moveTo>
                  <a:pt x="2199239" y="4310866"/>
                </a:moveTo>
                <a:lnTo>
                  <a:pt x="2212138" y="4320541"/>
                </a:lnTo>
                <a:lnTo>
                  <a:pt x="2208913" y="4326990"/>
                </a:lnTo>
                <a:lnTo>
                  <a:pt x="2199239" y="4326990"/>
                </a:lnTo>
                <a:lnTo>
                  <a:pt x="2189565" y="4323765"/>
                </a:lnTo>
                <a:lnTo>
                  <a:pt x="2183115" y="4314092"/>
                </a:lnTo>
                <a:close/>
                <a:moveTo>
                  <a:pt x="2141194" y="4310866"/>
                </a:moveTo>
                <a:lnTo>
                  <a:pt x="2141194" y="4320541"/>
                </a:lnTo>
                <a:lnTo>
                  <a:pt x="2137970" y="4323765"/>
                </a:lnTo>
                <a:lnTo>
                  <a:pt x="2128296" y="4317316"/>
                </a:lnTo>
                <a:lnTo>
                  <a:pt x="2125071" y="4314092"/>
                </a:lnTo>
                <a:lnTo>
                  <a:pt x="2128296" y="4314092"/>
                </a:lnTo>
                <a:close/>
                <a:moveTo>
                  <a:pt x="2118621" y="4307642"/>
                </a:moveTo>
                <a:lnTo>
                  <a:pt x="2125071" y="4310866"/>
                </a:lnTo>
                <a:lnTo>
                  <a:pt x="2115397" y="4314092"/>
                </a:lnTo>
                <a:close/>
                <a:moveTo>
                  <a:pt x="2273408" y="4304418"/>
                </a:moveTo>
                <a:lnTo>
                  <a:pt x="2279857" y="4304418"/>
                </a:lnTo>
                <a:lnTo>
                  <a:pt x="2283082" y="4307642"/>
                </a:lnTo>
                <a:lnTo>
                  <a:pt x="2270184" y="4310866"/>
                </a:lnTo>
                <a:lnTo>
                  <a:pt x="2263734" y="4307642"/>
                </a:lnTo>
                <a:close/>
                <a:moveTo>
                  <a:pt x="2853852" y="4278619"/>
                </a:moveTo>
                <a:lnTo>
                  <a:pt x="2863526" y="4278619"/>
                </a:lnTo>
                <a:lnTo>
                  <a:pt x="2876426" y="4281845"/>
                </a:lnTo>
                <a:lnTo>
                  <a:pt x="2895773" y="4307642"/>
                </a:lnTo>
                <a:lnTo>
                  <a:pt x="2892549" y="4310866"/>
                </a:lnTo>
                <a:lnTo>
                  <a:pt x="2882875" y="4297968"/>
                </a:lnTo>
                <a:lnTo>
                  <a:pt x="2866752" y="4281845"/>
                </a:lnTo>
                <a:lnTo>
                  <a:pt x="2860302" y="4281845"/>
                </a:lnTo>
                <a:close/>
                <a:moveTo>
                  <a:pt x="2112173" y="4275395"/>
                </a:moveTo>
                <a:lnTo>
                  <a:pt x="2118621" y="4278619"/>
                </a:lnTo>
                <a:lnTo>
                  <a:pt x="2125071" y="4288294"/>
                </a:lnTo>
                <a:lnTo>
                  <a:pt x="2115397" y="4288294"/>
                </a:lnTo>
                <a:lnTo>
                  <a:pt x="2112173" y="4285069"/>
                </a:lnTo>
                <a:close/>
                <a:moveTo>
                  <a:pt x="2102499" y="4272171"/>
                </a:moveTo>
                <a:lnTo>
                  <a:pt x="2108947" y="4272171"/>
                </a:lnTo>
                <a:lnTo>
                  <a:pt x="2112173" y="4275395"/>
                </a:lnTo>
                <a:lnTo>
                  <a:pt x="2105723" y="4288294"/>
                </a:lnTo>
                <a:lnTo>
                  <a:pt x="2099273" y="4281845"/>
                </a:lnTo>
                <a:lnTo>
                  <a:pt x="2099273" y="4275395"/>
                </a:lnTo>
                <a:close/>
                <a:moveTo>
                  <a:pt x="2137970" y="4262496"/>
                </a:moveTo>
                <a:lnTo>
                  <a:pt x="2137970" y="4272171"/>
                </a:lnTo>
                <a:lnTo>
                  <a:pt x="2141194" y="4278619"/>
                </a:lnTo>
                <a:lnTo>
                  <a:pt x="2134745" y="4285069"/>
                </a:lnTo>
                <a:lnTo>
                  <a:pt x="2131520" y="4281845"/>
                </a:lnTo>
                <a:lnTo>
                  <a:pt x="2128296" y="4275395"/>
                </a:lnTo>
                <a:lnTo>
                  <a:pt x="2131520" y="4268945"/>
                </a:lnTo>
                <a:close/>
                <a:moveTo>
                  <a:pt x="2083150" y="4256047"/>
                </a:moveTo>
                <a:lnTo>
                  <a:pt x="2099273" y="4268945"/>
                </a:lnTo>
                <a:lnTo>
                  <a:pt x="2092824" y="4278619"/>
                </a:lnTo>
                <a:lnTo>
                  <a:pt x="2086375" y="4281845"/>
                </a:lnTo>
                <a:lnTo>
                  <a:pt x="2083150" y="4278619"/>
                </a:lnTo>
                <a:lnTo>
                  <a:pt x="2089600" y="4272171"/>
                </a:lnTo>
                <a:lnTo>
                  <a:pt x="2079926" y="4272171"/>
                </a:lnTo>
                <a:lnTo>
                  <a:pt x="2079926" y="4278619"/>
                </a:lnTo>
                <a:lnTo>
                  <a:pt x="2070252" y="4262496"/>
                </a:lnTo>
                <a:close/>
                <a:moveTo>
                  <a:pt x="2044453" y="4230250"/>
                </a:moveTo>
                <a:lnTo>
                  <a:pt x="2057353" y="4239924"/>
                </a:lnTo>
                <a:lnTo>
                  <a:pt x="2067026" y="4243148"/>
                </a:lnTo>
                <a:lnTo>
                  <a:pt x="2073476" y="4246373"/>
                </a:lnTo>
                <a:lnTo>
                  <a:pt x="2079926" y="4252822"/>
                </a:lnTo>
                <a:lnTo>
                  <a:pt x="2070252" y="4252822"/>
                </a:lnTo>
                <a:lnTo>
                  <a:pt x="2054128" y="4243148"/>
                </a:lnTo>
                <a:lnTo>
                  <a:pt x="2047679" y="4236698"/>
                </a:lnTo>
                <a:close/>
                <a:moveTo>
                  <a:pt x="2157318" y="4227024"/>
                </a:moveTo>
                <a:lnTo>
                  <a:pt x="2176666" y="4227024"/>
                </a:lnTo>
                <a:lnTo>
                  <a:pt x="2176666" y="4247547"/>
                </a:lnTo>
                <a:lnTo>
                  <a:pt x="2176667" y="4247548"/>
                </a:lnTo>
                <a:lnTo>
                  <a:pt x="2176667" y="4227024"/>
                </a:lnTo>
                <a:lnTo>
                  <a:pt x="2179892" y="4236698"/>
                </a:lnTo>
                <a:lnTo>
                  <a:pt x="2179892" y="4246373"/>
                </a:lnTo>
                <a:lnTo>
                  <a:pt x="2183116" y="4256047"/>
                </a:lnTo>
                <a:lnTo>
                  <a:pt x="2196016" y="4268945"/>
                </a:lnTo>
                <a:lnTo>
                  <a:pt x="2202465" y="4275395"/>
                </a:lnTo>
                <a:lnTo>
                  <a:pt x="2208914" y="4281845"/>
                </a:lnTo>
                <a:lnTo>
                  <a:pt x="2218589" y="4288294"/>
                </a:lnTo>
                <a:lnTo>
                  <a:pt x="2225037" y="4294743"/>
                </a:lnTo>
                <a:lnTo>
                  <a:pt x="2231487" y="4297968"/>
                </a:lnTo>
                <a:lnTo>
                  <a:pt x="2244386" y="4301192"/>
                </a:lnTo>
                <a:lnTo>
                  <a:pt x="2254060" y="4301192"/>
                </a:lnTo>
                <a:lnTo>
                  <a:pt x="2250835" y="4314092"/>
                </a:lnTo>
                <a:lnTo>
                  <a:pt x="2237937" y="4314092"/>
                </a:lnTo>
                <a:lnTo>
                  <a:pt x="2218589" y="4314092"/>
                </a:lnTo>
                <a:lnTo>
                  <a:pt x="2202465" y="4310866"/>
                </a:lnTo>
                <a:lnTo>
                  <a:pt x="2176667" y="4307642"/>
                </a:lnTo>
                <a:lnTo>
                  <a:pt x="2176667" y="4306835"/>
                </a:lnTo>
                <a:lnTo>
                  <a:pt x="2176666" y="4306832"/>
                </a:lnTo>
                <a:lnTo>
                  <a:pt x="2176666" y="4307642"/>
                </a:lnTo>
                <a:lnTo>
                  <a:pt x="2176666" y="4310866"/>
                </a:lnTo>
                <a:lnTo>
                  <a:pt x="2166992" y="4314092"/>
                </a:lnTo>
                <a:lnTo>
                  <a:pt x="2154094" y="4304418"/>
                </a:lnTo>
                <a:lnTo>
                  <a:pt x="2131520" y="4304418"/>
                </a:lnTo>
                <a:lnTo>
                  <a:pt x="2125071" y="4304418"/>
                </a:lnTo>
                <a:lnTo>
                  <a:pt x="2118621" y="4297968"/>
                </a:lnTo>
                <a:lnTo>
                  <a:pt x="2112173" y="4297968"/>
                </a:lnTo>
                <a:lnTo>
                  <a:pt x="2108947" y="4291518"/>
                </a:lnTo>
                <a:lnTo>
                  <a:pt x="2160543" y="4291518"/>
                </a:lnTo>
                <a:lnTo>
                  <a:pt x="2160543" y="4297968"/>
                </a:lnTo>
                <a:lnTo>
                  <a:pt x="2166992" y="4297968"/>
                </a:lnTo>
                <a:lnTo>
                  <a:pt x="2166992" y="4291518"/>
                </a:lnTo>
                <a:lnTo>
                  <a:pt x="2154094" y="4285069"/>
                </a:lnTo>
                <a:lnTo>
                  <a:pt x="2144420" y="4278619"/>
                </a:lnTo>
                <a:lnTo>
                  <a:pt x="2144420" y="4268945"/>
                </a:lnTo>
                <a:lnTo>
                  <a:pt x="2147644" y="4265721"/>
                </a:lnTo>
                <a:lnTo>
                  <a:pt x="2160543" y="4259271"/>
                </a:lnTo>
                <a:lnTo>
                  <a:pt x="2160543" y="4252822"/>
                </a:lnTo>
                <a:lnTo>
                  <a:pt x="2147644" y="4252822"/>
                </a:lnTo>
                <a:lnTo>
                  <a:pt x="2141194" y="4259271"/>
                </a:lnTo>
                <a:lnTo>
                  <a:pt x="2137970" y="4252822"/>
                </a:lnTo>
                <a:lnTo>
                  <a:pt x="2137970" y="4243148"/>
                </a:lnTo>
                <a:lnTo>
                  <a:pt x="2147644" y="4236698"/>
                </a:lnTo>
                <a:close/>
                <a:moveTo>
                  <a:pt x="2041229" y="4191553"/>
                </a:moveTo>
                <a:lnTo>
                  <a:pt x="2041229" y="4204451"/>
                </a:lnTo>
                <a:lnTo>
                  <a:pt x="2038005" y="4207677"/>
                </a:lnTo>
                <a:lnTo>
                  <a:pt x="2038005" y="4194777"/>
                </a:lnTo>
                <a:close/>
                <a:moveTo>
                  <a:pt x="2389497" y="4181879"/>
                </a:moveTo>
                <a:lnTo>
                  <a:pt x="2395946" y="4181879"/>
                </a:lnTo>
                <a:lnTo>
                  <a:pt x="2402396" y="4181879"/>
                </a:lnTo>
                <a:lnTo>
                  <a:pt x="2405620" y="4181879"/>
                </a:lnTo>
                <a:lnTo>
                  <a:pt x="2415294" y="4185103"/>
                </a:lnTo>
                <a:lnTo>
                  <a:pt x="2415294" y="4194777"/>
                </a:lnTo>
                <a:lnTo>
                  <a:pt x="2408845" y="4194777"/>
                </a:lnTo>
                <a:lnTo>
                  <a:pt x="2402396" y="4198003"/>
                </a:lnTo>
                <a:lnTo>
                  <a:pt x="2399171" y="4204451"/>
                </a:lnTo>
                <a:lnTo>
                  <a:pt x="2386272" y="4214126"/>
                </a:lnTo>
                <a:lnTo>
                  <a:pt x="2379823" y="4217350"/>
                </a:lnTo>
                <a:lnTo>
                  <a:pt x="2373373" y="4210901"/>
                </a:lnTo>
                <a:lnTo>
                  <a:pt x="2379823" y="4198003"/>
                </a:lnTo>
                <a:lnTo>
                  <a:pt x="2386272" y="4198003"/>
                </a:lnTo>
                <a:lnTo>
                  <a:pt x="2389497" y="4198003"/>
                </a:lnTo>
                <a:lnTo>
                  <a:pt x="2389497" y="4188328"/>
                </a:lnTo>
                <a:close/>
                <a:moveTo>
                  <a:pt x="2354025" y="4181879"/>
                </a:moveTo>
                <a:lnTo>
                  <a:pt x="2357250" y="4185103"/>
                </a:lnTo>
                <a:lnTo>
                  <a:pt x="2379823" y="4185103"/>
                </a:lnTo>
                <a:lnTo>
                  <a:pt x="2379823" y="4181879"/>
                </a:lnTo>
                <a:lnTo>
                  <a:pt x="2383047" y="4185103"/>
                </a:lnTo>
                <a:lnTo>
                  <a:pt x="2379823" y="4188328"/>
                </a:lnTo>
                <a:lnTo>
                  <a:pt x="2376599" y="4191553"/>
                </a:lnTo>
                <a:lnTo>
                  <a:pt x="2373373" y="4198003"/>
                </a:lnTo>
                <a:lnTo>
                  <a:pt x="2357250" y="4210901"/>
                </a:lnTo>
                <a:lnTo>
                  <a:pt x="2354025" y="4214126"/>
                </a:lnTo>
                <a:lnTo>
                  <a:pt x="2344352" y="4207677"/>
                </a:lnTo>
                <a:lnTo>
                  <a:pt x="2354025" y="4204451"/>
                </a:lnTo>
                <a:lnTo>
                  <a:pt x="2357250" y="4198003"/>
                </a:lnTo>
                <a:lnTo>
                  <a:pt x="2363699" y="4194777"/>
                </a:lnTo>
                <a:lnTo>
                  <a:pt x="2354025" y="4185103"/>
                </a:lnTo>
                <a:close/>
                <a:moveTo>
                  <a:pt x="2041229" y="4175430"/>
                </a:moveTo>
                <a:lnTo>
                  <a:pt x="2047679" y="4178654"/>
                </a:lnTo>
                <a:lnTo>
                  <a:pt x="2038005" y="4185103"/>
                </a:lnTo>
                <a:close/>
                <a:moveTo>
                  <a:pt x="2044453" y="4159306"/>
                </a:moveTo>
                <a:lnTo>
                  <a:pt x="2050903" y="4165756"/>
                </a:lnTo>
                <a:lnTo>
                  <a:pt x="2050903" y="4172205"/>
                </a:lnTo>
                <a:lnTo>
                  <a:pt x="2041229" y="4172205"/>
                </a:lnTo>
                <a:close/>
                <a:moveTo>
                  <a:pt x="2028331" y="4152856"/>
                </a:moveTo>
                <a:lnTo>
                  <a:pt x="2034779" y="4152856"/>
                </a:lnTo>
                <a:lnTo>
                  <a:pt x="2031555" y="4162530"/>
                </a:lnTo>
                <a:lnTo>
                  <a:pt x="2028331" y="4159306"/>
                </a:lnTo>
                <a:close/>
                <a:moveTo>
                  <a:pt x="2047679" y="4149632"/>
                </a:moveTo>
                <a:lnTo>
                  <a:pt x="2054128" y="4159306"/>
                </a:lnTo>
                <a:lnTo>
                  <a:pt x="2054128" y="4165756"/>
                </a:lnTo>
                <a:lnTo>
                  <a:pt x="2047679" y="4159306"/>
                </a:lnTo>
                <a:close/>
                <a:moveTo>
                  <a:pt x="2028331" y="4136733"/>
                </a:moveTo>
                <a:lnTo>
                  <a:pt x="2034779" y="4136733"/>
                </a:lnTo>
                <a:lnTo>
                  <a:pt x="2041229" y="4139958"/>
                </a:lnTo>
                <a:lnTo>
                  <a:pt x="2034779" y="4146407"/>
                </a:lnTo>
                <a:lnTo>
                  <a:pt x="2028331" y="4146407"/>
                </a:lnTo>
                <a:lnTo>
                  <a:pt x="2028331" y="4139958"/>
                </a:lnTo>
                <a:close/>
                <a:moveTo>
                  <a:pt x="2028331" y="4123835"/>
                </a:moveTo>
                <a:lnTo>
                  <a:pt x="2034779" y="4130283"/>
                </a:lnTo>
                <a:lnTo>
                  <a:pt x="2031555" y="4130283"/>
                </a:lnTo>
                <a:lnTo>
                  <a:pt x="2025105" y="4127059"/>
                </a:lnTo>
                <a:close/>
                <a:moveTo>
                  <a:pt x="2044453" y="4091588"/>
                </a:moveTo>
                <a:lnTo>
                  <a:pt x="2047679" y="4107711"/>
                </a:lnTo>
                <a:lnTo>
                  <a:pt x="2050903" y="4120609"/>
                </a:lnTo>
                <a:lnTo>
                  <a:pt x="2044453" y="4136733"/>
                </a:lnTo>
                <a:lnTo>
                  <a:pt x="2038005" y="4127059"/>
                </a:lnTo>
                <a:lnTo>
                  <a:pt x="2031555" y="4120609"/>
                </a:lnTo>
                <a:lnTo>
                  <a:pt x="2038005" y="4104486"/>
                </a:lnTo>
                <a:close/>
                <a:moveTo>
                  <a:pt x="2044453" y="4072239"/>
                </a:moveTo>
                <a:lnTo>
                  <a:pt x="2047679" y="4085138"/>
                </a:lnTo>
                <a:lnTo>
                  <a:pt x="2047679" y="4088362"/>
                </a:lnTo>
                <a:lnTo>
                  <a:pt x="2038005" y="4085138"/>
                </a:lnTo>
                <a:close/>
                <a:moveTo>
                  <a:pt x="2025105" y="4069014"/>
                </a:moveTo>
                <a:lnTo>
                  <a:pt x="2031555" y="4069014"/>
                </a:lnTo>
                <a:lnTo>
                  <a:pt x="2034779" y="4085138"/>
                </a:lnTo>
                <a:lnTo>
                  <a:pt x="2031555" y="4091588"/>
                </a:lnTo>
                <a:lnTo>
                  <a:pt x="2028331" y="4085138"/>
                </a:lnTo>
                <a:lnTo>
                  <a:pt x="2025105" y="4078688"/>
                </a:lnTo>
                <a:close/>
                <a:moveTo>
                  <a:pt x="2041229" y="4062565"/>
                </a:moveTo>
                <a:lnTo>
                  <a:pt x="2038005" y="4069014"/>
                </a:lnTo>
                <a:lnTo>
                  <a:pt x="2031555" y="4069014"/>
                </a:lnTo>
                <a:lnTo>
                  <a:pt x="2034779" y="4065790"/>
                </a:lnTo>
                <a:close/>
                <a:moveTo>
                  <a:pt x="2034779" y="3998071"/>
                </a:moveTo>
                <a:lnTo>
                  <a:pt x="2041229" y="3998071"/>
                </a:lnTo>
                <a:lnTo>
                  <a:pt x="2041229" y="4004520"/>
                </a:lnTo>
                <a:lnTo>
                  <a:pt x="2034779" y="4007746"/>
                </a:lnTo>
                <a:close/>
                <a:moveTo>
                  <a:pt x="2060577" y="3972273"/>
                </a:moveTo>
                <a:lnTo>
                  <a:pt x="2067026" y="3975499"/>
                </a:lnTo>
                <a:lnTo>
                  <a:pt x="2063802" y="3981947"/>
                </a:lnTo>
                <a:lnTo>
                  <a:pt x="2054128" y="3978723"/>
                </a:lnTo>
                <a:close/>
                <a:moveTo>
                  <a:pt x="2050903" y="3962599"/>
                </a:moveTo>
                <a:lnTo>
                  <a:pt x="2060577" y="3962599"/>
                </a:lnTo>
                <a:lnTo>
                  <a:pt x="2054128" y="3969049"/>
                </a:lnTo>
                <a:close/>
                <a:moveTo>
                  <a:pt x="2060577" y="3878758"/>
                </a:moveTo>
                <a:lnTo>
                  <a:pt x="2070252" y="3878758"/>
                </a:lnTo>
                <a:lnTo>
                  <a:pt x="2073476" y="3888432"/>
                </a:lnTo>
                <a:lnTo>
                  <a:pt x="2070252" y="3891657"/>
                </a:lnTo>
                <a:lnTo>
                  <a:pt x="2063802" y="3898105"/>
                </a:lnTo>
                <a:lnTo>
                  <a:pt x="2070252" y="3907779"/>
                </a:lnTo>
                <a:lnTo>
                  <a:pt x="2070252" y="3914229"/>
                </a:lnTo>
                <a:lnTo>
                  <a:pt x="2070252" y="3920679"/>
                </a:lnTo>
                <a:lnTo>
                  <a:pt x="2060577" y="3923903"/>
                </a:lnTo>
                <a:lnTo>
                  <a:pt x="2054128" y="3920679"/>
                </a:lnTo>
                <a:lnTo>
                  <a:pt x="2054128" y="3914229"/>
                </a:lnTo>
                <a:lnTo>
                  <a:pt x="2057353" y="3891657"/>
                </a:lnTo>
                <a:close/>
                <a:moveTo>
                  <a:pt x="2508231" y="3616979"/>
                </a:moveTo>
                <a:lnTo>
                  <a:pt x="2508810" y="3617557"/>
                </a:lnTo>
                <a:lnTo>
                  <a:pt x="2508810" y="3617556"/>
                </a:lnTo>
                <a:lnTo>
                  <a:pt x="2508232" y="3616979"/>
                </a:lnTo>
                <a:close/>
                <a:moveTo>
                  <a:pt x="6157555" y="3446648"/>
                </a:moveTo>
                <a:lnTo>
                  <a:pt x="6157555" y="3449873"/>
                </a:lnTo>
                <a:lnTo>
                  <a:pt x="6160779" y="3456322"/>
                </a:lnTo>
                <a:lnTo>
                  <a:pt x="6160779" y="3459547"/>
                </a:lnTo>
                <a:lnTo>
                  <a:pt x="6154329" y="3449873"/>
                </a:lnTo>
                <a:close/>
                <a:moveTo>
                  <a:pt x="4903150" y="3340234"/>
                </a:moveTo>
                <a:lnTo>
                  <a:pt x="4906374" y="3346683"/>
                </a:lnTo>
                <a:lnTo>
                  <a:pt x="4899925" y="3349909"/>
                </a:lnTo>
                <a:lnTo>
                  <a:pt x="4893476" y="3343459"/>
                </a:lnTo>
                <a:close/>
                <a:moveTo>
                  <a:pt x="4941846" y="3317662"/>
                </a:moveTo>
                <a:lnTo>
                  <a:pt x="4948295" y="3320886"/>
                </a:lnTo>
                <a:lnTo>
                  <a:pt x="4945071" y="3327336"/>
                </a:lnTo>
                <a:lnTo>
                  <a:pt x="4935397" y="3327336"/>
                </a:lnTo>
                <a:close/>
                <a:moveTo>
                  <a:pt x="403086" y="3259616"/>
                </a:moveTo>
                <a:lnTo>
                  <a:pt x="409536" y="3262841"/>
                </a:lnTo>
                <a:lnTo>
                  <a:pt x="412760" y="3269290"/>
                </a:lnTo>
                <a:lnTo>
                  <a:pt x="403086" y="3266066"/>
                </a:lnTo>
                <a:close/>
                <a:moveTo>
                  <a:pt x="4654849" y="3137080"/>
                </a:moveTo>
                <a:lnTo>
                  <a:pt x="4658073" y="3143528"/>
                </a:lnTo>
                <a:lnTo>
                  <a:pt x="4651623" y="3140304"/>
                </a:lnTo>
                <a:close/>
                <a:moveTo>
                  <a:pt x="4761264" y="3133855"/>
                </a:moveTo>
                <a:lnTo>
                  <a:pt x="4774162" y="3153203"/>
                </a:lnTo>
                <a:lnTo>
                  <a:pt x="4780611" y="3172551"/>
                </a:lnTo>
                <a:lnTo>
                  <a:pt x="4780611" y="3191899"/>
                </a:lnTo>
                <a:lnTo>
                  <a:pt x="4787061" y="3208022"/>
                </a:lnTo>
                <a:lnTo>
                  <a:pt x="4783836" y="3217696"/>
                </a:lnTo>
                <a:lnTo>
                  <a:pt x="4780611" y="3224146"/>
                </a:lnTo>
                <a:lnTo>
                  <a:pt x="4774162" y="3214472"/>
                </a:lnTo>
                <a:lnTo>
                  <a:pt x="4774162" y="3211248"/>
                </a:lnTo>
                <a:lnTo>
                  <a:pt x="4770938" y="3211248"/>
                </a:lnTo>
                <a:lnTo>
                  <a:pt x="4770938" y="3224146"/>
                </a:lnTo>
                <a:lnTo>
                  <a:pt x="4770938" y="3227371"/>
                </a:lnTo>
                <a:lnTo>
                  <a:pt x="4774162" y="3230596"/>
                </a:lnTo>
                <a:lnTo>
                  <a:pt x="4774162" y="3237045"/>
                </a:lnTo>
                <a:lnTo>
                  <a:pt x="4770938" y="3243495"/>
                </a:lnTo>
                <a:lnTo>
                  <a:pt x="4767712" y="3246719"/>
                </a:lnTo>
                <a:lnTo>
                  <a:pt x="4764488" y="3253169"/>
                </a:lnTo>
                <a:lnTo>
                  <a:pt x="4764488" y="3259618"/>
                </a:lnTo>
                <a:lnTo>
                  <a:pt x="4767712" y="3262843"/>
                </a:lnTo>
                <a:lnTo>
                  <a:pt x="4764488" y="3269292"/>
                </a:lnTo>
                <a:lnTo>
                  <a:pt x="4764488" y="3278966"/>
                </a:lnTo>
                <a:lnTo>
                  <a:pt x="4754814" y="3301539"/>
                </a:lnTo>
                <a:lnTo>
                  <a:pt x="4732241" y="3372482"/>
                </a:lnTo>
                <a:lnTo>
                  <a:pt x="4725791" y="3401505"/>
                </a:lnTo>
                <a:lnTo>
                  <a:pt x="4716117" y="3430526"/>
                </a:lnTo>
                <a:lnTo>
                  <a:pt x="4706443" y="3440201"/>
                </a:lnTo>
                <a:lnTo>
                  <a:pt x="4696770" y="3440201"/>
                </a:lnTo>
                <a:lnTo>
                  <a:pt x="4683870" y="3443426"/>
                </a:lnTo>
                <a:lnTo>
                  <a:pt x="4670972" y="3449875"/>
                </a:lnTo>
                <a:lnTo>
                  <a:pt x="4661298" y="3443426"/>
                </a:lnTo>
                <a:lnTo>
                  <a:pt x="4648399" y="3436976"/>
                </a:lnTo>
                <a:lnTo>
                  <a:pt x="4641949" y="3424078"/>
                </a:lnTo>
                <a:lnTo>
                  <a:pt x="4638725" y="3414403"/>
                </a:lnTo>
                <a:lnTo>
                  <a:pt x="4638725" y="3401505"/>
                </a:lnTo>
                <a:lnTo>
                  <a:pt x="4632275" y="3385381"/>
                </a:lnTo>
                <a:lnTo>
                  <a:pt x="4629051" y="3359584"/>
                </a:lnTo>
                <a:lnTo>
                  <a:pt x="4632275" y="3353134"/>
                </a:lnTo>
                <a:lnTo>
                  <a:pt x="4635500" y="3346685"/>
                </a:lnTo>
                <a:lnTo>
                  <a:pt x="4641949" y="3343460"/>
                </a:lnTo>
                <a:lnTo>
                  <a:pt x="4645175" y="3333786"/>
                </a:lnTo>
                <a:lnTo>
                  <a:pt x="4654849" y="3317663"/>
                </a:lnTo>
                <a:lnTo>
                  <a:pt x="4654849" y="3304764"/>
                </a:lnTo>
                <a:lnTo>
                  <a:pt x="4651623" y="3291865"/>
                </a:lnTo>
                <a:lnTo>
                  <a:pt x="4645175" y="3278966"/>
                </a:lnTo>
                <a:lnTo>
                  <a:pt x="4645175" y="3266067"/>
                </a:lnTo>
                <a:lnTo>
                  <a:pt x="4645175" y="3256393"/>
                </a:lnTo>
                <a:lnTo>
                  <a:pt x="4654849" y="3240270"/>
                </a:lnTo>
                <a:lnTo>
                  <a:pt x="4654849" y="3237045"/>
                </a:lnTo>
                <a:lnTo>
                  <a:pt x="4654849" y="3233820"/>
                </a:lnTo>
                <a:lnTo>
                  <a:pt x="4658073" y="3230596"/>
                </a:lnTo>
                <a:lnTo>
                  <a:pt x="4674196" y="3224146"/>
                </a:lnTo>
                <a:lnTo>
                  <a:pt x="4680646" y="3224146"/>
                </a:lnTo>
                <a:lnTo>
                  <a:pt x="4680646" y="3220922"/>
                </a:lnTo>
                <a:lnTo>
                  <a:pt x="4690320" y="3220922"/>
                </a:lnTo>
                <a:lnTo>
                  <a:pt x="4696770" y="3220922"/>
                </a:lnTo>
                <a:lnTo>
                  <a:pt x="4709668" y="3208022"/>
                </a:lnTo>
                <a:lnTo>
                  <a:pt x="4719343" y="3198349"/>
                </a:lnTo>
                <a:lnTo>
                  <a:pt x="4722567" y="3198349"/>
                </a:lnTo>
                <a:lnTo>
                  <a:pt x="4719343" y="3204798"/>
                </a:lnTo>
                <a:lnTo>
                  <a:pt x="4722567" y="3204798"/>
                </a:lnTo>
                <a:lnTo>
                  <a:pt x="4729017" y="3195124"/>
                </a:lnTo>
                <a:lnTo>
                  <a:pt x="4725791" y="3188675"/>
                </a:lnTo>
                <a:lnTo>
                  <a:pt x="4732241" y="3172551"/>
                </a:lnTo>
                <a:lnTo>
                  <a:pt x="4735465" y="3172551"/>
                </a:lnTo>
                <a:lnTo>
                  <a:pt x="4741915" y="3169327"/>
                </a:lnTo>
                <a:lnTo>
                  <a:pt x="4748364" y="3166102"/>
                </a:lnTo>
                <a:lnTo>
                  <a:pt x="4751589" y="3162877"/>
                </a:lnTo>
                <a:lnTo>
                  <a:pt x="4754814" y="3153203"/>
                </a:lnTo>
                <a:lnTo>
                  <a:pt x="4751589" y="3146754"/>
                </a:lnTo>
                <a:lnTo>
                  <a:pt x="4754814" y="3143528"/>
                </a:lnTo>
                <a:close/>
                <a:moveTo>
                  <a:pt x="6534843" y="3124178"/>
                </a:moveTo>
                <a:lnTo>
                  <a:pt x="6541293" y="3127404"/>
                </a:lnTo>
                <a:lnTo>
                  <a:pt x="6538069" y="3133852"/>
                </a:lnTo>
                <a:lnTo>
                  <a:pt x="6528393" y="3133852"/>
                </a:lnTo>
                <a:close/>
                <a:moveTo>
                  <a:pt x="4629051" y="3120956"/>
                </a:moveTo>
                <a:lnTo>
                  <a:pt x="4632275" y="3124181"/>
                </a:lnTo>
                <a:lnTo>
                  <a:pt x="4632275" y="3130630"/>
                </a:lnTo>
                <a:lnTo>
                  <a:pt x="4632275" y="3133855"/>
                </a:lnTo>
                <a:lnTo>
                  <a:pt x="4629051" y="3127405"/>
                </a:lnTo>
                <a:close/>
                <a:moveTo>
                  <a:pt x="6570315" y="3117729"/>
                </a:moveTo>
                <a:lnTo>
                  <a:pt x="6573539" y="3117729"/>
                </a:lnTo>
                <a:lnTo>
                  <a:pt x="6583213" y="3117729"/>
                </a:lnTo>
                <a:lnTo>
                  <a:pt x="6589663" y="3117729"/>
                </a:lnTo>
                <a:lnTo>
                  <a:pt x="6599337" y="3127404"/>
                </a:lnTo>
                <a:lnTo>
                  <a:pt x="6605787" y="3130628"/>
                </a:lnTo>
                <a:lnTo>
                  <a:pt x="6621911" y="3137078"/>
                </a:lnTo>
                <a:lnTo>
                  <a:pt x="6638034" y="3137078"/>
                </a:lnTo>
                <a:lnTo>
                  <a:pt x="6641258" y="3140302"/>
                </a:lnTo>
                <a:lnTo>
                  <a:pt x="6647707" y="3140302"/>
                </a:lnTo>
                <a:lnTo>
                  <a:pt x="6657381" y="3140302"/>
                </a:lnTo>
                <a:lnTo>
                  <a:pt x="6663831" y="3146752"/>
                </a:lnTo>
                <a:lnTo>
                  <a:pt x="6666359" y="3145488"/>
                </a:lnTo>
                <a:lnTo>
                  <a:pt x="6666359" y="3161611"/>
                </a:lnTo>
                <a:lnTo>
                  <a:pt x="6663831" y="3162875"/>
                </a:lnTo>
                <a:lnTo>
                  <a:pt x="6660606" y="3166099"/>
                </a:lnTo>
                <a:lnTo>
                  <a:pt x="6660606" y="3172549"/>
                </a:lnTo>
                <a:lnTo>
                  <a:pt x="6660606" y="3175773"/>
                </a:lnTo>
                <a:lnTo>
                  <a:pt x="6660606" y="3178999"/>
                </a:lnTo>
                <a:lnTo>
                  <a:pt x="6650932" y="3195122"/>
                </a:lnTo>
                <a:lnTo>
                  <a:pt x="6650932" y="3201572"/>
                </a:lnTo>
                <a:lnTo>
                  <a:pt x="6660606" y="3208020"/>
                </a:lnTo>
                <a:lnTo>
                  <a:pt x="6666359" y="3213773"/>
                </a:lnTo>
                <a:lnTo>
                  <a:pt x="6666359" y="3667931"/>
                </a:lnTo>
                <a:lnTo>
                  <a:pt x="6660606" y="3675601"/>
                </a:lnTo>
                <a:lnTo>
                  <a:pt x="6650932" y="3675601"/>
                </a:lnTo>
                <a:lnTo>
                  <a:pt x="6644483" y="3662702"/>
                </a:lnTo>
                <a:lnTo>
                  <a:pt x="6638034" y="3646579"/>
                </a:lnTo>
                <a:lnTo>
                  <a:pt x="6631584" y="3633681"/>
                </a:lnTo>
                <a:lnTo>
                  <a:pt x="6621911" y="3620781"/>
                </a:lnTo>
                <a:lnTo>
                  <a:pt x="6615461" y="3617557"/>
                </a:lnTo>
                <a:lnTo>
                  <a:pt x="6612237" y="3614333"/>
                </a:lnTo>
                <a:lnTo>
                  <a:pt x="6605787" y="3614333"/>
                </a:lnTo>
                <a:lnTo>
                  <a:pt x="6599337" y="3614333"/>
                </a:lnTo>
                <a:lnTo>
                  <a:pt x="6570315" y="3604658"/>
                </a:lnTo>
                <a:lnTo>
                  <a:pt x="6550967" y="3594984"/>
                </a:lnTo>
                <a:lnTo>
                  <a:pt x="6515495" y="3601434"/>
                </a:lnTo>
                <a:lnTo>
                  <a:pt x="6505821" y="3601434"/>
                </a:lnTo>
                <a:lnTo>
                  <a:pt x="6496147" y="3607883"/>
                </a:lnTo>
                <a:lnTo>
                  <a:pt x="6467125" y="3617557"/>
                </a:lnTo>
                <a:lnTo>
                  <a:pt x="6457451" y="3617557"/>
                </a:lnTo>
                <a:lnTo>
                  <a:pt x="6444551" y="3614333"/>
                </a:lnTo>
                <a:lnTo>
                  <a:pt x="6434877" y="3620781"/>
                </a:lnTo>
                <a:lnTo>
                  <a:pt x="6418754" y="3627231"/>
                </a:lnTo>
                <a:lnTo>
                  <a:pt x="6402631" y="3640130"/>
                </a:lnTo>
                <a:lnTo>
                  <a:pt x="6392957" y="3656254"/>
                </a:lnTo>
                <a:lnTo>
                  <a:pt x="6383283" y="3659478"/>
                </a:lnTo>
                <a:lnTo>
                  <a:pt x="6380057" y="3656254"/>
                </a:lnTo>
                <a:lnTo>
                  <a:pt x="6370383" y="3659478"/>
                </a:lnTo>
                <a:lnTo>
                  <a:pt x="6357485" y="3659478"/>
                </a:lnTo>
                <a:lnTo>
                  <a:pt x="6354260" y="3656254"/>
                </a:lnTo>
                <a:lnTo>
                  <a:pt x="6344586" y="3656254"/>
                </a:lnTo>
                <a:lnTo>
                  <a:pt x="6334913" y="3656254"/>
                </a:lnTo>
                <a:lnTo>
                  <a:pt x="6315565" y="3659478"/>
                </a:lnTo>
                <a:lnTo>
                  <a:pt x="6305889" y="3662702"/>
                </a:lnTo>
                <a:lnTo>
                  <a:pt x="6289766" y="3672377"/>
                </a:lnTo>
                <a:lnTo>
                  <a:pt x="6280093" y="3678826"/>
                </a:lnTo>
                <a:lnTo>
                  <a:pt x="6270418" y="3688500"/>
                </a:lnTo>
                <a:lnTo>
                  <a:pt x="6254295" y="3688500"/>
                </a:lnTo>
                <a:lnTo>
                  <a:pt x="6241397" y="3688500"/>
                </a:lnTo>
                <a:lnTo>
                  <a:pt x="6228497" y="3685275"/>
                </a:lnTo>
                <a:lnTo>
                  <a:pt x="6218823" y="3675601"/>
                </a:lnTo>
                <a:lnTo>
                  <a:pt x="6205925" y="3669152"/>
                </a:lnTo>
                <a:lnTo>
                  <a:pt x="6202700" y="3665928"/>
                </a:lnTo>
                <a:lnTo>
                  <a:pt x="6202700" y="3649804"/>
                </a:lnTo>
                <a:lnTo>
                  <a:pt x="6205925" y="3649804"/>
                </a:lnTo>
                <a:lnTo>
                  <a:pt x="6212373" y="3649804"/>
                </a:lnTo>
                <a:lnTo>
                  <a:pt x="6215599" y="3643354"/>
                </a:lnTo>
                <a:lnTo>
                  <a:pt x="6218823" y="3633681"/>
                </a:lnTo>
                <a:lnTo>
                  <a:pt x="6218823" y="3620781"/>
                </a:lnTo>
                <a:lnTo>
                  <a:pt x="6218823" y="3604658"/>
                </a:lnTo>
                <a:lnTo>
                  <a:pt x="6215599" y="3594984"/>
                </a:lnTo>
                <a:lnTo>
                  <a:pt x="6205925" y="3582086"/>
                </a:lnTo>
                <a:lnTo>
                  <a:pt x="6202700" y="3569186"/>
                </a:lnTo>
                <a:lnTo>
                  <a:pt x="6202700" y="3556287"/>
                </a:lnTo>
                <a:lnTo>
                  <a:pt x="6199475" y="3540165"/>
                </a:lnTo>
                <a:lnTo>
                  <a:pt x="6186577" y="3514366"/>
                </a:lnTo>
                <a:lnTo>
                  <a:pt x="6183352" y="3507918"/>
                </a:lnTo>
                <a:lnTo>
                  <a:pt x="6183352" y="3501468"/>
                </a:lnTo>
                <a:lnTo>
                  <a:pt x="6176903" y="3488569"/>
                </a:lnTo>
                <a:lnTo>
                  <a:pt x="6170453" y="3475671"/>
                </a:lnTo>
                <a:lnTo>
                  <a:pt x="6167229" y="3472445"/>
                </a:lnTo>
                <a:lnTo>
                  <a:pt x="6164003" y="3465997"/>
                </a:lnTo>
                <a:lnTo>
                  <a:pt x="6164003" y="3459547"/>
                </a:lnTo>
                <a:lnTo>
                  <a:pt x="6167229" y="3459547"/>
                </a:lnTo>
                <a:lnTo>
                  <a:pt x="6170453" y="3469221"/>
                </a:lnTo>
                <a:lnTo>
                  <a:pt x="6170453" y="3472445"/>
                </a:lnTo>
                <a:lnTo>
                  <a:pt x="6176903" y="3472445"/>
                </a:lnTo>
                <a:lnTo>
                  <a:pt x="6170453" y="3462771"/>
                </a:lnTo>
                <a:lnTo>
                  <a:pt x="6167229" y="3453097"/>
                </a:lnTo>
                <a:lnTo>
                  <a:pt x="6167229" y="3449873"/>
                </a:lnTo>
                <a:lnTo>
                  <a:pt x="6173678" y="3459547"/>
                </a:lnTo>
                <a:lnTo>
                  <a:pt x="6180127" y="3469221"/>
                </a:lnTo>
                <a:lnTo>
                  <a:pt x="6183352" y="3465997"/>
                </a:lnTo>
                <a:lnTo>
                  <a:pt x="6186577" y="3459547"/>
                </a:lnTo>
                <a:lnTo>
                  <a:pt x="6183352" y="3456322"/>
                </a:lnTo>
                <a:lnTo>
                  <a:pt x="6180127" y="3449873"/>
                </a:lnTo>
                <a:lnTo>
                  <a:pt x="6173678" y="3436974"/>
                </a:lnTo>
                <a:lnTo>
                  <a:pt x="6167229" y="3420850"/>
                </a:lnTo>
                <a:lnTo>
                  <a:pt x="6167229" y="3417626"/>
                </a:lnTo>
                <a:lnTo>
                  <a:pt x="6167229" y="3414401"/>
                </a:lnTo>
                <a:lnTo>
                  <a:pt x="6170453" y="3401503"/>
                </a:lnTo>
                <a:lnTo>
                  <a:pt x="6173678" y="3401503"/>
                </a:lnTo>
                <a:lnTo>
                  <a:pt x="6173678" y="3395053"/>
                </a:lnTo>
                <a:lnTo>
                  <a:pt x="6173678" y="3382154"/>
                </a:lnTo>
                <a:lnTo>
                  <a:pt x="6176903" y="3369256"/>
                </a:lnTo>
                <a:lnTo>
                  <a:pt x="6183352" y="3359582"/>
                </a:lnTo>
                <a:lnTo>
                  <a:pt x="6183352" y="3366030"/>
                </a:lnTo>
                <a:lnTo>
                  <a:pt x="6183352" y="3375705"/>
                </a:lnTo>
                <a:lnTo>
                  <a:pt x="6189801" y="3372480"/>
                </a:lnTo>
                <a:lnTo>
                  <a:pt x="6189801" y="3369256"/>
                </a:lnTo>
                <a:lnTo>
                  <a:pt x="6193026" y="3359582"/>
                </a:lnTo>
                <a:lnTo>
                  <a:pt x="6199475" y="3356356"/>
                </a:lnTo>
                <a:lnTo>
                  <a:pt x="6222047" y="3343458"/>
                </a:lnTo>
                <a:lnTo>
                  <a:pt x="6234947" y="3333784"/>
                </a:lnTo>
                <a:lnTo>
                  <a:pt x="6247846" y="3330559"/>
                </a:lnTo>
                <a:lnTo>
                  <a:pt x="6257520" y="3333784"/>
                </a:lnTo>
                <a:lnTo>
                  <a:pt x="6267194" y="3330559"/>
                </a:lnTo>
                <a:lnTo>
                  <a:pt x="6273643" y="3324109"/>
                </a:lnTo>
                <a:lnTo>
                  <a:pt x="6280093" y="3324109"/>
                </a:lnTo>
                <a:lnTo>
                  <a:pt x="6286541" y="3324109"/>
                </a:lnTo>
                <a:lnTo>
                  <a:pt x="6289766" y="3320885"/>
                </a:lnTo>
                <a:lnTo>
                  <a:pt x="6305889" y="3317661"/>
                </a:lnTo>
                <a:lnTo>
                  <a:pt x="6331688" y="3307986"/>
                </a:lnTo>
                <a:lnTo>
                  <a:pt x="6347811" y="3291862"/>
                </a:lnTo>
                <a:lnTo>
                  <a:pt x="6354260" y="3278964"/>
                </a:lnTo>
                <a:lnTo>
                  <a:pt x="6357485" y="3272514"/>
                </a:lnTo>
                <a:lnTo>
                  <a:pt x="6360709" y="3266065"/>
                </a:lnTo>
                <a:lnTo>
                  <a:pt x="6360709" y="3253167"/>
                </a:lnTo>
                <a:lnTo>
                  <a:pt x="6370383" y="3240267"/>
                </a:lnTo>
                <a:lnTo>
                  <a:pt x="6380057" y="3237043"/>
                </a:lnTo>
                <a:lnTo>
                  <a:pt x="6380057" y="3243493"/>
                </a:lnTo>
                <a:lnTo>
                  <a:pt x="6383283" y="3249941"/>
                </a:lnTo>
                <a:lnTo>
                  <a:pt x="6389733" y="3259616"/>
                </a:lnTo>
                <a:lnTo>
                  <a:pt x="6396181" y="3246717"/>
                </a:lnTo>
                <a:lnTo>
                  <a:pt x="6389733" y="3233818"/>
                </a:lnTo>
                <a:lnTo>
                  <a:pt x="6396181" y="3230594"/>
                </a:lnTo>
                <a:lnTo>
                  <a:pt x="6396181" y="3233818"/>
                </a:lnTo>
                <a:lnTo>
                  <a:pt x="6405856" y="3233818"/>
                </a:lnTo>
                <a:lnTo>
                  <a:pt x="6409081" y="3233818"/>
                </a:lnTo>
                <a:lnTo>
                  <a:pt x="6418754" y="3233818"/>
                </a:lnTo>
                <a:lnTo>
                  <a:pt x="6412305" y="3230594"/>
                </a:lnTo>
                <a:lnTo>
                  <a:pt x="6409081" y="3224144"/>
                </a:lnTo>
                <a:lnTo>
                  <a:pt x="6409081" y="3214470"/>
                </a:lnTo>
                <a:lnTo>
                  <a:pt x="6421979" y="3204796"/>
                </a:lnTo>
                <a:lnTo>
                  <a:pt x="6425204" y="3201572"/>
                </a:lnTo>
                <a:lnTo>
                  <a:pt x="6425204" y="3195122"/>
                </a:lnTo>
                <a:lnTo>
                  <a:pt x="6431653" y="3191897"/>
                </a:lnTo>
                <a:lnTo>
                  <a:pt x="6438102" y="3191897"/>
                </a:lnTo>
                <a:lnTo>
                  <a:pt x="6441327" y="3195122"/>
                </a:lnTo>
                <a:lnTo>
                  <a:pt x="6444551" y="3188673"/>
                </a:lnTo>
                <a:lnTo>
                  <a:pt x="6447777" y="3185448"/>
                </a:lnTo>
                <a:lnTo>
                  <a:pt x="6454225" y="3178999"/>
                </a:lnTo>
                <a:lnTo>
                  <a:pt x="6463901" y="3175773"/>
                </a:lnTo>
                <a:lnTo>
                  <a:pt x="6473575" y="3178999"/>
                </a:lnTo>
                <a:lnTo>
                  <a:pt x="6480024" y="3185448"/>
                </a:lnTo>
                <a:lnTo>
                  <a:pt x="6496147" y="3198346"/>
                </a:lnTo>
                <a:lnTo>
                  <a:pt x="6499371" y="3198346"/>
                </a:lnTo>
                <a:lnTo>
                  <a:pt x="6502596" y="3198346"/>
                </a:lnTo>
                <a:lnTo>
                  <a:pt x="6512270" y="3201572"/>
                </a:lnTo>
                <a:lnTo>
                  <a:pt x="6521945" y="3198346"/>
                </a:lnTo>
                <a:lnTo>
                  <a:pt x="6518719" y="3188673"/>
                </a:lnTo>
                <a:lnTo>
                  <a:pt x="6518719" y="3185448"/>
                </a:lnTo>
                <a:lnTo>
                  <a:pt x="6528393" y="3172549"/>
                </a:lnTo>
                <a:lnTo>
                  <a:pt x="6531619" y="3169325"/>
                </a:lnTo>
                <a:lnTo>
                  <a:pt x="6534843" y="3162875"/>
                </a:lnTo>
                <a:lnTo>
                  <a:pt x="6534843" y="3159650"/>
                </a:lnTo>
                <a:lnTo>
                  <a:pt x="6534843" y="3156426"/>
                </a:lnTo>
                <a:lnTo>
                  <a:pt x="6538069" y="3156426"/>
                </a:lnTo>
                <a:lnTo>
                  <a:pt x="6541293" y="3146752"/>
                </a:lnTo>
                <a:lnTo>
                  <a:pt x="6554192" y="3140302"/>
                </a:lnTo>
                <a:lnTo>
                  <a:pt x="6560641" y="3140302"/>
                </a:lnTo>
                <a:lnTo>
                  <a:pt x="6570315" y="3140302"/>
                </a:lnTo>
                <a:lnTo>
                  <a:pt x="6573539" y="3140302"/>
                </a:lnTo>
                <a:lnTo>
                  <a:pt x="6579989" y="3140302"/>
                </a:lnTo>
                <a:lnTo>
                  <a:pt x="6589663" y="3137078"/>
                </a:lnTo>
                <a:lnTo>
                  <a:pt x="6589663" y="3130628"/>
                </a:lnTo>
                <a:lnTo>
                  <a:pt x="6589663" y="3127404"/>
                </a:lnTo>
                <a:lnTo>
                  <a:pt x="6583213" y="3124178"/>
                </a:lnTo>
                <a:lnTo>
                  <a:pt x="6579989" y="3124178"/>
                </a:lnTo>
                <a:lnTo>
                  <a:pt x="6573539" y="3120954"/>
                </a:lnTo>
                <a:close/>
                <a:moveTo>
                  <a:pt x="6538069" y="3117729"/>
                </a:moveTo>
                <a:lnTo>
                  <a:pt x="6541293" y="3117729"/>
                </a:lnTo>
                <a:lnTo>
                  <a:pt x="6547743" y="3120954"/>
                </a:lnTo>
                <a:lnTo>
                  <a:pt x="6554192" y="3120954"/>
                </a:lnTo>
                <a:lnTo>
                  <a:pt x="6557416" y="3117729"/>
                </a:lnTo>
                <a:lnTo>
                  <a:pt x="6563866" y="3120954"/>
                </a:lnTo>
                <a:lnTo>
                  <a:pt x="6557416" y="3130628"/>
                </a:lnTo>
                <a:lnTo>
                  <a:pt x="6550967" y="3133852"/>
                </a:lnTo>
                <a:lnTo>
                  <a:pt x="6541293" y="3127404"/>
                </a:lnTo>
                <a:lnTo>
                  <a:pt x="6538069" y="3120954"/>
                </a:lnTo>
                <a:close/>
                <a:moveTo>
                  <a:pt x="6383282" y="3101603"/>
                </a:moveTo>
                <a:lnTo>
                  <a:pt x="6386506" y="3101603"/>
                </a:lnTo>
                <a:lnTo>
                  <a:pt x="6386506" y="3104829"/>
                </a:lnTo>
                <a:lnTo>
                  <a:pt x="6376832" y="3111278"/>
                </a:lnTo>
                <a:lnTo>
                  <a:pt x="6373608" y="3111278"/>
                </a:lnTo>
                <a:lnTo>
                  <a:pt x="6373608" y="3108053"/>
                </a:lnTo>
                <a:close/>
                <a:moveTo>
                  <a:pt x="6296215" y="3075806"/>
                </a:moveTo>
                <a:lnTo>
                  <a:pt x="6302664" y="3075806"/>
                </a:lnTo>
                <a:lnTo>
                  <a:pt x="6309114" y="3075806"/>
                </a:lnTo>
                <a:lnTo>
                  <a:pt x="6322013" y="3082255"/>
                </a:lnTo>
                <a:lnTo>
                  <a:pt x="6328461" y="3091929"/>
                </a:lnTo>
                <a:lnTo>
                  <a:pt x="6322013" y="3098379"/>
                </a:lnTo>
                <a:lnTo>
                  <a:pt x="6312338" y="3095155"/>
                </a:lnTo>
                <a:lnTo>
                  <a:pt x="6309114" y="3088705"/>
                </a:lnTo>
                <a:lnTo>
                  <a:pt x="6302664" y="3085480"/>
                </a:lnTo>
                <a:lnTo>
                  <a:pt x="6289766" y="3085480"/>
                </a:lnTo>
                <a:lnTo>
                  <a:pt x="6289766" y="3079031"/>
                </a:lnTo>
                <a:close/>
                <a:moveTo>
                  <a:pt x="6467123" y="3053235"/>
                </a:moveTo>
                <a:lnTo>
                  <a:pt x="6470349" y="3056460"/>
                </a:lnTo>
                <a:lnTo>
                  <a:pt x="6463899" y="3062910"/>
                </a:lnTo>
                <a:lnTo>
                  <a:pt x="6454225" y="3066134"/>
                </a:lnTo>
                <a:lnTo>
                  <a:pt x="6444551" y="3069358"/>
                </a:lnTo>
                <a:lnTo>
                  <a:pt x="6425203" y="3079033"/>
                </a:lnTo>
                <a:lnTo>
                  <a:pt x="6421979" y="3082256"/>
                </a:lnTo>
                <a:lnTo>
                  <a:pt x="6415530" y="3088706"/>
                </a:lnTo>
                <a:lnTo>
                  <a:pt x="6405856" y="3095156"/>
                </a:lnTo>
                <a:lnTo>
                  <a:pt x="6389733" y="3098380"/>
                </a:lnTo>
                <a:lnTo>
                  <a:pt x="6389733" y="3095156"/>
                </a:lnTo>
                <a:lnTo>
                  <a:pt x="6389733" y="3088706"/>
                </a:lnTo>
                <a:lnTo>
                  <a:pt x="6392957" y="3082256"/>
                </a:lnTo>
                <a:lnTo>
                  <a:pt x="6399405" y="3075808"/>
                </a:lnTo>
                <a:lnTo>
                  <a:pt x="6399407" y="3075807"/>
                </a:lnTo>
                <a:lnTo>
                  <a:pt x="6409079" y="3072584"/>
                </a:lnTo>
                <a:lnTo>
                  <a:pt x="6405856" y="3079032"/>
                </a:lnTo>
                <a:lnTo>
                  <a:pt x="6409081" y="3072583"/>
                </a:lnTo>
                <a:lnTo>
                  <a:pt x="6418754" y="3069357"/>
                </a:lnTo>
                <a:lnTo>
                  <a:pt x="6421979" y="3062910"/>
                </a:lnTo>
                <a:lnTo>
                  <a:pt x="6428427" y="3059684"/>
                </a:lnTo>
                <a:lnTo>
                  <a:pt x="6438102" y="3056460"/>
                </a:lnTo>
                <a:lnTo>
                  <a:pt x="6451000" y="3056460"/>
                </a:lnTo>
                <a:lnTo>
                  <a:pt x="6457449" y="3056460"/>
                </a:lnTo>
                <a:close/>
                <a:moveTo>
                  <a:pt x="6386507" y="3053234"/>
                </a:moveTo>
                <a:lnTo>
                  <a:pt x="6392957" y="3053234"/>
                </a:lnTo>
                <a:lnTo>
                  <a:pt x="6389733" y="3059683"/>
                </a:lnTo>
                <a:lnTo>
                  <a:pt x="6383283" y="3059683"/>
                </a:lnTo>
                <a:close/>
                <a:moveTo>
                  <a:pt x="6231721" y="3053233"/>
                </a:moveTo>
                <a:lnTo>
                  <a:pt x="6241395" y="3056458"/>
                </a:lnTo>
                <a:lnTo>
                  <a:pt x="6238171" y="3062908"/>
                </a:lnTo>
                <a:lnTo>
                  <a:pt x="6231721" y="3066132"/>
                </a:lnTo>
                <a:lnTo>
                  <a:pt x="6222047" y="3062908"/>
                </a:lnTo>
                <a:close/>
                <a:moveTo>
                  <a:pt x="6409081" y="3050009"/>
                </a:moveTo>
                <a:lnTo>
                  <a:pt x="6415530" y="3050009"/>
                </a:lnTo>
                <a:lnTo>
                  <a:pt x="6421979" y="3050009"/>
                </a:lnTo>
                <a:lnTo>
                  <a:pt x="6425204" y="3053234"/>
                </a:lnTo>
                <a:lnTo>
                  <a:pt x="6421979" y="3056459"/>
                </a:lnTo>
                <a:lnTo>
                  <a:pt x="6412305" y="3056459"/>
                </a:lnTo>
                <a:lnTo>
                  <a:pt x="6405856" y="3056459"/>
                </a:lnTo>
                <a:close/>
                <a:moveTo>
                  <a:pt x="6405856" y="3050009"/>
                </a:moveTo>
                <a:lnTo>
                  <a:pt x="6402631" y="3056459"/>
                </a:lnTo>
                <a:lnTo>
                  <a:pt x="6399407" y="3059683"/>
                </a:lnTo>
                <a:lnTo>
                  <a:pt x="6399407" y="3053234"/>
                </a:lnTo>
                <a:close/>
                <a:moveTo>
                  <a:pt x="6376832" y="3050008"/>
                </a:moveTo>
                <a:lnTo>
                  <a:pt x="6376832" y="3056458"/>
                </a:lnTo>
                <a:lnTo>
                  <a:pt x="6373608" y="3059682"/>
                </a:lnTo>
                <a:lnTo>
                  <a:pt x="6363934" y="3062908"/>
                </a:lnTo>
                <a:lnTo>
                  <a:pt x="6351035" y="3066132"/>
                </a:lnTo>
                <a:lnTo>
                  <a:pt x="6334911" y="3069356"/>
                </a:lnTo>
                <a:lnTo>
                  <a:pt x="6325237" y="3066132"/>
                </a:lnTo>
                <a:lnTo>
                  <a:pt x="6312338" y="3066132"/>
                </a:lnTo>
                <a:lnTo>
                  <a:pt x="6305889" y="3059682"/>
                </a:lnTo>
                <a:lnTo>
                  <a:pt x="6318787" y="3053233"/>
                </a:lnTo>
                <a:lnTo>
                  <a:pt x="6325237" y="3053233"/>
                </a:lnTo>
                <a:lnTo>
                  <a:pt x="6331687" y="3053233"/>
                </a:lnTo>
                <a:lnTo>
                  <a:pt x="6338135" y="3056458"/>
                </a:lnTo>
                <a:lnTo>
                  <a:pt x="6341361" y="3059682"/>
                </a:lnTo>
                <a:lnTo>
                  <a:pt x="6344585" y="3059682"/>
                </a:lnTo>
                <a:lnTo>
                  <a:pt x="6347811" y="3056458"/>
                </a:lnTo>
                <a:lnTo>
                  <a:pt x="6354259" y="3056458"/>
                </a:lnTo>
                <a:lnTo>
                  <a:pt x="6357485" y="3059682"/>
                </a:lnTo>
                <a:lnTo>
                  <a:pt x="6363934" y="3059682"/>
                </a:lnTo>
                <a:lnTo>
                  <a:pt x="6367159" y="3059682"/>
                </a:lnTo>
                <a:lnTo>
                  <a:pt x="6373608" y="3053233"/>
                </a:lnTo>
                <a:close/>
                <a:moveTo>
                  <a:pt x="6267193" y="3050008"/>
                </a:moveTo>
                <a:lnTo>
                  <a:pt x="6273643" y="3050008"/>
                </a:lnTo>
                <a:lnTo>
                  <a:pt x="6289766" y="3053233"/>
                </a:lnTo>
                <a:lnTo>
                  <a:pt x="6289766" y="3059682"/>
                </a:lnTo>
                <a:lnTo>
                  <a:pt x="6292991" y="3059682"/>
                </a:lnTo>
                <a:lnTo>
                  <a:pt x="6289766" y="3062908"/>
                </a:lnTo>
                <a:lnTo>
                  <a:pt x="6286541" y="3066132"/>
                </a:lnTo>
                <a:lnTo>
                  <a:pt x="6276867" y="3066132"/>
                </a:lnTo>
                <a:lnTo>
                  <a:pt x="6251069" y="3069356"/>
                </a:lnTo>
                <a:lnTo>
                  <a:pt x="6244619" y="3072582"/>
                </a:lnTo>
                <a:lnTo>
                  <a:pt x="6241395" y="3066132"/>
                </a:lnTo>
                <a:lnTo>
                  <a:pt x="6244619" y="3059682"/>
                </a:lnTo>
                <a:lnTo>
                  <a:pt x="6251069" y="3056458"/>
                </a:lnTo>
                <a:lnTo>
                  <a:pt x="6260743" y="3062908"/>
                </a:lnTo>
                <a:lnTo>
                  <a:pt x="6270417" y="3062908"/>
                </a:lnTo>
                <a:lnTo>
                  <a:pt x="6270417" y="3059682"/>
                </a:lnTo>
                <a:lnTo>
                  <a:pt x="6267193" y="3056458"/>
                </a:lnTo>
                <a:lnTo>
                  <a:pt x="6263969" y="3053233"/>
                </a:lnTo>
                <a:close/>
                <a:moveTo>
                  <a:pt x="6205924" y="3046784"/>
                </a:moveTo>
                <a:lnTo>
                  <a:pt x="6218823" y="3056458"/>
                </a:lnTo>
                <a:lnTo>
                  <a:pt x="6209149" y="3062908"/>
                </a:lnTo>
                <a:lnTo>
                  <a:pt x="6205924" y="3062908"/>
                </a:lnTo>
                <a:lnTo>
                  <a:pt x="6199475" y="3059682"/>
                </a:lnTo>
                <a:lnTo>
                  <a:pt x="6193025" y="3053233"/>
                </a:lnTo>
                <a:lnTo>
                  <a:pt x="6189801" y="3050008"/>
                </a:lnTo>
                <a:lnTo>
                  <a:pt x="6202699" y="3050008"/>
                </a:lnTo>
                <a:close/>
                <a:moveTo>
                  <a:pt x="6454227" y="3037110"/>
                </a:moveTo>
                <a:lnTo>
                  <a:pt x="6460675" y="3040336"/>
                </a:lnTo>
                <a:lnTo>
                  <a:pt x="6457451" y="3043560"/>
                </a:lnTo>
                <a:lnTo>
                  <a:pt x="6441327" y="3046785"/>
                </a:lnTo>
                <a:lnTo>
                  <a:pt x="6441327" y="3040336"/>
                </a:lnTo>
                <a:lnTo>
                  <a:pt x="6451001" y="3040336"/>
                </a:lnTo>
                <a:close/>
                <a:moveTo>
                  <a:pt x="6567090" y="3027436"/>
                </a:moveTo>
                <a:lnTo>
                  <a:pt x="6563866" y="3040336"/>
                </a:lnTo>
                <a:lnTo>
                  <a:pt x="6560641" y="3046785"/>
                </a:lnTo>
                <a:lnTo>
                  <a:pt x="6554192" y="3046785"/>
                </a:lnTo>
                <a:lnTo>
                  <a:pt x="6554192" y="3043560"/>
                </a:lnTo>
                <a:lnTo>
                  <a:pt x="6557416" y="3040336"/>
                </a:lnTo>
                <a:close/>
                <a:moveTo>
                  <a:pt x="6157553" y="3024211"/>
                </a:moveTo>
                <a:lnTo>
                  <a:pt x="6170451" y="3024211"/>
                </a:lnTo>
                <a:lnTo>
                  <a:pt x="6180127" y="3024211"/>
                </a:lnTo>
                <a:lnTo>
                  <a:pt x="6180127" y="3027435"/>
                </a:lnTo>
                <a:lnTo>
                  <a:pt x="6160778" y="3030661"/>
                </a:lnTo>
                <a:lnTo>
                  <a:pt x="6151104" y="3027435"/>
                </a:lnTo>
                <a:close/>
                <a:moveTo>
                  <a:pt x="6621911" y="3008089"/>
                </a:moveTo>
                <a:lnTo>
                  <a:pt x="6628359" y="3014538"/>
                </a:lnTo>
                <a:lnTo>
                  <a:pt x="6625135" y="3024212"/>
                </a:lnTo>
                <a:lnTo>
                  <a:pt x="6618685" y="3017762"/>
                </a:lnTo>
                <a:close/>
                <a:moveTo>
                  <a:pt x="6005993" y="3001638"/>
                </a:moveTo>
                <a:lnTo>
                  <a:pt x="6022116" y="3004863"/>
                </a:lnTo>
                <a:lnTo>
                  <a:pt x="6035015" y="3001638"/>
                </a:lnTo>
                <a:lnTo>
                  <a:pt x="6041465" y="3008087"/>
                </a:lnTo>
                <a:lnTo>
                  <a:pt x="6051139" y="3008087"/>
                </a:lnTo>
                <a:lnTo>
                  <a:pt x="6054363" y="3008087"/>
                </a:lnTo>
                <a:lnTo>
                  <a:pt x="6057588" y="3011312"/>
                </a:lnTo>
                <a:lnTo>
                  <a:pt x="6060813" y="3017761"/>
                </a:lnTo>
                <a:lnTo>
                  <a:pt x="6067262" y="3020987"/>
                </a:lnTo>
                <a:lnTo>
                  <a:pt x="6083385" y="3024211"/>
                </a:lnTo>
                <a:lnTo>
                  <a:pt x="6099509" y="3024211"/>
                </a:lnTo>
                <a:lnTo>
                  <a:pt x="6105959" y="3017761"/>
                </a:lnTo>
                <a:lnTo>
                  <a:pt x="6109183" y="3017761"/>
                </a:lnTo>
                <a:lnTo>
                  <a:pt x="6115633" y="3014537"/>
                </a:lnTo>
                <a:lnTo>
                  <a:pt x="6131756" y="3020987"/>
                </a:lnTo>
                <a:lnTo>
                  <a:pt x="6141430" y="3024211"/>
                </a:lnTo>
                <a:lnTo>
                  <a:pt x="6147879" y="3027435"/>
                </a:lnTo>
                <a:lnTo>
                  <a:pt x="6151104" y="3030661"/>
                </a:lnTo>
                <a:lnTo>
                  <a:pt x="6154328" y="3037110"/>
                </a:lnTo>
                <a:lnTo>
                  <a:pt x="6164003" y="3043559"/>
                </a:lnTo>
                <a:lnTo>
                  <a:pt x="6170451" y="3040334"/>
                </a:lnTo>
                <a:lnTo>
                  <a:pt x="6180127" y="3040334"/>
                </a:lnTo>
                <a:lnTo>
                  <a:pt x="6189801" y="3043559"/>
                </a:lnTo>
                <a:lnTo>
                  <a:pt x="6189801" y="3050008"/>
                </a:lnTo>
                <a:lnTo>
                  <a:pt x="6189801" y="3053233"/>
                </a:lnTo>
                <a:lnTo>
                  <a:pt x="6189801" y="3059682"/>
                </a:lnTo>
                <a:lnTo>
                  <a:pt x="6193025" y="3062908"/>
                </a:lnTo>
                <a:lnTo>
                  <a:pt x="6186575" y="3062908"/>
                </a:lnTo>
                <a:lnTo>
                  <a:pt x="6160778" y="3053233"/>
                </a:lnTo>
                <a:lnTo>
                  <a:pt x="6157553" y="3056458"/>
                </a:lnTo>
                <a:lnTo>
                  <a:pt x="6151104" y="3056458"/>
                </a:lnTo>
                <a:lnTo>
                  <a:pt x="6144655" y="3053233"/>
                </a:lnTo>
                <a:lnTo>
                  <a:pt x="6134981" y="3053233"/>
                </a:lnTo>
                <a:lnTo>
                  <a:pt x="6125307" y="3053233"/>
                </a:lnTo>
                <a:lnTo>
                  <a:pt x="6109183" y="3053233"/>
                </a:lnTo>
                <a:lnTo>
                  <a:pt x="6099509" y="3046784"/>
                </a:lnTo>
                <a:lnTo>
                  <a:pt x="6083385" y="3043559"/>
                </a:lnTo>
                <a:lnTo>
                  <a:pt x="6073711" y="3040334"/>
                </a:lnTo>
                <a:lnTo>
                  <a:pt x="6064037" y="3040334"/>
                </a:lnTo>
                <a:lnTo>
                  <a:pt x="6060813" y="3040334"/>
                </a:lnTo>
                <a:lnTo>
                  <a:pt x="6060813" y="3043559"/>
                </a:lnTo>
                <a:lnTo>
                  <a:pt x="6054363" y="3043559"/>
                </a:lnTo>
                <a:lnTo>
                  <a:pt x="6041465" y="3040334"/>
                </a:lnTo>
                <a:lnTo>
                  <a:pt x="6028565" y="3033885"/>
                </a:lnTo>
                <a:lnTo>
                  <a:pt x="6012442" y="3033885"/>
                </a:lnTo>
                <a:lnTo>
                  <a:pt x="6012442" y="3030661"/>
                </a:lnTo>
                <a:lnTo>
                  <a:pt x="6012442" y="3027435"/>
                </a:lnTo>
                <a:lnTo>
                  <a:pt x="6005993" y="3020987"/>
                </a:lnTo>
                <a:lnTo>
                  <a:pt x="5999543" y="3020987"/>
                </a:lnTo>
                <a:lnTo>
                  <a:pt x="5993094" y="3020987"/>
                </a:lnTo>
                <a:lnTo>
                  <a:pt x="5999543" y="3008087"/>
                </a:lnTo>
                <a:close/>
                <a:moveTo>
                  <a:pt x="4541984" y="2998418"/>
                </a:moveTo>
                <a:lnTo>
                  <a:pt x="4545208" y="3001642"/>
                </a:lnTo>
                <a:lnTo>
                  <a:pt x="4548434" y="3011316"/>
                </a:lnTo>
                <a:lnTo>
                  <a:pt x="4541984" y="3011316"/>
                </a:lnTo>
                <a:lnTo>
                  <a:pt x="4538760" y="3001642"/>
                </a:lnTo>
                <a:close/>
                <a:moveTo>
                  <a:pt x="6628359" y="2991965"/>
                </a:moveTo>
                <a:lnTo>
                  <a:pt x="6634809" y="3001639"/>
                </a:lnTo>
                <a:lnTo>
                  <a:pt x="6631584" y="3011313"/>
                </a:lnTo>
                <a:lnTo>
                  <a:pt x="6625135" y="3008089"/>
                </a:lnTo>
                <a:lnTo>
                  <a:pt x="6625135" y="3004864"/>
                </a:lnTo>
                <a:lnTo>
                  <a:pt x="6625135" y="2998415"/>
                </a:lnTo>
                <a:close/>
                <a:moveTo>
                  <a:pt x="4551658" y="2979069"/>
                </a:moveTo>
                <a:lnTo>
                  <a:pt x="4554883" y="2979069"/>
                </a:lnTo>
                <a:lnTo>
                  <a:pt x="4554883" y="2988744"/>
                </a:lnTo>
                <a:lnTo>
                  <a:pt x="4551658" y="2991968"/>
                </a:lnTo>
                <a:lnTo>
                  <a:pt x="4551658" y="2982294"/>
                </a:lnTo>
                <a:close/>
                <a:moveTo>
                  <a:pt x="6370383" y="2972617"/>
                </a:moveTo>
                <a:lnTo>
                  <a:pt x="6370383" y="2985515"/>
                </a:lnTo>
                <a:lnTo>
                  <a:pt x="6367159" y="2988741"/>
                </a:lnTo>
                <a:lnTo>
                  <a:pt x="6363934" y="2988741"/>
                </a:lnTo>
                <a:lnTo>
                  <a:pt x="6363934" y="2979066"/>
                </a:lnTo>
                <a:close/>
                <a:moveTo>
                  <a:pt x="6376833" y="2969392"/>
                </a:moveTo>
                <a:lnTo>
                  <a:pt x="6380059" y="2969392"/>
                </a:lnTo>
                <a:lnTo>
                  <a:pt x="6383283" y="2975841"/>
                </a:lnTo>
                <a:lnTo>
                  <a:pt x="6383283" y="2988741"/>
                </a:lnTo>
                <a:lnTo>
                  <a:pt x="6380059" y="2991965"/>
                </a:lnTo>
                <a:lnTo>
                  <a:pt x="6373609" y="2998415"/>
                </a:lnTo>
                <a:lnTo>
                  <a:pt x="6370383" y="2991965"/>
                </a:lnTo>
                <a:lnTo>
                  <a:pt x="6373609" y="2979066"/>
                </a:lnTo>
                <a:close/>
                <a:moveTo>
                  <a:pt x="6228497" y="2943594"/>
                </a:moveTo>
                <a:lnTo>
                  <a:pt x="6231723" y="2943594"/>
                </a:lnTo>
                <a:lnTo>
                  <a:pt x="6231723" y="2956494"/>
                </a:lnTo>
                <a:lnTo>
                  <a:pt x="6228497" y="2959718"/>
                </a:lnTo>
                <a:lnTo>
                  <a:pt x="6225273" y="2959718"/>
                </a:lnTo>
                <a:lnTo>
                  <a:pt x="6225273" y="2950044"/>
                </a:lnTo>
                <a:close/>
                <a:moveTo>
                  <a:pt x="6444551" y="2940370"/>
                </a:moveTo>
                <a:lnTo>
                  <a:pt x="6463901" y="2940370"/>
                </a:lnTo>
                <a:lnTo>
                  <a:pt x="6470349" y="2946820"/>
                </a:lnTo>
                <a:lnTo>
                  <a:pt x="6467125" y="2953268"/>
                </a:lnTo>
                <a:lnTo>
                  <a:pt x="6457451" y="2956494"/>
                </a:lnTo>
                <a:lnTo>
                  <a:pt x="6447777" y="2950044"/>
                </a:lnTo>
                <a:lnTo>
                  <a:pt x="6444551" y="2943594"/>
                </a:lnTo>
                <a:close/>
                <a:moveTo>
                  <a:pt x="6502596" y="2933921"/>
                </a:moveTo>
                <a:lnTo>
                  <a:pt x="6512270" y="2937145"/>
                </a:lnTo>
                <a:lnTo>
                  <a:pt x="6521945" y="2933921"/>
                </a:lnTo>
                <a:lnTo>
                  <a:pt x="6534843" y="2937145"/>
                </a:lnTo>
                <a:lnTo>
                  <a:pt x="6544517" y="2940370"/>
                </a:lnTo>
                <a:lnTo>
                  <a:pt x="6550967" y="2950044"/>
                </a:lnTo>
                <a:lnTo>
                  <a:pt x="6547743" y="2956494"/>
                </a:lnTo>
                <a:lnTo>
                  <a:pt x="6544517" y="2953268"/>
                </a:lnTo>
                <a:lnTo>
                  <a:pt x="6534843" y="2950044"/>
                </a:lnTo>
                <a:lnTo>
                  <a:pt x="6531619" y="2946820"/>
                </a:lnTo>
                <a:lnTo>
                  <a:pt x="6512270" y="2946820"/>
                </a:lnTo>
                <a:lnTo>
                  <a:pt x="6509045" y="2946820"/>
                </a:lnTo>
                <a:lnTo>
                  <a:pt x="6502596" y="2946820"/>
                </a:lnTo>
                <a:lnTo>
                  <a:pt x="6486473" y="2943594"/>
                </a:lnTo>
                <a:lnTo>
                  <a:pt x="6486473" y="2950044"/>
                </a:lnTo>
                <a:lnTo>
                  <a:pt x="6483248" y="2940370"/>
                </a:lnTo>
                <a:lnTo>
                  <a:pt x="6489698" y="2940370"/>
                </a:lnTo>
                <a:close/>
                <a:moveTo>
                  <a:pt x="5877005" y="2933919"/>
                </a:moveTo>
                <a:lnTo>
                  <a:pt x="5883455" y="2940369"/>
                </a:lnTo>
                <a:lnTo>
                  <a:pt x="5883455" y="2943593"/>
                </a:lnTo>
                <a:lnTo>
                  <a:pt x="5880230" y="2943593"/>
                </a:lnTo>
                <a:lnTo>
                  <a:pt x="5880230" y="2940369"/>
                </a:lnTo>
                <a:lnTo>
                  <a:pt x="5877005" y="2937144"/>
                </a:lnTo>
                <a:close/>
                <a:moveTo>
                  <a:pt x="1925140" y="2930697"/>
                </a:moveTo>
                <a:lnTo>
                  <a:pt x="1931590" y="2933922"/>
                </a:lnTo>
                <a:lnTo>
                  <a:pt x="1925140" y="2940371"/>
                </a:lnTo>
                <a:lnTo>
                  <a:pt x="1921916" y="2933922"/>
                </a:lnTo>
                <a:close/>
                <a:moveTo>
                  <a:pt x="6041465" y="2927470"/>
                </a:moveTo>
                <a:lnTo>
                  <a:pt x="6054363" y="2933919"/>
                </a:lnTo>
                <a:lnTo>
                  <a:pt x="6051139" y="2943593"/>
                </a:lnTo>
                <a:lnTo>
                  <a:pt x="6041465" y="2943593"/>
                </a:lnTo>
                <a:lnTo>
                  <a:pt x="6038239" y="2937144"/>
                </a:lnTo>
                <a:close/>
                <a:moveTo>
                  <a:pt x="6431653" y="2911347"/>
                </a:moveTo>
                <a:lnTo>
                  <a:pt x="6438102" y="2911347"/>
                </a:lnTo>
                <a:lnTo>
                  <a:pt x="6451001" y="2911347"/>
                </a:lnTo>
                <a:lnTo>
                  <a:pt x="6434877" y="2914573"/>
                </a:lnTo>
                <a:lnTo>
                  <a:pt x="6428428" y="2914573"/>
                </a:lnTo>
                <a:close/>
                <a:moveTo>
                  <a:pt x="6650932" y="2908123"/>
                </a:moveTo>
                <a:lnTo>
                  <a:pt x="6666359" y="2908123"/>
                </a:lnTo>
                <a:lnTo>
                  <a:pt x="6666359" y="2912190"/>
                </a:lnTo>
                <a:lnTo>
                  <a:pt x="6663831" y="2911347"/>
                </a:lnTo>
                <a:lnTo>
                  <a:pt x="6654157" y="2911347"/>
                </a:lnTo>
                <a:close/>
                <a:moveTo>
                  <a:pt x="6538069" y="2908123"/>
                </a:moveTo>
                <a:lnTo>
                  <a:pt x="6538069" y="2917797"/>
                </a:lnTo>
                <a:lnTo>
                  <a:pt x="6528395" y="2914573"/>
                </a:lnTo>
                <a:lnTo>
                  <a:pt x="6528395" y="2911347"/>
                </a:lnTo>
                <a:close/>
                <a:moveTo>
                  <a:pt x="6409081" y="2908123"/>
                </a:moveTo>
                <a:lnTo>
                  <a:pt x="6421979" y="2908123"/>
                </a:lnTo>
                <a:lnTo>
                  <a:pt x="6428428" y="2914573"/>
                </a:lnTo>
                <a:lnTo>
                  <a:pt x="6415530" y="2914573"/>
                </a:lnTo>
                <a:lnTo>
                  <a:pt x="6409081" y="2917797"/>
                </a:lnTo>
                <a:lnTo>
                  <a:pt x="6405856" y="2911347"/>
                </a:lnTo>
                <a:close/>
                <a:moveTo>
                  <a:pt x="6002768" y="2904897"/>
                </a:moveTo>
                <a:lnTo>
                  <a:pt x="6005993" y="2911346"/>
                </a:lnTo>
                <a:lnTo>
                  <a:pt x="6009217" y="2924246"/>
                </a:lnTo>
                <a:lnTo>
                  <a:pt x="6018891" y="2927470"/>
                </a:lnTo>
                <a:lnTo>
                  <a:pt x="6018891" y="2933919"/>
                </a:lnTo>
                <a:lnTo>
                  <a:pt x="6015667" y="2937144"/>
                </a:lnTo>
                <a:lnTo>
                  <a:pt x="6005993" y="2933919"/>
                </a:lnTo>
                <a:lnTo>
                  <a:pt x="6002768" y="2930695"/>
                </a:lnTo>
                <a:lnTo>
                  <a:pt x="6002768" y="2924246"/>
                </a:lnTo>
                <a:lnTo>
                  <a:pt x="5999543" y="2921020"/>
                </a:lnTo>
                <a:lnTo>
                  <a:pt x="5989870" y="2917796"/>
                </a:lnTo>
                <a:lnTo>
                  <a:pt x="5986645" y="2917796"/>
                </a:lnTo>
                <a:lnTo>
                  <a:pt x="5986645" y="2911346"/>
                </a:lnTo>
                <a:lnTo>
                  <a:pt x="5996319" y="2908122"/>
                </a:lnTo>
                <a:close/>
                <a:moveTo>
                  <a:pt x="6480024" y="2901674"/>
                </a:moveTo>
                <a:lnTo>
                  <a:pt x="6486473" y="2904898"/>
                </a:lnTo>
                <a:lnTo>
                  <a:pt x="6489698" y="2911347"/>
                </a:lnTo>
                <a:lnTo>
                  <a:pt x="6483248" y="2911347"/>
                </a:lnTo>
                <a:lnTo>
                  <a:pt x="6476799" y="2911347"/>
                </a:lnTo>
                <a:lnTo>
                  <a:pt x="6473575" y="2908123"/>
                </a:lnTo>
                <a:lnTo>
                  <a:pt x="6473575" y="2904898"/>
                </a:lnTo>
                <a:close/>
                <a:moveTo>
                  <a:pt x="6376833" y="2898449"/>
                </a:moveTo>
                <a:lnTo>
                  <a:pt x="6383283" y="2898449"/>
                </a:lnTo>
                <a:lnTo>
                  <a:pt x="6389733" y="2901674"/>
                </a:lnTo>
                <a:lnTo>
                  <a:pt x="6380059" y="2904898"/>
                </a:lnTo>
                <a:lnTo>
                  <a:pt x="6376833" y="2908123"/>
                </a:lnTo>
                <a:lnTo>
                  <a:pt x="6373609" y="2904898"/>
                </a:lnTo>
                <a:close/>
                <a:moveTo>
                  <a:pt x="6080160" y="2895223"/>
                </a:moveTo>
                <a:lnTo>
                  <a:pt x="6086610" y="2895223"/>
                </a:lnTo>
                <a:lnTo>
                  <a:pt x="6083385" y="2898448"/>
                </a:lnTo>
                <a:lnTo>
                  <a:pt x="6076936" y="2898448"/>
                </a:lnTo>
                <a:close/>
                <a:moveTo>
                  <a:pt x="6550967" y="2892000"/>
                </a:moveTo>
                <a:lnTo>
                  <a:pt x="6554192" y="2898449"/>
                </a:lnTo>
                <a:lnTo>
                  <a:pt x="6550967" y="2901674"/>
                </a:lnTo>
                <a:lnTo>
                  <a:pt x="6544517" y="2895224"/>
                </a:lnTo>
                <a:close/>
                <a:moveTo>
                  <a:pt x="5844758" y="2891999"/>
                </a:moveTo>
                <a:lnTo>
                  <a:pt x="5854432" y="2898448"/>
                </a:lnTo>
                <a:lnTo>
                  <a:pt x="5857658" y="2908122"/>
                </a:lnTo>
                <a:lnTo>
                  <a:pt x="5854432" y="2911346"/>
                </a:lnTo>
                <a:lnTo>
                  <a:pt x="5844758" y="2904897"/>
                </a:lnTo>
                <a:lnTo>
                  <a:pt x="5841534" y="2898448"/>
                </a:lnTo>
                <a:close/>
                <a:moveTo>
                  <a:pt x="6541293" y="2888774"/>
                </a:moveTo>
                <a:lnTo>
                  <a:pt x="6550967" y="2888774"/>
                </a:lnTo>
                <a:lnTo>
                  <a:pt x="6547743" y="2892000"/>
                </a:lnTo>
                <a:lnTo>
                  <a:pt x="6541293" y="2892000"/>
                </a:lnTo>
                <a:close/>
                <a:moveTo>
                  <a:pt x="6650932" y="2885550"/>
                </a:moveTo>
                <a:lnTo>
                  <a:pt x="6657381" y="2888774"/>
                </a:lnTo>
                <a:lnTo>
                  <a:pt x="6663831" y="2892000"/>
                </a:lnTo>
                <a:lnTo>
                  <a:pt x="6666359" y="2893264"/>
                </a:lnTo>
                <a:lnTo>
                  <a:pt x="6666359" y="2898101"/>
                </a:lnTo>
                <a:lnTo>
                  <a:pt x="6654157" y="2892000"/>
                </a:lnTo>
                <a:lnTo>
                  <a:pt x="6650932" y="2888774"/>
                </a:lnTo>
                <a:close/>
                <a:moveTo>
                  <a:pt x="2557179" y="2882326"/>
                </a:moveTo>
                <a:lnTo>
                  <a:pt x="2560405" y="2885550"/>
                </a:lnTo>
                <a:lnTo>
                  <a:pt x="2557179" y="2895225"/>
                </a:lnTo>
                <a:lnTo>
                  <a:pt x="2544281" y="2904899"/>
                </a:lnTo>
                <a:lnTo>
                  <a:pt x="2544281" y="2901674"/>
                </a:lnTo>
                <a:lnTo>
                  <a:pt x="2550731" y="2895225"/>
                </a:lnTo>
                <a:close/>
                <a:moveTo>
                  <a:pt x="6583213" y="2879100"/>
                </a:moveTo>
                <a:lnTo>
                  <a:pt x="6599337" y="2882326"/>
                </a:lnTo>
                <a:lnTo>
                  <a:pt x="6602561" y="2885550"/>
                </a:lnTo>
                <a:lnTo>
                  <a:pt x="6609011" y="2888774"/>
                </a:lnTo>
                <a:lnTo>
                  <a:pt x="6615461" y="2888774"/>
                </a:lnTo>
                <a:lnTo>
                  <a:pt x="6621911" y="2888774"/>
                </a:lnTo>
                <a:lnTo>
                  <a:pt x="6621911" y="2895224"/>
                </a:lnTo>
                <a:lnTo>
                  <a:pt x="6625135" y="2904898"/>
                </a:lnTo>
                <a:lnTo>
                  <a:pt x="6621911" y="2904898"/>
                </a:lnTo>
                <a:lnTo>
                  <a:pt x="6621911" y="2908123"/>
                </a:lnTo>
                <a:lnTo>
                  <a:pt x="6621911" y="2914573"/>
                </a:lnTo>
                <a:lnTo>
                  <a:pt x="6625135" y="2927471"/>
                </a:lnTo>
                <a:lnTo>
                  <a:pt x="6634809" y="2937145"/>
                </a:lnTo>
                <a:lnTo>
                  <a:pt x="6641258" y="2946820"/>
                </a:lnTo>
                <a:lnTo>
                  <a:pt x="6650932" y="2943594"/>
                </a:lnTo>
                <a:lnTo>
                  <a:pt x="6657381" y="2940370"/>
                </a:lnTo>
                <a:lnTo>
                  <a:pt x="6660606" y="2937145"/>
                </a:lnTo>
                <a:lnTo>
                  <a:pt x="6666359" y="2929475"/>
                </a:lnTo>
                <a:lnTo>
                  <a:pt x="6666359" y="2975145"/>
                </a:lnTo>
                <a:lnTo>
                  <a:pt x="6663831" y="2972617"/>
                </a:lnTo>
                <a:lnTo>
                  <a:pt x="6660606" y="2969392"/>
                </a:lnTo>
                <a:lnTo>
                  <a:pt x="6650932" y="2969392"/>
                </a:lnTo>
                <a:lnTo>
                  <a:pt x="6644483" y="2969392"/>
                </a:lnTo>
                <a:lnTo>
                  <a:pt x="6641258" y="2969392"/>
                </a:lnTo>
                <a:lnTo>
                  <a:pt x="6634809" y="2966168"/>
                </a:lnTo>
                <a:lnTo>
                  <a:pt x="6631584" y="2962942"/>
                </a:lnTo>
                <a:lnTo>
                  <a:pt x="6618685" y="2953268"/>
                </a:lnTo>
                <a:lnTo>
                  <a:pt x="6612237" y="2953268"/>
                </a:lnTo>
                <a:lnTo>
                  <a:pt x="6605787" y="2956494"/>
                </a:lnTo>
                <a:lnTo>
                  <a:pt x="6602561" y="2959718"/>
                </a:lnTo>
                <a:lnTo>
                  <a:pt x="6596113" y="2962942"/>
                </a:lnTo>
                <a:lnTo>
                  <a:pt x="6592887" y="2953268"/>
                </a:lnTo>
                <a:lnTo>
                  <a:pt x="6592887" y="2950044"/>
                </a:lnTo>
                <a:lnTo>
                  <a:pt x="6592887" y="2946820"/>
                </a:lnTo>
                <a:lnTo>
                  <a:pt x="6583213" y="2937145"/>
                </a:lnTo>
                <a:lnTo>
                  <a:pt x="6576764" y="2937145"/>
                </a:lnTo>
                <a:lnTo>
                  <a:pt x="6573539" y="2933921"/>
                </a:lnTo>
                <a:lnTo>
                  <a:pt x="6583213" y="2930696"/>
                </a:lnTo>
                <a:lnTo>
                  <a:pt x="6596113" y="2927471"/>
                </a:lnTo>
                <a:lnTo>
                  <a:pt x="6602561" y="2924247"/>
                </a:lnTo>
                <a:lnTo>
                  <a:pt x="6615461" y="2930696"/>
                </a:lnTo>
                <a:lnTo>
                  <a:pt x="6615461" y="2917797"/>
                </a:lnTo>
                <a:lnTo>
                  <a:pt x="6612237" y="2921021"/>
                </a:lnTo>
                <a:lnTo>
                  <a:pt x="6605787" y="2921021"/>
                </a:lnTo>
                <a:lnTo>
                  <a:pt x="6596113" y="2921021"/>
                </a:lnTo>
                <a:lnTo>
                  <a:pt x="6592887" y="2921021"/>
                </a:lnTo>
                <a:lnTo>
                  <a:pt x="6589663" y="2921021"/>
                </a:lnTo>
                <a:lnTo>
                  <a:pt x="6583213" y="2921021"/>
                </a:lnTo>
                <a:lnTo>
                  <a:pt x="6576764" y="2917797"/>
                </a:lnTo>
                <a:lnTo>
                  <a:pt x="6573539" y="2911347"/>
                </a:lnTo>
                <a:lnTo>
                  <a:pt x="6570315" y="2908123"/>
                </a:lnTo>
                <a:lnTo>
                  <a:pt x="6560641" y="2904898"/>
                </a:lnTo>
                <a:lnTo>
                  <a:pt x="6550967" y="2901674"/>
                </a:lnTo>
                <a:lnTo>
                  <a:pt x="6563866" y="2892000"/>
                </a:lnTo>
                <a:lnTo>
                  <a:pt x="6573539" y="2882326"/>
                </a:lnTo>
                <a:close/>
                <a:moveTo>
                  <a:pt x="6476799" y="2879100"/>
                </a:moveTo>
                <a:lnTo>
                  <a:pt x="6483248" y="2888774"/>
                </a:lnTo>
                <a:lnTo>
                  <a:pt x="6480024" y="2892000"/>
                </a:lnTo>
                <a:lnTo>
                  <a:pt x="6473575" y="2888774"/>
                </a:lnTo>
                <a:lnTo>
                  <a:pt x="6470349" y="2882326"/>
                </a:lnTo>
                <a:close/>
                <a:moveTo>
                  <a:pt x="6547743" y="2872651"/>
                </a:moveTo>
                <a:lnTo>
                  <a:pt x="6560641" y="2875876"/>
                </a:lnTo>
                <a:lnTo>
                  <a:pt x="6557416" y="2882326"/>
                </a:lnTo>
                <a:lnTo>
                  <a:pt x="6547743" y="2875876"/>
                </a:lnTo>
                <a:lnTo>
                  <a:pt x="6550967" y="2879100"/>
                </a:lnTo>
                <a:lnTo>
                  <a:pt x="6544517" y="2882326"/>
                </a:lnTo>
                <a:lnTo>
                  <a:pt x="6534843" y="2875876"/>
                </a:lnTo>
                <a:lnTo>
                  <a:pt x="6538069" y="2875876"/>
                </a:lnTo>
                <a:lnTo>
                  <a:pt x="6541293" y="2875876"/>
                </a:lnTo>
                <a:close/>
                <a:moveTo>
                  <a:pt x="5973747" y="2872651"/>
                </a:moveTo>
                <a:lnTo>
                  <a:pt x="5983420" y="2879099"/>
                </a:lnTo>
                <a:lnTo>
                  <a:pt x="5973747" y="2879099"/>
                </a:lnTo>
                <a:lnTo>
                  <a:pt x="5970521" y="2875875"/>
                </a:lnTo>
                <a:close/>
                <a:moveTo>
                  <a:pt x="1676839" y="2869428"/>
                </a:moveTo>
                <a:lnTo>
                  <a:pt x="1686514" y="2882327"/>
                </a:lnTo>
                <a:lnTo>
                  <a:pt x="1689738" y="2892001"/>
                </a:lnTo>
                <a:lnTo>
                  <a:pt x="1676839" y="2895226"/>
                </a:lnTo>
                <a:lnTo>
                  <a:pt x="1680064" y="2885551"/>
                </a:lnTo>
                <a:close/>
                <a:moveTo>
                  <a:pt x="2579753" y="2866202"/>
                </a:moveTo>
                <a:lnTo>
                  <a:pt x="2589426" y="2866202"/>
                </a:lnTo>
                <a:lnTo>
                  <a:pt x="2592652" y="2866202"/>
                </a:lnTo>
                <a:lnTo>
                  <a:pt x="2589426" y="2872652"/>
                </a:lnTo>
                <a:lnTo>
                  <a:pt x="2579753" y="2872652"/>
                </a:lnTo>
                <a:lnTo>
                  <a:pt x="2576528" y="2869426"/>
                </a:lnTo>
                <a:close/>
                <a:moveTo>
                  <a:pt x="5964071" y="2850078"/>
                </a:moveTo>
                <a:lnTo>
                  <a:pt x="5976971" y="2850078"/>
                </a:lnTo>
                <a:lnTo>
                  <a:pt x="5970521" y="2853302"/>
                </a:lnTo>
                <a:close/>
                <a:moveTo>
                  <a:pt x="5925375" y="2846852"/>
                </a:moveTo>
                <a:lnTo>
                  <a:pt x="5938274" y="2853302"/>
                </a:lnTo>
                <a:lnTo>
                  <a:pt x="5928600" y="2853302"/>
                </a:lnTo>
                <a:close/>
                <a:moveTo>
                  <a:pt x="5935049" y="2843628"/>
                </a:moveTo>
                <a:lnTo>
                  <a:pt x="5944723" y="2850078"/>
                </a:lnTo>
                <a:lnTo>
                  <a:pt x="5938274" y="2850078"/>
                </a:lnTo>
                <a:close/>
                <a:moveTo>
                  <a:pt x="5812511" y="2840404"/>
                </a:moveTo>
                <a:lnTo>
                  <a:pt x="5818961" y="2840404"/>
                </a:lnTo>
                <a:lnTo>
                  <a:pt x="5828635" y="2853302"/>
                </a:lnTo>
                <a:lnTo>
                  <a:pt x="5822185" y="2859752"/>
                </a:lnTo>
                <a:lnTo>
                  <a:pt x="5818961" y="2853302"/>
                </a:lnTo>
                <a:lnTo>
                  <a:pt x="5812511" y="2843628"/>
                </a:lnTo>
                <a:close/>
                <a:moveTo>
                  <a:pt x="6421979" y="2833955"/>
                </a:moveTo>
                <a:lnTo>
                  <a:pt x="6425204" y="2840405"/>
                </a:lnTo>
                <a:lnTo>
                  <a:pt x="6425204" y="2843629"/>
                </a:lnTo>
                <a:lnTo>
                  <a:pt x="6415530" y="2853303"/>
                </a:lnTo>
                <a:lnTo>
                  <a:pt x="6405856" y="2862977"/>
                </a:lnTo>
                <a:lnTo>
                  <a:pt x="6402631" y="2862977"/>
                </a:lnTo>
                <a:lnTo>
                  <a:pt x="6396181" y="2866202"/>
                </a:lnTo>
                <a:lnTo>
                  <a:pt x="6383283" y="2866202"/>
                </a:lnTo>
                <a:lnTo>
                  <a:pt x="6380059" y="2862977"/>
                </a:lnTo>
                <a:lnTo>
                  <a:pt x="6373609" y="2862977"/>
                </a:lnTo>
                <a:lnTo>
                  <a:pt x="6360709" y="2862977"/>
                </a:lnTo>
                <a:lnTo>
                  <a:pt x="6351036" y="2862977"/>
                </a:lnTo>
                <a:lnTo>
                  <a:pt x="6347811" y="2859753"/>
                </a:lnTo>
                <a:lnTo>
                  <a:pt x="6341362" y="2862977"/>
                </a:lnTo>
                <a:lnTo>
                  <a:pt x="6334913" y="2862977"/>
                </a:lnTo>
                <a:lnTo>
                  <a:pt x="6328463" y="2859753"/>
                </a:lnTo>
                <a:lnTo>
                  <a:pt x="6318789" y="2862977"/>
                </a:lnTo>
                <a:lnTo>
                  <a:pt x="6312339" y="2872651"/>
                </a:lnTo>
                <a:lnTo>
                  <a:pt x="6312339" y="2885550"/>
                </a:lnTo>
                <a:lnTo>
                  <a:pt x="6318789" y="2892000"/>
                </a:lnTo>
                <a:lnTo>
                  <a:pt x="6325239" y="2898449"/>
                </a:lnTo>
                <a:lnTo>
                  <a:pt x="6328463" y="2901674"/>
                </a:lnTo>
                <a:lnTo>
                  <a:pt x="6338137" y="2898449"/>
                </a:lnTo>
                <a:lnTo>
                  <a:pt x="6344586" y="2892000"/>
                </a:lnTo>
                <a:lnTo>
                  <a:pt x="6347811" y="2888774"/>
                </a:lnTo>
                <a:lnTo>
                  <a:pt x="6367159" y="2888774"/>
                </a:lnTo>
                <a:lnTo>
                  <a:pt x="6373609" y="2885550"/>
                </a:lnTo>
                <a:lnTo>
                  <a:pt x="6376833" y="2885550"/>
                </a:lnTo>
                <a:lnTo>
                  <a:pt x="6380059" y="2885550"/>
                </a:lnTo>
                <a:lnTo>
                  <a:pt x="6386507" y="2892000"/>
                </a:lnTo>
                <a:lnTo>
                  <a:pt x="6383283" y="2895224"/>
                </a:lnTo>
                <a:lnTo>
                  <a:pt x="6380059" y="2892000"/>
                </a:lnTo>
                <a:lnTo>
                  <a:pt x="6376833" y="2892000"/>
                </a:lnTo>
                <a:lnTo>
                  <a:pt x="6373609" y="2892000"/>
                </a:lnTo>
                <a:lnTo>
                  <a:pt x="6351036" y="2908123"/>
                </a:lnTo>
                <a:lnTo>
                  <a:pt x="6344586" y="2914573"/>
                </a:lnTo>
                <a:lnTo>
                  <a:pt x="6354260" y="2927471"/>
                </a:lnTo>
                <a:lnTo>
                  <a:pt x="6360709" y="2933921"/>
                </a:lnTo>
                <a:lnTo>
                  <a:pt x="6363934" y="2943594"/>
                </a:lnTo>
                <a:lnTo>
                  <a:pt x="6360709" y="2946820"/>
                </a:lnTo>
                <a:lnTo>
                  <a:pt x="6360709" y="2950044"/>
                </a:lnTo>
                <a:lnTo>
                  <a:pt x="6363934" y="2953268"/>
                </a:lnTo>
                <a:lnTo>
                  <a:pt x="6370383" y="2962942"/>
                </a:lnTo>
                <a:lnTo>
                  <a:pt x="6373609" y="2959718"/>
                </a:lnTo>
                <a:lnTo>
                  <a:pt x="6373609" y="2969392"/>
                </a:lnTo>
                <a:lnTo>
                  <a:pt x="6370383" y="2969392"/>
                </a:lnTo>
                <a:lnTo>
                  <a:pt x="6367159" y="2969392"/>
                </a:lnTo>
                <a:lnTo>
                  <a:pt x="6357485" y="2972617"/>
                </a:lnTo>
                <a:lnTo>
                  <a:pt x="6357485" y="2975841"/>
                </a:lnTo>
                <a:lnTo>
                  <a:pt x="6347811" y="2975841"/>
                </a:lnTo>
                <a:lnTo>
                  <a:pt x="6344586" y="2969392"/>
                </a:lnTo>
                <a:lnTo>
                  <a:pt x="6344586" y="2966168"/>
                </a:lnTo>
                <a:lnTo>
                  <a:pt x="6344586" y="2959718"/>
                </a:lnTo>
                <a:lnTo>
                  <a:pt x="6334913" y="2953268"/>
                </a:lnTo>
                <a:lnTo>
                  <a:pt x="6331688" y="2946820"/>
                </a:lnTo>
                <a:lnTo>
                  <a:pt x="6334913" y="2943594"/>
                </a:lnTo>
                <a:lnTo>
                  <a:pt x="6334913" y="2937145"/>
                </a:lnTo>
                <a:lnTo>
                  <a:pt x="6334913" y="2930696"/>
                </a:lnTo>
                <a:lnTo>
                  <a:pt x="6325239" y="2930696"/>
                </a:lnTo>
                <a:lnTo>
                  <a:pt x="6315565" y="2937145"/>
                </a:lnTo>
                <a:lnTo>
                  <a:pt x="6318789" y="2943594"/>
                </a:lnTo>
                <a:lnTo>
                  <a:pt x="6318789" y="2950044"/>
                </a:lnTo>
                <a:lnTo>
                  <a:pt x="6318789" y="2962942"/>
                </a:lnTo>
                <a:lnTo>
                  <a:pt x="6318789" y="2991965"/>
                </a:lnTo>
                <a:lnTo>
                  <a:pt x="6305891" y="2995189"/>
                </a:lnTo>
                <a:lnTo>
                  <a:pt x="6296215" y="2991965"/>
                </a:lnTo>
                <a:lnTo>
                  <a:pt x="6299441" y="2982291"/>
                </a:lnTo>
                <a:lnTo>
                  <a:pt x="6302665" y="2969392"/>
                </a:lnTo>
                <a:lnTo>
                  <a:pt x="6302665" y="2962942"/>
                </a:lnTo>
                <a:lnTo>
                  <a:pt x="6299441" y="2950044"/>
                </a:lnTo>
                <a:lnTo>
                  <a:pt x="6296215" y="2946820"/>
                </a:lnTo>
                <a:lnTo>
                  <a:pt x="6289767" y="2950044"/>
                </a:lnTo>
                <a:lnTo>
                  <a:pt x="6286541" y="2946820"/>
                </a:lnTo>
                <a:lnTo>
                  <a:pt x="6286541" y="2940370"/>
                </a:lnTo>
                <a:lnTo>
                  <a:pt x="6289767" y="2927471"/>
                </a:lnTo>
                <a:lnTo>
                  <a:pt x="6292991" y="2924247"/>
                </a:lnTo>
                <a:lnTo>
                  <a:pt x="6296215" y="2917797"/>
                </a:lnTo>
                <a:lnTo>
                  <a:pt x="6296215" y="2911347"/>
                </a:lnTo>
                <a:lnTo>
                  <a:pt x="6296215" y="2901674"/>
                </a:lnTo>
                <a:lnTo>
                  <a:pt x="6302665" y="2892000"/>
                </a:lnTo>
                <a:lnTo>
                  <a:pt x="6305891" y="2885550"/>
                </a:lnTo>
                <a:lnTo>
                  <a:pt x="6309115" y="2866202"/>
                </a:lnTo>
                <a:lnTo>
                  <a:pt x="6315565" y="2853303"/>
                </a:lnTo>
                <a:lnTo>
                  <a:pt x="6318789" y="2853303"/>
                </a:lnTo>
                <a:lnTo>
                  <a:pt x="6325239" y="2856528"/>
                </a:lnTo>
                <a:lnTo>
                  <a:pt x="6328463" y="2850079"/>
                </a:lnTo>
                <a:lnTo>
                  <a:pt x="6328463" y="2846853"/>
                </a:lnTo>
                <a:lnTo>
                  <a:pt x="6334913" y="2843629"/>
                </a:lnTo>
                <a:lnTo>
                  <a:pt x="6360709" y="2850079"/>
                </a:lnTo>
                <a:lnTo>
                  <a:pt x="6367159" y="2850079"/>
                </a:lnTo>
                <a:lnTo>
                  <a:pt x="6383283" y="2853303"/>
                </a:lnTo>
                <a:lnTo>
                  <a:pt x="6392957" y="2853303"/>
                </a:lnTo>
                <a:lnTo>
                  <a:pt x="6405856" y="2850079"/>
                </a:lnTo>
                <a:lnTo>
                  <a:pt x="6405856" y="2846853"/>
                </a:lnTo>
                <a:lnTo>
                  <a:pt x="6412305" y="2843629"/>
                </a:lnTo>
                <a:lnTo>
                  <a:pt x="6418754" y="2837179"/>
                </a:lnTo>
                <a:close/>
                <a:moveTo>
                  <a:pt x="5915702" y="2833954"/>
                </a:moveTo>
                <a:lnTo>
                  <a:pt x="5922151" y="2833954"/>
                </a:lnTo>
                <a:lnTo>
                  <a:pt x="5928600" y="2837178"/>
                </a:lnTo>
                <a:lnTo>
                  <a:pt x="5928600" y="2840404"/>
                </a:lnTo>
                <a:lnTo>
                  <a:pt x="5922151" y="2840404"/>
                </a:lnTo>
                <a:close/>
                <a:moveTo>
                  <a:pt x="5906027" y="2827504"/>
                </a:moveTo>
                <a:lnTo>
                  <a:pt x="5915702" y="2827504"/>
                </a:lnTo>
                <a:lnTo>
                  <a:pt x="5909252" y="2830729"/>
                </a:lnTo>
                <a:close/>
                <a:moveTo>
                  <a:pt x="6486473" y="2824281"/>
                </a:moveTo>
                <a:lnTo>
                  <a:pt x="6486473" y="2833955"/>
                </a:lnTo>
                <a:lnTo>
                  <a:pt x="6486473" y="2846853"/>
                </a:lnTo>
                <a:lnTo>
                  <a:pt x="6480024" y="2853303"/>
                </a:lnTo>
                <a:lnTo>
                  <a:pt x="6486473" y="2853303"/>
                </a:lnTo>
                <a:lnTo>
                  <a:pt x="6489698" y="2843629"/>
                </a:lnTo>
                <a:lnTo>
                  <a:pt x="6496147" y="2840405"/>
                </a:lnTo>
                <a:lnTo>
                  <a:pt x="6502596" y="2837179"/>
                </a:lnTo>
                <a:lnTo>
                  <a:pt x="6502596" y="2840405"/>
                </a:lnTo>
                <a:lnTo>
                  <a:pt x="6502596" y="2843629"/>
                </a:lnTo>
                <a:lnTo>
                  <a:pt x="6502596" y="2850079"/>
                </a:lnTo>
                <a:lnTo>
                  <a:pt x="6496147" y="2853303"/>
                </a:lnTo>
                <a:lnTo>
                  <a:pt x="6492922" y="2856528"/>
                </a:lnTo>
                <a:lnTo>
                  <a:pt x="6496147" y="2859753"/>
                </a:lnTo>
                <a:lnTo>
                  <a:pt x="6505821" y="2866202"/>
                </a:lnTo>
                <a:lnTo>
                  <a:pt x="6499371" y="2866202"/>
                </a:lnTo>
                <a:lnTo>
                  <a:pt x="6496147" y="2862977"/>
                </a:lnTo>
                <a:lnTo>
                  <a:pt x="6486473" y="2862977"/>
                </a:lnTo>
                <a:lnTo>
                  <a:pt x="6492922" y="2888774"/>
                </a:lnTo>
                <a:lnTo>
                  <a:pt x="6480024" y="2875876"/>
                </a:lnTo>
                <a:lnTo>
                  <a:pt x="6480024" y="2872651"/>
                </a:lnTo>
                <a:lnTo>
                  <a:pt x="6476799" y="2859753"/>
                </a:lnTo>
                <a:lnTo>
                  <a:pt x="6476799" y="2846853"/>
                </a:lnTo>
                <a:lnTo>
                  <a:pt x="6480024" y="2833955"/>
                </a:lnTo>
                <a:close/>
                <a:moveTo>
                  <a:pt x="6196251" y="2824281"/>
                </a:moveTo>
                <a:lnTo>
                  <a:pt x="6196250" y="2824282"/>
                </a:lnTo>
                <a:lnTo>
                  <a:pt x="6199475" y="2827504"/>
                </a:lnTo>
                <a:close/>
                <a:moveTo>
                  <a:pt x="6499371" y="2814606"/>
                </a:moveTo>
                <a:lnTo>
                  <a:pt x="6502596" y="2817832"/>
                </a:lnTo>
                <a:lnTo>
                  <a:pt x="6499371" y="2824281"/>
                </a:lnTo>
                <a:lnTo>
                  <a:pt x="6492922" y="2827506"/>
                </a:lnTo>
                <a:lnTo>
                  <a:pt x="6492922" y="2817832"/>
                </a:lnTo>
                <a:close/>
                <a:moveTo>
                  <a:pt x="5780264" y="2808157"/>
                </a:moveTo>
                <a:lnTo>
                  <a:pt x="5783490" y="2811381"/>
                </a:lnTo>
                <a:lnTo>
                  <a:pt x="5786714" y="2811381"/>
                </a:lnTo>
                <a:lnTo>
                  <a:pt x="5793164" y="2817831"/>
                </a:lnTo>
                <a:lnTo>
                  <a:pt x="5796388" y="2821055"/>
                </a:lnTo>
                <a:lnTo>
                  <a:pt x="5789938" y="2817831"/>
                </a:lnTo>
                <a:lnTo>
                  <a:pt x="5780264" y="2814605"/>
                </a:lnTo>
                <a:lnTo>
                  <a:pt x="5780264" y="2811381"/>
                </a:lnTo>
                <a:close/>
                <a:moveTo>
                  <a:pt x="3876085" y="2792036"/>
                </a:moveTo>
                <a:lnTo>
                  <a:pt x="3876085" y="2798485"/>
                </a:lnTo>
                <a:lnTo>
                  <a:pt x="3872859" y="2801710"/>
                </a:lnTo>
                <a:lnTo>
                  <a:pt x="3866411" y="2801710"/>
                </a:lnTo>
                <a:lnTo>
                  <a:pt x="3869635" y="2795261"/>
                </a:lnTo>
                <a:close/>
                <a:moveTo>
                  <a:pt x="6051139" y="2782360"/>
                </a:moveTo>
                <a:lnTo>
                  <a:pt x="6054364" y="2782360"/>
                </a:lnTo>
                <a:lnTo>
                  <a:pt x="6057589" y="2785585"/>
                </a:lnTo>
                <a:lnTo>
                  <a:pt x="6054364" y="2792034"/>
                </a:lnTo>
                <a:lnTo>
                  <a:pt x="6051139" y="2788809"/>
                </a:lnTo>
                <a:close/>
                <a:moveTo>
                  <a:pt x="6460675" y="2772685"/>
                </a:moveTo>
                <a:lnTo>
                  <a:pt x="6460675" y="2775911"/>
                </a:lnTo>
                <a:lnTo>
                  <a:pt x="6460675" y="2782360"/>
                </a:lnTo>
                <a:lnTo>
                  <a:pt x="6457451" y="2785585"/>
                </a:lnTo>
                <a:close/>
                <a:moveTo>
                  <a:pt x="5770590" y="2750112"/>
                </a:moveTo>
                <a:lnTo>
                  <a:pt x="5780264" y="2750112"/>
                </a:lnTo>
                <a:lnTo>
                  <a:pt x="5783490" y="2753336"/>
                </a:lnTo>
                <a:lnTo>
                  <a:pt x="5786714" y="2756561"/>
                </a:lnTo>
                <a:lnTo>
                  <a:pt x="5799612" y="2759786"/>
                </a:lnTo>
                <a:lnTo>
                  <a:pt x="5802837" y="2756561"/>
                </a:lnTo>
                <a:lnTo>
                  <a:pt x="5809287" y="2756561"/>
                </a:lnTo>
                <a:lnTo>
                  <a:pt x="5818961" y="2756561"/>
                </a:lnTo>
                <a:lnTo>
                  <a:pt x="5822185" y="2763010"/>
                </a:lnTo>
                <a:lnTo>
                  <a:pt x="5831859" y="2772684"/>
                </a:lnTo>
                <a:lnTo>
                  <a:pt x="5838309" y="2782359"/>
                </a:lnTo>
                <a:lnTo>
                  <a:pt x="5851208" y="2792033"/>
                </a:lnTo>
                <a:lnTo>
                  <a:pt x="5860882" y="2798483"/>
                </a:lnTo>
                <a:lnTo>
                  <a:pt x="5870556" y="2808157"/>
                </a:lnTo>
                <a:lnTo>
                  <a:pt x="5880230" y="2817831"/>
                </a:lnTo>
                <a:lnTo>
                  <a:pt x="5889904" y="2827504"/>
                </a:lnTo>
                <a:lnTo>
                  <a:pt x="5893129" y="2821055"/>
                </a:lnTo>
                <a:lnTo>
                  <a:pt x="5896353" y="2824280"/>
                </a:lnTo>
                <a:lnTo>
                  <a:pt x="5915702" y="2840404"/>
                </a:lnTo>
                <a:lnTo>
                  <a:pt x="5922151" y="2843628"/>
                </a:lnTo>
                <a:lnTo>
                  <a:pt x="5922151" y="2850078"/>
                </a:lnTo>
                <a:lnTo>
                  <a:pt x="5931825" y="2856527"/>
                </a:lnTo>
                <a:lnTo>
                  <a:pt x="5951173" y="2862976"/>
                </a:lnTo>
                <a:lnTo>
                  <a:pt x="5957623" y="2872651"/>
                </a:lnTo>
                <a:lnTo>
                  <a:pt x="5954397" y="2872651"/>
                </a:lnTo>
                <a:lnTo>
                  <a:pt x="5951173" y="2875875"/>
                </a:lnTo>
                <a:lnTo>
                  <a:pt x="5947948" y="2885549"/>
                </a:lnTo>
                <a:lnTo>
                  <a:pt x="5954397" y="2891999"/>
                </a:lnTo>
                <a:lnTo>
                  <a:pt x="5964071" y="2895223"/>
                </a:lnTo>
                <a:lnTo>
                  <a:pt x="5970521" y="2898448"/>
                </a:lnTo>
                <a:lnTo>
                  <a:pt x="5970521" y="2901672"/>
                </a:lnTo>
                <a:lnTo>
                  <a:pt x="5973747" y="2914572"/>
                </a:lnTo>
                <a:lnTo>
                  <a:pt x="5980195" y="2921020"/>
                </a:lnTo>
                <a:lnTo>
                  <a:pt x="5989870" y="2924246"/>
                </a:lnTo>
                <a:lnTo>
                  <a:pt x="5996319" y="2927470"/>
                </a:lnTo>
                <a:lnTo>
                  <a:pt x="5999543" y="2933919"/>
                </a:lnTo>
                <a:lnTo>
                  <a:pt x="5999543" y="2937144"/>
                </a:lnTo>
                <a:lnTo>
                  <a:pt x="6002768" y="2946819"/>
                </a:lnTo>
                <a:lnTo>
                  <a:pt x="5999543" y="2953267"/>
                </a:lnTo>
                <a:lnTo>
                  <a:pt x="5999543" y="2962942"/>
                </a:lnTo>
                <a:lnTo>
                  <a:pt x="6002768" y="2969391"/>
                </a:lnTo>
                <a:lnTo>
                  <a:pt x="6002768" y="2975840"/>
                </a:lnTo>
                <a:lnTo>
                  <a:pt x="5999543" y="2988740"/>
                </a:lnTo>
                <a:lnTo>
                  <a:pt x="5999543" y="2998414"/>
                </a:lnTo>
                <a:lnTo>
                  <a:pt x="5993094" y="2995188"/>
                </a:lnTo>
                <a:lnTo>
                  <a:pt x="5989870" y="2991964"/>
                </a:lnTo>
                <a:lnTo>
                  <a:pt x="5983420" y="2991964"/>
                </a:lnTo>
                <a:lnTo>
                  <a:pt x="5976971" y="2995188"/>
                </a:lnTo>
                <a:lnTo>
                  <a:pt x="5973747" y="2998414"/>
                </a:lnTo>
                <a:lnTo>
                  <a:pt x="5951173" y="2979065"/>
                </a:lnTo>
                <a:lnTo>
                  <a:pt x="5925375" y="2959717"/>
                </a:lnTo>
                <a:lnTo>
                  <a:pt x="5922151" y="2953267"/>
                </a:lnTo>
                <a:lnTo>
                  <a:pt x="5915702" y="2946819"/>
                </a:lnTo>
                <a:lnTo>
                  <a:pt x="5899579" y="2933919"/>
                </a:lnTo>
                <a:lnTo>
                  <a:pt x="5893129" y="2924246"/>
                </a:lnTo>
                <a:lnTo>
                  <a:pt x="5889904" y="2917796"/>
                </a:lnTo>
                <a:lnTo>
                  <a:pt x="5893129" y="2917796"/>
                </a:lnTo>
                <a:lnTo>
                  <a:pt x="5889904" y="2908122"/>
                </a:lnTo>
                <a:lnTo>
                  <a:pt x="5880230" y="2891999"/>
                </a:lnTo>
                <a:lnTo>
                  <a:pt x="5877005" y="2885549"/>
                </a:lnTo>
                <a:lnTo>
                  <a:pt x="5867332" y="2872651"/>
                </a:lnTo>
                <a:lnTo>
                  <a:pt x="5857658" y="2866201"/>
                </a:lnTo>
                <a:lnTo>
                  <a:pt x="5851208" y="2853302"/>
                </a:lnTo>
                <a:lnTo>
                  <a:pt x="5844758" y="2837178"/>
                </a:lnTo>
                <a:lnTo>
                  <a:pt x="5844758" y="2833954"/>
                </a:lnTo>
                <a:lnTo>
                  <a:pt x="5838309" y="2827504"/>
                </a:lnTo>
                <a:lnTo>
                  <a:pt x="5831859" y="2824280"/>
                </a:lnTo>
                <a:lnTo>
                  <a:pt x="5828635" y="2821055"/>
                </a:lnTo>
                <a:lnTo>
                  <a:pt x="5818961" y="2811381"/>
                </a:lnTo>
                <a:lnTo>
                  <a:pt x="5809287" y="2801707"/>
                </a:lnTo>
                <a:lnTo>
                  <a:pt x="5802837" y="2792033"/>
                </a:lnTo>
                <a:lnTo>
                  <a:pt x="5793164" y="2788808"/>
                </a:lnTo>
                <a:lnTo>
                  <a:pt x="5783490" y="2779134"/>
                </a:lnTo>
                <a:lnTo>
                  <a:pt x="5773815" y="2769460"/>
                </a:lnTo>
                <a:lnTo>
                  <a:pt x="5767366" y="2756561"/>
                </a:lnTo>
                <a:close/>
                <a:moveTo>
                  <a:pt x="6334911" y="2740439"/>
                </a:moveTo>
                <a:lnTo>
                  <a:pt x="6338135" y="2740439"/>
                </a:lnTo>
                <a:lnTo>
                  <a:pt x="6341361" y="2740439"/>
                </a:lnTo>
                <a:lnTo>
                  <a:pt x="6341361" y="2743665"/>
                </a:lnTo>
                <a:lnTo>
                  <a:pt x="6331687" y="2743665"/>
                </a:lnTo>
                <a:close/>
                <a:moveTo>
                  <a:pt x="6357485" y="2724316"/>
                </a:moveTo>
                <a:lnTo>
                  <a:pt x="6360709" y="2727541"/>
                </a:lnTo>
                <a:lnTo>
                  <a:pt x="6354259" y="2733991"/>
                </a:lnTo>
                <a:lnTo>
                  <a:pt x="6351035" y="2727541"/>
                </a:lnTo>
                <a:close/>
                <a:moveTo>
                  <a:pt x="6241397" y="2724316"/>
                </a:moveTo>
                <a:lnTo>
                  <a:pt x="6257520" y="2730765"/>
                </a:lnTo>
                <a:lnTo>
                  <a:pt x="6260745" y="2730765"/>
                </a:lnTo>
                <a:lnTo>
                  <a:pt x="6260745" y="2737215"/>
                </a:lnTo>
                <a:lnTo>
                  <a:pt x="6263969" y="2743665"/>
                </a:lnTo>
                <a:lnTo>
                  <a:pt x="6273643" y="2743665"/>
                </a:lnTo>
                <a:lnTo>
                  <a:pt x="6286541" y="2750114"/>
                </a:lnTo>
                <a:lnTo>
                  <a:pt x="6296215" y="2756563"/>
                </a:lnTo>
                <a:lnTo>
                  <a:pt x="6289767" y="2763013"/>
                </a:lnTo>
                <a:lnTo>
                  <a:pt x="6276868" y="2763013"/>
                </a:lnTo>
                <a:lnTo>
                  <a:pt x="6270418" y="2766238"/>
                </a:lnTo>
                <a:lnTo>
                  <a:pt x="6280093" y="2772686"/>
                </a:lnTo>
                <a:lnTo>
                  <a:pt x="6276868" y="2779136"/>
                </a:lnTo>
                <a:lnTo>
                  <a:pt x="6270418" y="2779136"/>
                </a:lnTo>
                <a:lnTo>
                  <a:pt x="6260745" y="2775912"/>
                </a:lnTo>
                <a:lnTo>
                  <a:pt x="6257521" y="2782360"/>
                </a:lnTo>
                <a:lnTo>
                  <a:pt x="6260743" y="2785584"/>
                </a:lnTo>
                <a:lnTo>
                  <a:pt x="6263969" y="2792033"/>
                </a:lnTo>
                <a:lnTo>
                  <a:pt x="6254295" y="2792033"/>
                </a:lnTo>
                <a:lnTo>
                  <a:pt x="6247845" y="2792033"/>
                </a:lnTo>
                <a:lnTo>
                  <a:pt x="6247845" y="2795257"/>
                </a:lnTo>
                <a:lnTo>
                  <a:pt x="6260743" y="2808157"/>
                </a:lnTo>
                <a:lnTo>
                  <a:pt x="6267193" y="2821055"/>
                </a:lnTo>
                <a:lnTo>
                  <a:pt x="6267193" y="2827504"/>
                </a:lnTo>
                <a:lnTo>
                  <a:pt x="6267193" y="2830729"/>
                </a:lnTo>
                <a:lnTo>
                  <a:pt x="6276867" y="2840404"/>
                </a:lnTo>
                <a:lnTo>
                  <a:pt x="6289766" y="2846852"/>
                </a:lnTo>
                <a:lnTo>
                  <a:pt x="6289766" y="2853302"/>
                </a:lnTo>
                <a:lnTo>
                  <a:pt x="6280092" y="2853302"/>
                </a:lnTo>
                <a:lnTo>
                  <a:pt x="6273643" y="2853302"/>
                </a:lnTo>
                <a:lnTo>
                  <a:pt x="6263969" y="2853302"/>
                </a:lnTo>
                <a:lnTo>
                  <a:pt x="6260743" y="2859752"/>
                </a:lnTo>
                <a:lnTo>
                  <a:pt x="6257519" y="2866201"/>
                </a:lnTo>
                <a:lnTo>
                  <a:pt x="6254295" y="2879099"/>
                </a:lnTo>
                <a:lnTo>
                  <a:pt x="6254295" y="2882325"/>
                </a:lnTo>
                <a:lnTo>
                  <a:pt x="6260743" y="2882325"/>
                </a:lnTo>
                <a:lnTo>
                  <a:pt x="6260743" y="2888773"/>
                </a:lnTo>
                <a:lnTo>
                  <a:pt x="6251069" y="2891999"/>
                </a:lnTo>
                <a:lnTo>
                  <a:pt x="6238171" y="2904897"/>
                </a:lnTo>
                <a:lnTo>
                  <a:pt x="6231721" y="2911346"/>
                </a:lnTo>
                <a:lnTo>
                  <a:pt x="6234946" y="2917796"/>
                </a:lnTo>
                <a:lnTo>
                  <a:pt x="6238171" y="2921020"/>
                </a:lnTo>
                <a:lnTo>
                  <a:pt x="6234946" y="2930695"/>
                </a:lnTo>
                <a:lnTo>
                  <a:pt x="6228496" y="2943593"/>
                </a:lnTo>
                <a:lnTo>
                  <a:pt x="6225272" y="2950043"/>
                </a:lnTo>
                <a:lnTo>
                  <a:pt x="6218823" y="2953267"/>
                </a:lnTo>
                <a:lnTo>
                  <a:pt x="6205924" y="2959717"/>
                </a:lnTo>
                <a:lnTo>
                  <a:pt x="6196249" y="2962942"/>
                </a:lnTo>
                <a:lnTo>
                  <a:pt x="6193025" y="2959717"/>
                </a:lnTo>
                <a:lnTo>
                  <a:pt x="6189801" y="2950043"/>
                </a:lnTo>
                <a:lnTo>
                  <a:pt x="6183351" y="2946819"/>
                </a:lnTo>
                <a:lnTo>
                  <a:pt x="6170451" y="2946819"/>
                </a:lnTo>
                <a:lnTo>
                  <a:pt x="6164003" y="2943593"/>
                </a:lnTo>
                <a:lnTo>
                  <a:pt x="6160778" y="2940369"/>
                </a:lnTo>
                <a:lnTo>
                  <a:pt x="6147879" y="2946819"/>
                </a:lnTo>
                <a:lnTo>
                  <a:pt x="6131756" y="2946819"/>
                </a:lnTo>
                <a:lnTo>
                  <a:pt x="6131756" y="2933919"/>
                </a:lnTo>
                <a:lnTo>
                  <a:pt x="6128531" y="2933919"/>
                </a:lnTo>
                <a:lnTo>
                  <a:pt x="6122082" y="2937144"/>
                </a:lnTo>
                <a:lnTo>
                  <a:pt x="6109183" y="2940369"/>
                </a:lnTo>
                <a:lnTo>
                  <a:pt x="6096284" y="2933919"/>
                </a:lnTo>
                <a:lnTo>
                  <a:pt x="6096284" y="2921020"/>
                </a:lnTo>
                <a:lnTo>
                  <a:pt x="6093059" y="2904897"/>
                </a:lnTo>
                <a:lnTo>
                  <a:pt x="6089835" y="2895223"/>
                </a:lnTo>
                <a:lnTo>
                  <a:pt x="6080160" y="2885549"/>
                </a:lnTo>
                <a:lnTo>
                  <a:pt x="6076936" y="2885549"/>
                </a:lnTo>
                <a:lnTo>
                  <a:pt x="6073711" y="2875875"/>
                </a:lnTo>
                <a:lnTo>
                  <a:pt x="6070487" y="2862976"/>
                </a:lnTo>
                <a:lnTo>
                  <a:pt x="6070487" y="2850078"/>
                </a:lnTo>
                <a:lnTo>
                  <a:pt x="6073711" y="2837178"/>
                </a:lnTo>
                <a:lnTo>
                  <a:pt x="6083385" y="2827504"/>
                </a:lnTo>
                <a:lnTo>
                  <a:pt x="6083385" y="2830729"/>
                </a:lnTo>
                <a:lnTo>
                  <a:pt x="6083387" y="2830731"/>
                </a:lnTo>
                <a:lnTo>
                  <a:pt x="6083387" y="2827507"/>
                </a:lnTo>
                <a:lnTo>
                  <a:pt x="6086611" y="2833956"/>
                </a:lnTo>
                <a:lnTo>
                  <a:pt x="6093061" y="2833956"/>
                </a:lnTo>
                <a:lnTo>
                  <a:pt x="6096285" y="2833956"/>
                </a:lnTo>
                <a:lnTo>
                  <a:pt x="6118858" y="2840406"/>
                </a:lnTo>
                <a:lnTo>
                  <a:pt x="6115633" y="2837180"/>
                </a:lnTo>
                <a:lnTo>
                  <a:pt x="6118858" y="2827507"/>
                </a:lnTo>
                <a:lnTo>
                  <a:pt x="6118858" y="2817833"/>
                </a:lnTo>
                <a:lnTo>
                  <a:pt x="6122082" y="2821057"/>
                </a:lnTo>
                <a:lnTo>
                  <a:pt x="6125307" y="2821057"/>
                </a:lnTo>
                <a:lnTo>
                  <a:pt x="6125307" y="2814607"/>
                </a:lnTo>
                <a:lnTo>
                  <a:pt x="6128532" y="2811383"/>
                </a:lnTo>
                <a:lnTo>
                  <a:pt x="6138206" y="2808159"/>
                </a:lnTo>
                <a:lnTo>
                  <a:pt x="6151105" y="2804933"/>
                </a:lnTo>
                <a:lnTo>
                  <a:pt x="6160779" y="2801709"/>
                </a:lnTo>
                <a:lnTo>
                  <a:pt x="6170453" y="2788810"/>
                </a:lnTo>
                <a:lnTo>
                  <a:pt x="6183352" y="2772686"/>
                </a:lnTo>
                <a:lnTo>
                  <a:pt x="6193026" y="2769462"/>
                </a:lnTo>
                <a:lnTo>
                  <a:pt x="6205925" y="2766238"/>
                </a:lnTo>
                <a:lnTo>
                  <a:pt x="6215599" y="2759788"/>
                </a:lnTo>
                <a:lnTo>
                  <a:pt x="6209149" y="2756563"/>
                </a:lnTo>
                <a:lnTo>
                  <a:pt x="6212373" y="2753339"/>
                </a:lnTo>
                <a:lnTo>
                  <a:pt x="6215599" y="2750114"/>
                </a:lnTo>
                <a:lnTo>
                  <a:pt x="6218823" y="2750114"/>
                </a:lnTo>
                <a:lnTo>
                  <a:pt x="6225273" y="2743665"/>
                </a:lnTo>
                <a:lnTo>
                  <a:pt x="6231723" y="2730765"/>
                </a:lnTo>
                <a:close/>
                <a:moveTo>
                  <a:pt x="5735119" y="2714640"/>
                </a:moveTo>
                <a:lnTo>
                  <a:pt x="5738343" y="2714640"/>
                </a:lnTo>
                <a:lnTo>
                  <a:pt x="5738343" y="2724315"/>
                </a:lnTo>
                <a:lnTo>
                  <a:pt x="5735119" y="2721089"/>
                </a:lnTo>
                <a:close/>
                <a:moveTo>
                  <a:pt x="1889670" y="2704968"/>
                </a:moveTo>
                <a:lnTo>
                  <a:pt x="1892894" y="2711418"/>
                </a:lnTo>
                <a:lnTo>
                  <a:pt x="1889670" y="2711418"/>
                </a:lnTo>
                <a:close/>
                <a:moveTo>
                  <a:pt x="6431653" y="2659823"/>
                </a:moveTo>
                <a:lnTo>
                  <a:pt x="6434877" y="2659823"/>
                </a:lnTo>
                <a:lnTo>
                  <a:pt x="6438102" y="2663047"/>
                </a:lnTo>
                <a:lnTo>
                  <a:pt x="6444551" y="2669497"/>
                </a:lnTo>
                <a:lnTo>
                  <a:pt x="6447776" y="2669497"/>
                </a:lnTo>
                <a:lnTo>
                  <a:pt x="6457449" y="2704968"/>
                </a:lnTo>
                <a:lnTo>
                  <a:pt x="6457449" y="2714642"/>
                </a:lnTo>
                <a:lnTo>
                  <a:pt x="6451000" y="2721092"/>
                </a:lnTo>
                <a:lnTo>
                  <a:pt x="6447776" y="2727541"/>
                </a:lnTo>
                <a:lnTo>
                  <a:pt x="6444551" y="2724316"/>
                </a:lnTo>
                <a:lnTo>
                  <a:pt x="6438102" y="2714642"/>
                </a:lnTo>
                <a:lnTo>
                  <a:pt x="6434877" y="2714642"/>
                </a:lnTo>
                <a:lnTo>
                  <a:pt x="6431653" y="2721092"/>
                </a:lnTo>
                <a:lnTo>
                  <a:pt x="6431653" y="2727541"/>
                </a:lnTo>
                <a:lnTo>
                  <a:pt x="6431653" y="2730765"/>
                </a:lnTo>
                <a:lnTo>
                  <a:pt x="6434877" y="2733991"/>
                </a:lnTo>
                <a:lnTo>
                  <a:pt x="6434877" y="2743665"/>
                </a:lnTo>
                <a:lnTo>
                  <a:pt x="6428427" y="2750114"/>
                </a:lnTo>
                <a:lnTo>
                  <a:pt x="6425203" y="2746889"/>
                </a:lnTo>
                <a:lnTo>
                  <a:pt x="6421979" y="2743665"/>
                </a:lnTo>
                <a:lnTo>
                  <a:pt x="6412303" y="2740439"/>
                </a:lnTo>
                <a:lnTo>
                  <a:pt x="6402629" y="2733991"/>
                </a:lnTo>
                <a:lnTo>
                  <a:pt x="6399405" y="2724316"/>
                </a:lnTo>
                <a:lnTo>
                  <a:pt x="6402629" y="2714642"/>
                </a:lnTo>
                <a:lnTo>
                  <a:pt x="6392955" y="2701744"/>
                </a:lnTo>
                <a:lnTo>
                  <a:pt x="6386506" y="2701744"/>
                </a:lnTo>
                <a:lnTo>
                  <a:pt x="6386506" y="2711418"/>
                </a:lnTo>
                <a:lnTo>
                  <a:pt x="6373608" y="2708192"/>
                </a:lnTo>
                <a:lnTo>
                  <a:pt x="6370383" y="2701744"/>
                </a:lnTo>
                <a:lnTo>
                  <a:pt x="6367159" y="2704968"/>
                </a:lnTo>
                <a:lnTo>
                  <a:pt x="6363934" y="2708192"/>
                </a:lnTo>
                <a:lnTo>
                  <a:pt x="6357485" y="2721092"/>
                </a:lnTo>
                <a:lnTo>
                  <a:pt x="6354259" y="2717867"/>
                </a:lnTo>
                <a:lnTo>
                  <a:pt x="6357485" y="2704968"/>
                </a:lnTo>
                <a:lnTo>
                  <a:pt x="6360709" y="2698518"/>
                </a:lnTo>
                <a:lnTo>
                  <a:pt x="6386506" y="2682395"/>
                </a:lnTo>
                <a:lnTo>
                  <a:pt x="6396181" y="2688845"/>
                </a:lnTo>
                <a:lnTo>
                  <a:pt x="6396181" y="2692070"/>
                </a:lnTo>
                <a:lnTo>
                  <a:pt x="6396181" y="2695294"/>
                </a:lnTo>
                <a:lnTo>
                  <a:pt x="6402629" y="2692070"/>
                </a:lnTo>
                <a:lnTo>
                  <a:pt x="6405855" y="2692070"/>
                </a:lnTo>
                <a:lnTo>
                  <a:pt x="6405855" y="2688845"/>
                </a:lnTo>
                <a:lnTo>
                  <a:pt x="6409079" y="2685620"/>
                </a:lnTo>
                <a:lnTo>
                  <a:pt x="6415529" y="2685620"/>
                </a:lnTo>
                <a:lnTo>
                  <a:pt x="6415529" y="2682395"/>
                </a:lnTo>
                <a:lnTo>
                  <a:pt x="6421979" y="2679171"/>
                </a:lnTo>
                <a:lnTo>
                  <a:pt x="6428427" y="2675946"/>
                </a:lnTo>
                <a:lnTo>
                  <a:pt x="6431653" y="2669497"/>
                </a:lnTo>
                <a:close/>
                <a:moveTo>
                  <a:pt x="5438448" y="2656598"/>
                </a:moveTo>
                <a:lnTo>
                  <a:pt x="5454572" y="2672721"/>
                </a:lnTo>
                <a:lnTo>
                  <a:pt x="5464246" y="2692070"/>
                </a:lnTo>
                <a:lnTo>
                  <a:pt x="5477144" y="2711418"/>
                </a:lnTo>
                <a:lnTo>
                  <a:pt x="5473920" y="2724316"/>
                </a:lnTo>
                <a:lnTo>
                  <a:pt x="5457796" y="2740439"/>
                </a:lnTo>
                <a:lnTo>
                  <a:pt x="5438448" y="2737215"/>
                </a:lnTo>
                <a:lnTo>
                  <a:pt x="5431999" y="2717867"/>
                </a:lnTo>
                <a:lnTo>
                  <a:pt x="5428774" y="2698518"/>
                </a:lnTo>
                <a:lnTo>
                  <a:pt x="5428774" y="2692070"/>
                </a:lnTo>
                <a:lnTo>
                  <a:pt x="5431999" y="2682395"/>
                </a:lnTo>
                <a:lnTo>
                  <a:pt x="5438448" y="2669497"/>
                </a:lnTo>
                <a:lnTo>
                  <a:pt x="5438448" y="2663047"/>
                </a:lnTo>
                <a:lnTo>
                  <a:pt x="5431999" y="2659823"/>
                </a:lnTo>
                <a:close/>
                <a:moveTo>
                  <a:pt x="6444551" y="2653373"/>
                </a:moveTo>
                <a:lnTo>
                  <a:pt x="6447776" y="2656598"/>
                </a:lnTo>
                <a:lnTo>
                  <a:pt x="6444551" y="2656598"/>
                </a:lnTo>
                <a:close/>
                <a:moveTo>
                  <a:pt x="6409079" y="2650148"/>
                </a:moveTo>
                <a:lnTo>
                  <a:pt x="6412303" y="2656598"/>
                </a:lnTo>
                <a:lnTo>
                  <a:pt x="6409079" y="2659823"/>
                </a:lnTo>
                <a:lnTo>
                  <a:pt x="6399405" y="2663047"/>
                </a:lnTo>
                <a:lnTo>
                  <a:pt x="6396181" y="2653373"/>
                </a:lnTo>
                <a:close/>
                <a:moveTo>
                  <a:pt x="6434877" y="2643699"/>
                </a:moveTo>
                <a:lnTo>
                  <a:pt x="6434877" y="2646924"/>
                </a:lnTo>
                <a:lnTo>
                  <a:pt x="6434877" y="2650148"/>
                </a:lnTo>
                <a:lnTo>
                  <a:pt x="6438102" y="2656598"/>
                </a:lnTo>
                <a:lnTo>
                  <a:pt x="6431653" y="2650148"/>
                </a:lnTo>
                <a:close/>
                <a:moveTo>
                  <a:pt x="2344352" y="2634025"/>
                </a:moveTo>
                <a:lnTo>
                  <a:pt x="2347576" y="2637250"/>
                </a:lnTo>
                <a:lnTo>
                  <a:pt x="2344352" y="2640475"/>
                </a:lnTo>
                <a:lnTo>
                  <a:pt x="2344352" y="2650149"/>
                </a:lnTo>
                <a:lnTo>
                  <a:pt x="2334677" y="2653373"/>
                </a:lnTo>
                <a:lnTo>
                  <a:pt x="2328228" y="2650149"/>
                </a:lnTo>
                <a:lnTo>
                  <a:pt x="2334677" y="2646924"/>
                </a:lnTo>
                <a:lnTo>
                  <a:pt x="2334677" y="2643699"/>
                </a:lnTo>
                <a:lnTo>
                  <a:pt x="2334677" y="2637250"/>
                </a:lnTo>
                <a:lnTo>
                  <a:pt x="2337902" y="2637250"/>
                </a:lnTo>
                <a:close/>
                <a:moveTo>
                  <a:pt x="6383282" y="2630800"/>
                </a:moveTo>
                <a:lnTo>
                  <a:pt x="6389731" y="2634024"/>
                </a:lnTo>
                <a:lnTo>
                  <a:pt x="6386506" y="2643699"/>
                </a:lnTo>
                <a:lnTo>
                  <a:pt x="6380057" y="2656598"/>
                </a:lnTo>
                <a:lnTo>
                  <a:pt x="6380057" y="2663047"/>
                </a:lnTo>
                <a:lnTo>
                  <a:pt x="6383282" y="2669497"/>
                </a:lnTo>
                <a:lnTo>
                  <a:pt x="6376832" y="2672721"/>
                </a:lnTo>
                <a:lnTo>
                  <a:pt x="6370383" y="2666271"/>
                </a:lnTo>
                <a:lnTo>
                  <a:pt x="6363934" y="2659823"/>
                </a:lnTo>
                <a:lnTo>
                  <a:pt x="6367159" y="2653373"/>
                </a:lnTo>
                <a:lnTo>
                  <a:pt x="6370383" y="2653373"/>
                </a:lnTo>
                <a:lnTo>
                  <a:pt x="6373608" y="2653373"/>
                </a:lnTo>
                <a:lnTo>
                  <a:pt x="6373608" y="2646924"/>
                </a:lnTo>
                <a:lnTo>
                  <a:pt x="6376832" y="2637250"/>
                </a:lnTo>
                <a:close/>
                <a:moveTo>
                  <a:pt x="6399405" y="2627576"/>
                </a:moveTo>
                <a:lnTo>
                  <a:pt x="6399405" y="2646924"/>
                </a:lnTo>
                <a:lnTo>
                  <a:pt x="6383282" y="2666271"/>
                </a:lnTo>
                <a:lnTo>
                  <a:pt x="6386506" y="2656598"/>
                </a:lnTo>
                <a:lnTo>
                  <a:pt x="6389731" y="2646924"/>
                </a:lnTo>
                <a:close/>
                <a:moveTo>
                  <a:pt x="2279857" y="2627576"/>
                </a:moveTo>
                <a:lnTo>
                  <a:pt x="2283082" y="2630801"/>
                </a:lnTo>
                <a:lnTo>
                  <a:pt x="2279857" y="2634025"/>
                </a:lnTo>
                <a:lnTo>
                  <a:pt x="2276632" y="2634025"/>
                </a:lnTo>
                <a:lnTo>
                  <a:pt x="2270184" y="2630801"/>
                </a:lnTo>
                <a:lnTo>
                  <a:pt x="2273408" y="2630801"/>
                </a:lnTo>
                <a:close/>
                <a:moveTo>
                  <a:pt x="6299440" y="2621126"/>
                </a:moveTo>
                <a:lnTo>
                  <a:pt x="6302664" y="2627576"/>
                </a:lnTo>
                <a:lnTo>
                  <a:pt x="6302664" y="2643699"/>
                </a:lnTo>
                <a:lnTo>
                  <a:pt x="6296215" y="2646924"/>
                </a:lnTo>
                <a:lnTo>
                  <a:pt x="6283317" y="2663047"/>
                </a:lnTo>
                <a:lnTo>
                  <a:pt x="6267193" y="2679171"/>
                </a:lnTo>
                <a:lnTo>
                  <a:pt x="6254295" y="2685620"/>
                </a:lnTo>
                <a:lnTo>
                  <a:pt x="6251069" y="2688845"/>
                </a:lnTo>
                <a:lnTo>
                  <a:pt x="6263969" y="2669497"/>
                </a:lnTo>
                <a:lnTo>
                  <a:pt x="6267193" y="2669497"/>
                </a:lnTo>
                <a:lnTo>
                  <a:pt x="6273643" y="2666271"/>
                </a:lnTo>
                <a:lnTo>
                  <a:pt x="6280092" y="2656598"/>
                </a:lnTo>
                <a:lnTo>
                  <a:pt x="6289766" y="2646924"/>
                </a:lnTo>
                <a:lnTo>
                  <a:pt x="6299440" y="2637250"/>
                </a:lnTo>
                <a:lnTo>
                  <a:pt x="6296215" y="2630800"/>
                </a:lnTo>
                <a:lnTo>
                  <a:pt x="6299440" y="2624350"/>
                </a:lnTo>
                <a:close/>
                <a:moveTo>
                  <a:pt x="6405855" y="2617902"/>
                </a:moveTo>
                <a:lnTo>
                  <a:pt x="6415529" y="2621126"/>
                </a:lnTo>
                <a:lnTo>
                  <a:pt x="6421979" y="2630800"/>
                </a:lnTo>
                <a:lnTo>
                  <a:pt x="6425203" y="2643699"/>
                </a:lnTo>
                <a:lnTo>
                  <a:pt x="6425203" y="2646924"/>
                </a:lnTo>
                <a:lnTo>
                  <a:pt x="6421979" y="2653373"/>
                </a:lnTo>
                <a:lnTo>
                  <a:pt x="6418753" y="2650148"/>
                </a:lnTo>
                <a:lnTo>
                  <a:pt x="6415529" y="2646924"/>
                </a:lnTo>
                <a:lnTo>
                  <a:pt x="6409079" y="2634024"/>
                </a:lnTo>
                <a:lnTo>
                  <a:pt x="6405855" y="2624350"/>
                </a:lnTo>
                <a:close/>
                <a:moveTo>
                  <a:pt x="6354259" y="2611452"/>
                </a:moveTo>
                <a:lnTo>
                  <a:pt x="6360709" y="2614677"/>
                </a:lnTo>
                <a:lnTo>
                  <a:pt x="6363934" y="2614677"/>
                </a:lnTo>
                <a:lnTo>
                  <a:pt x="6376832" y="2617902"/>
                </a:lnTo>
                <a:lnTo>
                  <a:pt x="6380057" y="2621126"/>
                </a:lnTo>
                <a:lnTo>
                  <a:pt x="6380057" y="2627576"/>
                </a:lnTo>
                <a:lnTo>
                  <a:pt x="6370383" y="2637250"/>
                </a:lnTo>
                <a:lnTo>
                  <a:pt x="6354259" y="2643699"/>
                </a:lnTo>
                <a:lnTo>
                  <a:pt x="6354259" y="2637250"/>
                </a:lnTo>
                <a:lnTo>
                  <a:pt x="6357485" y="2621126"/>
                </a:lnTo>
                <a:lnTo>
                  <a:pt x="6354259" y="2614677"/>
                </a:lnTo>
                <a:lnTo>
                  <a:pt x="6351035" y="2614677"/>
                </a:lnTo>
                <a:close/>
                <a:moveTo>
                  <a:pt x="6309114" y="2601778"/>
                </a:moveTo>
                <a:lnTo>
                  <a:pt x="6318787" y="2605003"/>
                </a:lnTo>
                <a:lnTo>
                  <a:pt x="6318787" y="2608227"/>
                </a:lnTo>
                <a:lnTo>
                  <a:pt x="6309114" y="2608227"/>
                </a:lnTo>
                <a:close/>
                <a:moveTo>
                  <a:pt x="6405855" y="2595329"/>
                </a:moveTo>
                <a:lnTo>
                  <a:pt x="6418753" y="2598553"/>
                </a:lnTo>
                <a:lnTo>
                  <a:pt x="6428427" y="2601778"/>
                </a:lnTo>
                <a:lnTo>
                  <a:pt x="6431653" y="2601778"/>
                </a:lnTo>
                <a:lnTo>
                  <a:pt x="6431653" y="2605003"/>
                </a:lnTo>
                <a:lnTo>
                  <a:pt x="6431653" y="2614677"/>
                </a:lnTo>
                <a:lnTo>
                  <a:pt x="6438102" y="2630800"/>
                </a:lnTo>
                <a:lnTo>
                  <a:pt x="6428427" y="2627576"/>
                </a:lnTo>
                <a:lnTo>
                  <a:pt x="6425203" y="2627576"/>
                </a:lnTo>
                <a:lnTo>
                  <a:pt x="6418753" y="2621126"/>
                </a:lnTo>
                <a:lnTo>
                  <a:pt x="6418753" y="2614677"/>
                </a:lnTo>
                <a:lnTo>
                  <a:pt x="6409079" y="2605003"/>
                </a:lnTo>
                <a:close/>
                <a:moveTo>
                  <a:pt x="6383282" y="2595329"/>
                </a:moveTo>
                <a:lnTo>
                  <a:pt x="6396181" y="2601778"/>
                </a:lnTo>
                <a:lnTo>
                  <a:pt x="6399405" y="2608227"/>
                </a:lnTo>
                <a:lnTo>
                  <a:pt x="6399405" y="2614677"/>
                </a:lnTo>
                <a:lnTo>
                  <a:pt x="6386506" y="2605003"/>
                </a:lnTo>
                <a:lnTo>
                  <a:pt x="6383282" y="2598553"/>
                </a:lnTo>
                <a:close/>
                <a:moveTo>
                  <a:pt x="4854779" y="2592106"/>
                </a:moveTo>
                <a:lnTo>
                  <a:pt x="4864453" y="2592106"/>
                </a:lnTo>
                <a:lnTo>
                  <a:pt x="4877353" y="2598555"/>
                </a:lnTo>
                <a:lnTo>
                  <a:pt x="4861229" y="2601779"/>
                </a:lnTo>
                <a:lnTo>
                  <a:pt x="4848330" y="2598555"/>
                </a:lnTo>
                <a:close/>
                <a:moveTo>
                  <a:pt x="6318787" y="2575980"/>
                </a:moveTo>
                <a:lnTo>
                  <a:pt x="6325237" y="2575980"/>
                </a:lnTo>
                <a:lnTo>
                  <a:pt x="6338135" y="2579205"/>
                </a:lnTo>
                <a:lnTo>
                  <a:pt x="6344585" y="2582430"/>
                </a:lnTo>
                <a:lnTo>
                  <a:pt x="6344585" y="2588879"/>
                </a:lnTo>
                <a:lnTo>
                  <a:pt x="6341361" y="2601778"/>
                </a:lnTo>
                <a:lnTo>
                  <a:pt x="6338135" y="2605003"/>
                </a:lnTo>
                <a:lnTo>
                  <a:pt x="6331687" y="2598553"/>
                </a:lnTo>
                <a:lnTo>
                  <a:pt x="6328461" y="2588879"/>
                </a:lnTo>
                <a:lnTo>
                  <a:pt x="6325237" y="2582430"/>
                </a:lnTo>
                <a:lnTo>
                  <a:pt x="6322013" y="2582430"/>
                </a:lnTo>
                <a:close/>
                <a:moveTo>
                  <a:pt x="5715770" y="2575979"/>
                </a:moveTo>
                <a:lnTo>
                  <a:pt x="5722220" y="2575979"/>
                </a:lnTo>
                <a:lnTo>
                  <a:pt x="5718996" y="2585653"/>
                </a:lnTo>
                <a:lnTo>
                  <a:pt x="5715770" y="2601776"/>
                </a:lnTo>
                <a:lnTo>
                  <a:pt x="5715770" y="2611450"/>
                </a:lnTo>
                <a:lnTo>
                  <a:pt x="5712546" y="2621124"/>
                </a:lnTo>
                <a:lnTo>
                  <a:pt x="5709322" y="2614674"/>
                </a:lnTo>
                <a:lnTo>
                  <a:pt x="5712546" y="2605001"/>
                </a:lnTo>
                <a:lnTo>
                  <a:pt x="5715770" y="2585653"/>
                </a:lnTo>
                <a:close/>
                <a:moveTo>
                  <a:pt x="6402629" y="2563082"/>
                </a:moveTo>
                <a:lnTo>
                  <a:pt x="6405855" y="2563082"/>
                </a:lnTo>
                <a:lnTo>
                  <a:pt x="6409079" y="2566306"/>
                </a:lnTo>
                <a:lnTo>
                  <a:pt x="6405855" y="2572756"/>
                </a:lnTo>
                <a:lnTo>
                  <a:pt x="6399405" y="2572756"/>
                </a:lnTo>
                <a:lnTo>
                  <a:pt x="6402629" y="2569531"/>
                </a:lnTo>
                <a:lnTo>
                  <a:pt x="6402629" y="2566306"/>
                </a:lnTo>
                <a:close/>
                <a:moveTo>
                  <a:pt x="2341126" y="2543733"/>
                </a:moveTo>
                <a:lnTo>
                  <a:pt x="2347576" y="2550182"/>
                </a:lnTo>
                <a:lnTo>
                  <a:pt x="2347576" y="2553407"/>
                </a:lnTo>
                <a:lnTo>
                  <a:pt x="2344352" y="2553407"/>
                </a:lnTo>
                <a:close/>
                <a:moveTo>
                  <a:pt x="3160202" y="2534061"/>
                </a:moveTo>
                <a:lnTo>
                  <a:pt x="3166652" y="2540511"/>
                </a:lnTo>
                <a:lnTo>
                  <a:pt x="3163428" y="2540511"/>
                </a:lnTo>
                <a:close/>
                <a:moveTo>
                  <a:pt x="4558108" y="2521162"/>
                </a:moveTo>
                <a:lnTo>
                  <a:pt x="4567781" y="2527611"/>
                </a:lnTo>
                <a:lnTo>
                  <a:pt x="4561332" y="2527611"/>
                </a:lnTo>
                <a:lnTo>
                  <a:pt x="4558108" y="2527611"/>
                </a:lnTo>
                <a:close/>
                <a:moveTo>
                  <a:pt x="3179551" y="2514713"/>
                </a:moveTo>
                <a:lnTo>
                  <a:pt x="3182776" y="2514713"/>
                </a:lnTo>
                <a:lnTo>
                  <a:pt x="3186000" y="2517938"/>
                </a:lnTo>
                <a:lnTo>
                  <a:pt x="3179551" y="2517938"/>
                </a:lnTo>
                <a:close/>
                <a:moveTo>
                  <a:pt x="2334677" y="2508262"/>
                </a:moveTo>
                <a:lnTo>
                  <a:pt x="2337902" y="2511486"/>
                </a:lnTo>
                <a:lnTo>
                  <a:pt x="2337902" y="2514710"/>
                </a:lnTo>
                <a:lnTo>
                  <a:pt x="2331452" y="2514710"/>
                </a:lnTo>
                <a:lnTo>
                  <a:pt x="2328228" y="2517935"/>
                </a:lnTo>
                <a:lnTo>
                  <a:pt x="2328228" y="2514710"/>
                </a:lnTo>
                <a:lnTo>
                  <a:pt x="2331452" y="2511486"/>
                </a:lnTo>
                <a:close/>
                <a:moveTo>
                  <a:pt x="4596802" y="2498588"/>
                </a:moveTo>
                <a:lnTo>
                  <a:pt x="4600026" y="2501812"/>
                </a:lnTo>
                <a:lnTo>
                  <a:pt x="4603252" y="2501812"/>
                </a:lnTo>
                <a:lnTo>
                  <a:pt x="4606476" y="2505037"/>
                </a:lnTo>
                <a:lnTo>
                  <a:pt x="4600026" y="2505037"/>
                </a:lnTo>
                <a:close/>
                <a:moveTo>
                  <a:pt x="6325237" y="2463116"/>
                </a:moveTo>
                <a:lnTo>
                  <a:pt x="6347811" y="2466341"/>
                </a:lnTo>
                <a:lnTo>
                  <a:pt x="6354259" y="2466341"/>
                </a:lnTo>
                <a:lnTo>
                  <a:pt x="6357485" y="2479240"/>
                </a:lnTo>
                <a:lnTo>
                  <a:pt x="6360709" y="2485688"/>
                </a:lnTo>
                <a:lnTo>
                  <a:pt x="6360709" y="2488914"/>
                </a:lnTo>
                <a:lnTo>
                  <a:pt x="6367159" y="2495363"/>
                </a:lnTo>
                <a:lnTo>
                  <a:pt x="6363934" y="2501812"/>
                </a:lnTo>
                <a:lnTo>
                  <a:pt x="6357485" y="2514711"/>
                </a:lnTo>
                <a:lnTo>
                  <a:pt x="6347811" y="2521161"/>
                </a:lnTo>
                <a:lnTo>
                  <a:pt x="6344585" y="2530835"/>
                </a:lnTo>
                <a:lnTo>
                  <a:pt x="6344585" y="2543734"/>
                </a:lnTo>
                <a:lnTo>
                  <a:pt x="6347811" y="2556632"/>
                </a:lnTo>
                <a:lnTo>
                  <a:pt x="6354259" y="2563082"/>
                </a:lnTo>
                <a:lnTo>
                  <a:pt x="6360709" y="2563082"/>
                </a:lnTo>
                <a:lnTo>
                  <a:pt x="6360709" y="2559856"/>
                </a:lnTo>
                <a:lnTo>
                  <a:pt x="6367159" y="2556632"/>
                </a:lnTo>
                <a:lnTo>
                  <a:pt x="6376832" y="2563082"/>
                </a:lnTo>
                <a:lnTo>
                  <a:pt x="6386506" y="2566306"/>
                </a:lnTo>
                <a:lnTo>
                  <a:pt x="6392955" y="2566306"/>
                </a:lnTo>
                <a:lnTo>
                  <a:pt x="6396181" y="2569531"/>
                </a:lnTo>
                <a:lnTo>
                  <a:pt x="6396181" y="2579205"/>
                </a:lnTo>
                <a:lnTo>
                  <a:pt x="6392955" y="2582430"/>
                </a:lnTo>
                <a:lnTo>
                  <a:pt x="6402629" y="2585655"/>
                </a:lnTo>
                <a:lnTo>
                  <a:pt x="6402629" y="2595329"/>
                </a:lnTo>
                <a:lnTo>
                  <a:pt x="6392955" y="2588879"/>
                </a:lnTo>
                <a:lnTo>
                  <a:pt x="6386506" y="2582430"/>
                </a:lnTo>
                <a:lnTo>
                  <a:pt x="6380057" y="2575980"/>
                </a:lnTo>
                <a:lnTo>
                  <a:pt x="6367159" y="2566306"/>
                </a:lnTo>
                <a:lnTo>
                  <a:pt x="6363934" y="2566306"/>
                </a:lnTo>
                <a:lnTo>
                  <a:pt x="6367159" y="2572756"/>
                </a:lnTo>
                <a:lnTo>
                  <a:pt x="6360709" y="2572756"/>
                </a:lnTo>
                <a:lnTo>
                  <a:pt x="6357485" y="2569531"/>
                </a:lnTo>
                <a:lnTo>
                  <a:pt x="6347811" y="2566306"/>
                </a:lnTo>
                <a:lnTo>
                  <a:pt x="6344585" y="2566306"/>
                </a:lnTo>
                <a:lnTo>
                  <a:pt x="6344585" y="2569531"/>
                </a:lnTo>
                <a:lnTo>
                  <a:pt x="6338135" y="2569531"/>
                </a:lnTo>
                <a:lnTo>
                  <a:pt x="6331687" y="2569531"/>
                </a:lnTo>
                <a:lnTo>
                  <a:pt x="6331687" y="2566306"/>
                </a:lnTo>
                <a:lnTo>
                  <a:pt x="6325237" y="2566306"/>
                </a:lnTo>
                <a:lnTo>
                  <a:pt x="6325237" y="2559856"/>
                </a:lnTo>
                <a:lnTo>
                  <a:pt x="6331687" y="2553408"/>
                </a:lnTo>
                <a:lnTo>
                  <a:pt x="6331687" y="2550182"/>
                </a:lnTo>
                <a:lnTo>
                  <a:pt x="6325237" y="2546958"/>
                </a:lnTo>
                <a:lnTo>
                  <a:pt x="6325237" y="2553408"/>
                </a:lnTo>
                <a:lnTo>
                  <a:pt x="6322013" y="2553408"/>
                </a:lnTo>
                <a:lnTo>
                  <a:pt x="6315563" y="2546958"/>
                </a:lnTo>
                <a:lnTo>
                  <a:pt x="6312338" y="2530835"/>
                </a:lnTo>
                <a:lnTo>
                  <a:pt x="6305889" y="2514711"/>
                </a:lnTo>
                <a:lnTo>
                  <a:pt x="6309114" y="2511487"/>
                </a:lnTo>
                <a:lnTo>
                  <a:pt x="6309114" y="2514711"/>
                </a:lnTo>
                <a:lnTo>
                  <a:pt x="6318787" y="2517935"/>
                </a:lnTo>
                <a:lnTo>
                  <a:pt x="6322013" y="2505037"/>
                </a:lnTo>
                <a:lnTo>
                  <a:pt x="6322013" y="2492138"/>
                </a:lnTo>
                <a:lnTo>
                  <a:pt x="6318787" y="2479240"/>
                </a:lnTo>
                <a:lnTo>
                  <a:pt x="6322013" y="2469566"/>
                </a:lnTo>
                <a:close/>
                <a:moveTo>
                  <a:pt x="1973513" y="2463116"/>
                </a:moveTo>
                <a:lnTo>
                  <a:pt x="1979962" y="2463116"/>
                </a:lnTo>
                <a:lnTo>
                  <a:pt x="2008984" y="2469566"/>
                </a:lnTo>
                <a:lnTo>
                  <a:pt x="2008984" y="2472790"/>
                </a:lnTo>
                <a:lnTo>
                  <a:pt x="2008984" y="2476016"/>
                </a:lnTo>
                <a:lnTo>
                  <a:pt x="2002534" y="2476016"/>
                </a:lnTo>
                <a:lnTo>
                  <a:pt x="1999310" y="2472790"/>
                </a:lnTo>
                <a:lnTo>
                  <a:pt x="1992861" y="2476016"/>
                </a:lnTo>
                <a:lnTo>
                  <a:pt x="1989636" y="2479240"/>
                </a:lnTo>
                <a:lnTo>
                  <a:pt x="1986411" y="2476016"/>
                </a:lnTo>
                <a:lnTo>
                  <a:pt x="1983187" y="2476016"/>
                </a:lnTo>
                <a:lnTo>
                  <a:pt x="1976737" y="2476016"/>
                </a:lnTo>
                <a:lnTo>
                  <a:pt x="1963839" y="2466342"/>
                </a:lnTo>
                <a:close/>
                <a:moveTo>
                  <a:pt x="2212140" y="2459892"/>
                </a:moveTo>
                <a:lnTo>
                  <a:pt x="2215364" y="2463116"/>
                </a:lnTo>
                <a:lnTo>
                  <a:pt x="2218589" y="2463116"/>
                </a:lnTo>
                <a:lnTo>
                  <a:pt x="2228264" y="2463116"/>
                </a:lnTo>
                <a:lnTo>
                  <a:pt x="2241162" y="2463116"/>
                </a:lnTo>
                <a:lnTo>
                  <a:pt x="2244387" y="2466342"/>
                </a:lnTo>
                <a:lnTo>
                  <a:pt x="2237938" y="2472790"/>
                </a:lnTo>
                <a:lnTo>
                  <a:pt x="2228264" y="2476016"/>
                </a:lnTo>
                <a:lnTo>
                  <a:pt x="2212140" y="2476016"/>
                </a:lnTo>
                <a:lnTo>
                  <a:pt x="2208915" y="2472790"/>
                </a:lnTo>
                <a:lnTo>
                  <a:pt x="2208915" y="2466342"/>
                </a:lnTo>
                <a:close/>
                <a:moveTo>
                  <a:pt x="2086376" y="2427645"/>
                </a:moveTo>
                <a:lnTo>
                  <a:pt x="2096051" y="2430869"/>
                </a:lnTo>
                <a:lnTo>
                  <a:pt x="2102500" y="2434095"/>
                </a:lnTo>
                <a:lnTo>
                  <a:pt x="2108949" y="2430869"/>
                </a:lnTo>
                <a:lnTo>
                  <a:pt x="2118623" y="2430869"/>
                </a:lnTo>
                <a:lnTo>
                  <a:pt x="2128298" y="2430869"/>
                </a:lnTo>
                <a:lnTo>
                  <a:pt x="2137972" y="2434095"/>
                </a:lnTo>
                <a:lnTo>
                  <a:pt x="2147646" y="2437319"/>
                </a:lnTo>
                <a:lnTo>
                  <a:pt x="2154096" y="2443769"/>
                </a:lnTo>
                <a:lnTo>
                  <a:pt x="2154096" y="2446993"/>
                </a:lnTo>
                <a:lnTo>
                  <a:pt x="2163770" y="2450218"/>
                </a:lnTo>
                <a:lnTo>
                  <a:pt x="2173443" y="2450218"/>
                </a:lnTo>
                <a:lnTo>
                  <a:pt x="2179893" y="2456667"/>
                </a:lnTo>
                <a:lnTo>
                  <a:pt x="2179893" y="2466342"/>
                </a:lnTo>
                <a:lnTo>
                  <a:pt x="2173443" y="2466342"/>
                </a:lnTo>
                <a:lnTo>
                  <a:pt x="2170219" y="2463116"/>
                </a:lnTo>
                <a:lnTo>
                  <a:pt x="2160544" y="2463116"/>
                </a:lnTo>
                <a:lnTo>
                  <a:pt x="2154096" y="2463116"/>
                </a:lnTo>
                <a:lnTo>
                  <a:pt x="2147646" y="2463116"/>
                </a:lnTo>
                <a:lnTo>
                  <a:pt x="2141196" y="2466342"/>
                </a:lnTo>
                <a:lnTo>
                  <a:pt x="2134747" y="2466342"/>
                </a:lnTo>
                <a:lnTo>
                  <a:pt x="2128298" y="2466342"/>
                </a:lnTo>
                <a:lnTo>
                  <a:pt x="2125073" y="2466342"/>
                </a:lnTo>
                <a:lnTo>
                  <a:pt x="2118623" y="2476016"/>
                </a:lnTo>
                <a:lnTo>
                  <a:pt x="2115399" y="2482465"/>
                </a:lnTo>
                <a:lnTo>
                  <a:pt x="2112175" y="2476016"/>
                </a:lnTo>
                <a:lnTo>
                  <a:pt x="2108949" y="2472790"/>
                </a:lnTo>
                <a:lnTo>
                  <a:pt x="2083152" y="2469566"/>
                </a:lnTo>
                <a:lnTo>
                  <a:pt x="2070254" y="2466342"/>
                </a:lnTo>
                <a:lnTo>
                  <a:pt x="2063804" y="2469566"/>
                </a:lnTo>
                <a:lnTo>
                  <a:pt x="2057355" y="2469566"/>
                </a:lnTo>
                <a:lnTo>
                  <a:pt x="2054130" y="2466342"/>
                </a:lnTo>
                <a:lnTo>
                  <a:pt x="2050905" y="2463116"/>
                </a:lnTo>
                <a:lnTo>
                  <a:pt x="2057355" y="2459892"/>
                </a:lnTo>
                <a:lnTo>
                  <a:pt x="2067029" y="2463116"/>
                </a:lnTo>
                <a:lnTo>
                  <a:pt x="2079928" y="2463116"/>
                </a:lnTo>
                <a:lnTo>
                  <a:pt x="2096051" y="2459892"/>
                </a:lnTo>
                <a:lnTo>
                  <a:pt x="2092826" y="2456667"/>
                </a:lnTo>
                <a:lnTo>
                  <a:pt x="2089602" y="2450218"/>
                </a:lnTo>
                <a:lnTo>
                  <a:pt x="2086376" y="2443769"/>
                </a:lnTo>
                <a:lnTo>
                  <a:pt x="2086376" y="2437319"/>
                </a:lnTo>
                <a:lnTo>
                  <a:pt x="2079928" y="2437319"/>
                </a:lnTo>
                <a:lnTo>
                  <a:pt x="2073478" y="2434095"/>
                </a:lnTo>
                <a:lnTo>
                  <a:pt x="2079928" y="2430869"/>
                </a:lnTo>
                <a:close/>
                <a:moveTo>
                  <a:pt x="6096285" y="2424419"/>
                </a:moveTo>
                <a:lnTo>
                  <a:pt x="6099510" y="2424419"/>
                </a:lnTo>
                <a:lnTo>
                  <a:pt x="6109184" y="2424419"/>
                </a:lnTo>
                <a:lnTo>
                  <a:pt x="6112409" y="2430868"/>
                </a:lnTo>
                <a:lnTo>
                  <a:pt x="6115633" y="2437318"/>
                </a:lnTo>
                <a:lnTo>
                  <a:pt x="6109184" y="2440542"/>
                </a:lnTo>
                <a:lnTo>
                  <a:pt x="6105960" y="2446992"/>
                </a:lnTo>
                <a:lnTo>
                  <a:pt x="6102735" y="2453441"/>
                </a:lnTo>
                <a:lnTo>
                  <a:pt x="6099510" y="2459890"/>
                </a:lnTo>
                <a:lnTo>
                  <a:pt x="6089837" y="2463115"/>
                </a:lnTo>
                <a:lnTo>
                  <a:pt x="6080161" y="2466340"/>
                </a:lnTo>
                <a:lnTo>
                  <a:pt x="6070487" y="2463115"/>
                </a:lnTo>
                <a:lnTo>
                  <a:pt x="6064038" y="2456666"/>
                </a:lnTo>
                <a:lnTo>
                  <a:pt x="6060813" y="2450216"/>
                </a:lnTo>
                <a:lnTo>
                  <a:pt x="6073713" y="2437318"/>
                </a:lnTo>
                <a:lnTo>
                  <a:pt x="6083387" y="2427643"/>
                </a:lnTo>
                <a:lnTo>
                  <a:pt x="6086611" y="2427643"/>
                </a:lnTo>
                <a:lnTo>
                  <a:pt x="6089837" y="2427643"/>
                </a:lnTo>
                <a:lnTo>
                  <a:pt x="6093061" y="2427643"/>
                </a:lnTo>
                <a:lnTo>
                  <a:pt x="6096285" y="2427643"/>
                </a:lnTo>
                <a:close/>
                <a:moveTo>
                  <a:pt x="267650" y="2421195"/>
                </a:moveTo>
                <a:lnTo>
                  <a:pt x="274098" y="2424420"/>
                </a:lnTo>
                <a:lnTo>
                  <a:pt x="280548" y="2430869"/>
                </a:lnTo>
                <a:lnTo>
                  <a:pt x="286997" y="2440543"/>
                </a:lnTo>
                <a:lnTo>
                  <a:pt x="280548" y="2446993"/>
                </a:lnTo>
                <a:lnTo>
                  <a:pt x="267650" y="2450218"/>
                </a:lnTo>
                <a:lnTo>
                  <a:pt x="264424" y="2440543"/>
                </a:lnTo>
                <a:close/>
                <a:moveTo>
                  <a:pt x="4970867" y="2411520"/>
                </a:moveTo>
                <a:lnTo>
                  <a:pt x="4970867" y="2414745"/>
                </a:lnTo>
                <a:lnTo>
                  <a:pt x="4970867" y="2421194"/>
                </a:lnTo>
                <a:lnTo>
                  <a:pt x="4967643" y="2424419"/>
                </a:lnTo>
                <a:close/>
                <a:moveTo>
                  <a:pt x="248301" y="2405072"/>
                </a:moveTo>
                <a:lnTo>
                  <a:pt x="254750" y="2405072"/>
                </a:lnTo>
                <a:lnTo>
                  <a:pt x="261200" y="2411522"/>
                </a:lnTo>
                <a:lnTo>
                  <a:pt x="254750" y="2414746"/>
                </a:lnTo>
                <a:close/>
                <a:moveTo>
                  <a:pt x="235402" y="2398622"/>
                </a:moveTo>
                <a:lnTo>
                  <a:pt x="245076" y="2401848"/>
                </a:lnTo>
                <a:lnTo>
                  <a:pt x="238627" y="2401848"/>
                </a:lnTo>
                <a:lnTo>
                  <a:pt x="232177" y="2401848"/>
                </a:lnTo>
                <a:close/>
                <a:moveTo>
                  <a:pt x="2083152" y="2395397"/>
                </a:moveTo>
                <a:lnTo>
                  <a:pt x="2079928" y="2401847"/>
                </a:lnTo>
                <a:lnTo>
                  <a:pt x="2073478" y="2405071"/>
                </a:lnTo>
                <a:lnTo>
                  <a:pt x="2067029" y="2405071"/>
                </a:lnTo>
                <a:lnTo>
                  <a:pt x="2067029" y="2401847"/>
                </a:lnTo>
                <a:lnTo>
                  <a:pt x="2076702" y="2398621"/>
                </a:lnTo>
                <a:close/>
                <a:moveTo>
                  <a:pt x="212829" y="2388948"/>
                </a:moveTo>
                <a:lnTo>
                  <a:pt x="219279" y="2388948"/>
                </a:lnTo>
                <a:lnTo>
                  <a:pt x="225729" y="2395398"/>
                </a:lnTo>
                <a:lnTo>
                  <a:pt x="222504" y="2398622"/>
                </a:lnTo>
                <a:lnTo>
                  <a:pt x="216053" y="2395398"/>
                </a:lnTo>
                <a:lnTo>
                  <a:pt x="212829" y="2392174"/>
                </a:lnTo>
                <a:close/>
                <a:moveTo>
                  <a:pt x="1863872" y="2382498"/>
                </a:moveTo>
                <a:lnTo>
                  <a:pt x="1870321" y="2382498"/>
                </a:lnTo>
                <a:lnTo>
                  <a:pt x="1870321" y="2392173"/>
                </a:lnTo>
                <a:lnTo>
                  <a:pt x="1860647" y="2392173"/>
                </a:lnTo>
                <a:lnTo>
                  <a:pt x="1860647" y="2385723"/>
                </a:lnTo>
                <a:close/>
                <a:moveTo>
                  <a:pt x="190256" y="2376050"/>
                </a:moveTo>
                <a:lnTo>
                  <a:pt x="190256" y="2379274"/>
                </a:lnTo>
                <a:lnTo>
                  <a:pt x="190256" y="2382499"/>
                </a:lnTo>
                <a:lnTo>
                  <a:pt x="180582" y="2382499"/>
                </a:lnTo>
                <a:close/>
                <a:moveTo>
                  <a:pt x="2063804" y="2363151"/>
                </a:moveTo>
                <a:lnTo>
                  <a:pt x="2060579" y="2372825"/>
                </a:lnTo>
                <a:lnTo>
                  <a:pt x="2054130" y="2376050"/>
                </a:lnTo>
                <a:lnTo>
                  <a:pt x="2057355" y="2369601"/>
                </a:lnTo>
                <a:close/>
                <a:moveTo>
                  <a:pt x="5673850" y="2363150"/>
                </a:moveTo>
                <a:lnTo>
                  <a:pt x="5677076" y="2372824"/>
                </a:lnTo>
                <a:lnTo>
                  <a:pt x="5673850" y="2379273"/>
                </a:lnTo>
                <a:lnTo>
                  <a:pt x="5670626" y="2379273"/>
                </a:lnTo>
                <a:lnTo>
                  <a:pt x="5667401" y="2366374"/>
                </a:lnTo>
                <a:close/>
                <a:moveTo>
                  <a:pt x="2050905" y="2359926"/>
                </a:moveTo>
                <a:lnTo>
                  <a:pt x="2060579" y="2363150"/>
                </a:lnTo>
                <a:lnTo>
                  <a:pt x="2057355" y="2363150"/>
                </a:lnTo>
                <a:close/>
                <a:moveTo>
                  <a:pt x="1876771" y="2353476"/>
                </a:moveTo>
                <a:lnTo>
                  <a:pt x="1892894" y="2353476"/>
                </a:lnTo>
                <a:lnTo>
                  <a:pt x="1905793" y="2353476"/>
                </a:lnTo>
                <a:lnTo>
                  <a:pt x="1912242" y="2353476"/>
                </a:lnTo>
                <a:lnTo>
                  <a:pt x="1918692" y="2356700"/>
                </a:lnTo>
                <a:lnTo>
                  <a:pt x="1928365" y="2359926"/>
                </a:lnTo>
                <a:lnTo>
                  <a:pt x="1938040" y="2366374"/>
                </a:lnTo>
                <a:lnTo>
                  <a:pt x="1944489" y="2372824"/>
                </a:lnTo>
                <a:lnTo>
                  <a:pt x="1954164" y="2372824"/>
                </a:lnTo>
                <a:lnTo>
                  <a:pt x="1963838" y="2376049"/>
                </a:lnTo>
                <a:lnTo>
                  <a:pt x="1970286" y="2379273"/>
                </a:lnTo>
                <a:lnTo>
                  <a:pt x="1979961" y="2385723"/>
                </a:lnTo>
                <a:lnTo>
                  <a:pt x="1986410" y="2385723"/>
                </a:lnTo>
                <a:lnTo>
                  <a:pt x="1989635" y="2392173"/>
                </a:lnTo>
                <a:lnTo>
                  <a:pt x="1992860" y="2392173"/>
                </a:lnTo>
                <a:lnTo>
                  <a:pt x="1999309" y="2395397"/>
                </a:lnTo>
                <a:lnTo>
                  <a:pt x="2021882" y="2405071"/>
                </a:lnTo>
                <a:lnTo>
                  <a:pt x="2025107" y="2405071"/>
                </a:lnTo>
                <a:lnTo>
                  <a:pt x="2025107" y="2408296"/>
                </a:lnTo>
                <a:lnTo>
                  <a:pt x="2038006" y="2411520"/>
                </a:lnTo>
                <a:lnTo>
                  <a:pt x="2044454" y="2414745"/>
                </a:lnTo>
                <a:lnTo>
                  <a:pt x="2047680" y="2417970"/>
                </a:lnTo>
                <a:lnTo>
                  <a:pt x="2050904" y="2421194"/>
                </a:lnTo>
                <a:lnTo>
                  <a:pt x="2054129" y="2424420"/>
                </a:lnTo>
                <a:lnTo>
                  <a:pt x="2041230" y="2427644"/>
                </a:lnTo>
                <a:lnTo>
                  <a:pt x="2034780" y="2430868"/>
                </a:lnTo>
                <a:lnTo>
                  <a:pt x="2031556" y="2430868"/>
                </a:lnTo>
                <a:lnTo>
                  <a:pt x="2018657" y="2427644"/>
                </a:lnTo>
                <a:lnTo>
                  <a:pt x="2005759" y="2427644"/>
                </a:lnTo>
                <a:lnTo>
                  <a:pt x="1976736" y="2430868"/>
                </a:lnTo>
                <a:lnTo>
                  <a:pt x="1989635" y="2421194"/>
                </a:lnTo>
                <a:lnTo>
                  <a:pt x="1989635" y="2414745"/>
                </a:lnTo>
                <a:lnTo>
                  <a:pt x="1983186" y="2411520"/>
                </a:lnTo>
                <a:lnTo>
                  <a:pt x="1976736" y="2411520"/>
                </a:lnTo>
                <a:lnTo>
                  <a:pt x="1970286" y="2411520"/>
                </a:lnTo>
                <a:lnTo>
                  <a:pt x="1963838" y="2405071"/>
                </a:lnTo>
                <a:lnTo>
                  <a:pt x="1960612" y="2401847"/>
                </a:lnTo>
                <a:lnTo>
                  <a:pt x="1957388" y="2395397"/>
                </a:lnTo>
                <a:lnTo>
                  <a:pt x="1954164" y="2392173"/>
                </a:lnTo>
                <a:lnTo>
                  <a:pt x="1947714" y="2392173"/>
                </a:lnTo>
                <a:lnTo>
                  <a:pt x="1931591" y="2388947"/>
                </a:lnTo>
                <a:lnTo>
                  <a:pt x="1918692" y="2379273"/>
                </a:lnTo>
                <a:lnTo>
                  <a:pt x="1912242" y="2379273"/>
                </a:lnTo>
                <a:lnTo>
                  <a:pt x="1905793" y="2379273"/>
                </a:lnTo>
                <a:lnTo>
                  <a:pt x="1902568" y="2376049"/>
                </a:lnTo>
                <a:lnTo>
                  <a:pt x="1892894" y="2376049"/>
                </a:lnTo>
                <a:lnTo>
                  <a:pt x="1886444" y="2376049"/>
                </a:lnTo>
                <a:lnTo>
                  <a:pt x="1883220" y="2369600"/>
                </a:lnTo>
                <a:lnTo>
                  <a:pt x="1889670" y="2369600"/>
                </a:lnTo>
                <a:lnTo>
                  <a:pt x="1886444" y="2366374"/>
                </a:lnTo>
                <a:lnTo>
                  <a:pt x="1883220" y="2366374"/>
                </a:lnTo>
                <a:lnTo>
                  <a:pt x="1876771" y="2363150"/>
                </a:lnTo>
                <a:lnTo>
                  <a:pt x="1863872" y="2366374"/>
                </a:lnTo>
                <a:lnTo>
                  <a:pt x="1860647" y="2372824"/>
                </a:lnTo>
                <a:lnTo>
                  <a:pt x="1854197" y="2376049"/>
                </a:lnTo>
                <a:lnTo>
                  <a:pt x="1844524" y="2379273"/>
                </a:lnTo>
                <a:lnTo>
                  <a:pt x="1838074" y="2382498"/>
                </a:lnTo>
                <a:lnTo>
                  <a:pt x="1834850" y="2382498"/>
                </a:lnTo>
                <a:lnTo>
                  <a:pt x="1828400" y="2382498"/>
                </a:lnTo>
                <a:lnTo>
                  <a:pt x="1821951" y="2382498"/>
                </a:lnTo>
                <a:lnTo>
                  <a:pt x="1831625" y="2379273"/>
                </a:lnTo>
                <a:lnTo>
                  <a:pt x="1831625" y="2372824"/>
                </a:lnTo>
                <a:lnTo>
                  <a:pt x="1838074" y="2366374"/>
                </a:lnTo>
                <a:lnTo>
                  <a:pt x="1850973" y="2359926"/>
                </a:lnTo>
                <a:lnTo>
                  <a:pt x="1857423" y="2356700"/>
                </a:lnTo>
                <a:lnTo>
                  <a:pt x="1863872" y="2356700"/>
                </a:lnTo>
                <a:lnTo>
                  <a:pt x="1870321" y="2356700"/>
                </a:lnTo>
                <a:close/>
                <a:moveTo>
                  <a:pt x="2031557" y="2340577"/>
                </a:moveTo>
                <a:lnTo>
                  <a:pt x="2041231" y="2359926"/>
                </a:lnTo>
                <a:lnTo>
                  <a:pt x="2034781" y="2353476"/>
                </a:lnTo>
                <a:close/>
                <a:moveTo>
                  <a:pt x="1979962" y="2327679"/>
                </a:moveTo>
                <a:lnTo>
                  <a:pt x="1979962" y="2340577"/>
                </a:lnTo>
                <a:lnTo>
                  <a:pt x="1976737" y="2334128"/>
                </a:lnTo>
                <a:close/>
                <a:moveTo>
                  <a:pt x="2012209" y="2308330"/>
                </a:moveTo>
                <a:lnTo>
                  <a:pt x="2012209" y="2318005"/>
                </a:lnTo>
                <a:lnTo>
                  <a:pt x="2008984" y="2314779"/>
                </a:lnTo>
                <a:close/>
                <a:moveTo>
                  <a:pt x="6341362" y="2305105"/>
                </a:moveTo>
                <a:lnTo>
                  <a:pt x="6347811" y="2305105"/>
                </a:lnTo>
                <a:lnTo>
                  <a:pt x="6354260" y="2308330"/>
                </a:lnTo>
                <a:lnTo>
                  <a:pt x="6354260" y="2314779"/>
                </a:lnTo>
                <a:lnTo>
                  <a:pt x="6344586" y="2343801"/>
                </a:lnTo>
                <a:lnTo>
                  <a:pt x="6334913" y="2363150"/>
                </a:lnTo>
                <a:lnTo>
                  <a:pt x="6331688" y="2372824"/>
                </a:lnTo>
                <a:lnTo>
                  <a:pt x="6325239" y="2372824"/>
                </a:lnTo>
                <a:lnTo>
                  <a:pt x="6322013" y="2372824"/>
                </a:lnTo>
                <a:lnTo>
                  <a:pt x="6318789" y="2369598"/>
                </a:lnTo>
                <a:lnTo>
                  <a:pt x="6315565" y="2359925"/>
                </a:lnTo>
                <a:lnTo>
                  <a:pt x="6312339" y="2350251"/>
                </a:lnTo>
                <a:lnTo>
                  <a:pt x="6315565" y="2340577"/>
                </a:lnTo>
                <a:lnTo>
                  <a:pt x="6318789" y="2334127"/>
                </a:lnTo>
                <a:lnTo>
                  <a:pt x="6328463" y="2318004"/>
                </a:lnTo>
                <a:lnTo>
                  <a:pt x="6338137" y="2308330"/>
                </a:lnTo>
                <a:close/>
                <a:moveTo>
                  <a:pt x="1967063" y="2305105"/>
                </a:moveTo>
                <a:lnTo>
                  <a:pt x="1976737" y="2314779"/>
                </a:lnTo>
                <a:lnTo>
                  <a:pt x="1973513" y="2324453"/>
                </a:lnTo>
                <a:lnTo>
                  <a:pt x="1967063" y="2321229"/>
                </a:lnTo>
                <a:lnTo>
                  <a:pt x="1963839" y="2318005"/>
                </a:lnTo>
                <a:close/>
                <a:moveTo>
                  <a:pt x="1999310" y="2295432"/>
                </a:moveTo>
                <a:lnTo>
                  <a:pt x="2012209" y="2305105"/>
                </a:lnTo>
                <a:lnTo>
                  <a:pt x="2012209" y="2308330"/>
                </a:lnTo>
                <a:lnTo>
                  <a:pt x="2008984" y="2305105"/>
                </a:lnTo>
                <a:lnTo>
                  <a:pt x="2005760" y="2301881"/>
                </a:lnTo>
                <a:close/>
                <a:moveTo>
                  <a:pt x="4806408" y="2282532"/>
                </a:moveTo>
                <a:lnTo>
                  <a:pt x="4812857" y="2288982"/>
                </a:lnTo>
                <a:lnTo>
                  <a:pt x="4812857" y="2305105"/>
                </a:lnTo>
                <a:lnTo>
                  <a:pt x="4809633" y="2314779"/>
                </a:lnTo>
                <a:lnTo>
                  <a:pt x="4809633" y="2318004"/>
                </a:lnTo>
                <a:lnTo>
                  <a:pt x="4799959" y="2321229"/>
                </a:lnTo>
                <a:lnTo>
                  <a:pt x="4793510" y="2314779"/>
                </a:lnTo>
                <a:lnTo>
                  <a:pt x="4793510" y="2308330"/>
                </a:lnTo>
                <a:lnTo>
                  <a:pt x="4793510" y="2298656"/>
                </a:lnTo>
                <a:lnTo>
                  <a:pt x="4799959" y="2288982"/>
                </a:lnTo>
                <a:close/>
                <a:moveTo>
                  <a:pt x="1960614" y="2269634"/>
                </a:moveTo>
                <a:lnTo>
                  <a:pt x="1967063" y="2269634"/>
                </a:lnTo>
                <a:lnTo>
                  <a:pt x="1970287" y="2269634"/>
                </a:lnTo>
                <a:lnTo>
                  <a:pt x="1957389" y="2272858"/>
                </a:lnTo>
                <a:close/>
                <a:moveTo>
                  <a:pt x="6492921" y="2263184"/>
                </a:moveTo>
                <a:lnTo>
                  <a:pt x="6489697" y="2272859"/>
                </a:lnTo>
                <a:lnTo>
                  <a:pt x="6483247" y="2279308"/>
                </a:lnTo>
                <a:lnTo>
                  <a:pt x="6480023" y="2282533"/>
                </a:lnTo>
                <a:lnTo>
                  <a:pt x="6483247" y="2272859"/>
                </a:lnTo>
                <a:close/>
                <a:moveTo>
                  <a:pt x="4903149" y="2263184"/>
                </a:moveTo>
                <a:lnTo>
                  <a:pt x="4916048" y="2263184"/>
                </a:lnTo>
                <a:lnTo>
                  <a:pt x="4903149" y="2269633"/>
                </a:lnTo>
                <a:lnTo>
                  <a:pt x="4893475" y="2272858"/>
                </a:lnTo>
                <a:lnTo>
                  <a:pt x="4893475" y="2269633"/>
                </a:lnTo>
                <a:close/>
                <a:moveTo>
                  <a:pt x="1983187" y="2263184"/>
                </a:moveTo>
                <a:lnTo>
                  <a:pt x="1992861" y="2272858"/>
                </a:lnTo>
                <a:lnTo>
                  <a:pt x="1992861" y="2279308"/>
                </a:lnTo>
                <a:lnTo>
                  <a:pt x="1989636" y="2288982"/>
                </a:lnTo>
                <a:lnTo>
                  <a:pt x="1986411" y="2285758"/>
                </a:lnTo>
                <a:lnTo>
                  <a:pt x="1989636" y="2282532"/>
                </a:lnTo>
                <a:lnTo>
                  <a:pt x="1989636" y="2272858"/>
                </a:lnTo>
                <a:close/>
                <a:moveTo>
                  <a:pt x="3337561" y="2234163"/>
                </a:moveTo>
                <a:lnTo>
                  <a:pt x="3340785" y="2234163"/>
                </a:lnTo>
                <a:lnTo>
                  <a:pt x="3344010" y="2234163"/>
                </a:lnTo>
                <a:lnTo>
                  <a:pt x="3344010" y="2237388"/>
                </a:lnTo>
                <a:lnTo>
                  <a:pt x="3340785" y="2243838"/>
                </a:lnTo>
                <a:lnTo>
                  <a:pt x="3334336" y="2237388"/>
                </a:lnTo>
                <a:close/>
                <a:moveTo>
                  <a:pt x="6525168" y="2224489"/>
                </a:moveTo>
                <a:lnTo>
                  <a:pt x="6518719" y="2230939"/>
                </a:lnTo>
                <a:lnTo>
                  <a:pt x="6515494" y="2230939"/>
                </a:lnTo>
                <a:close/>
                <a:moveTo>
                  <a:pt x="3327887" y="2221265"/>
                </a:moveTo>
                <a:lnTo>
                  <a:pt x="3324662" y="2227714"/>
                </a:lnTo>
                <a:lnTo>
                  <a:pt x="3321438" y="2234163"/>
                </a:lnTo>
                <a:lnTo>
                  <a:pt x="3318212" y="2237388"/>
                </a:lnTo>
                <a:lnTo>
                  <a:pt x="3314988" y="2234163"/>
                </a:lnTo>
                <a:lnTo>
                  <a:pt x="3311764" y="2227714"/>
                </a:lnTo>
                <a:lnTo>
                  <a:pt x="3314988" y="2227714"/>
                </a:lnTo>
                <a:close/>
                <a:moveTo>
                  <a:pt x="3376257" y="2218039"/>
                </a:moveTo>
                <a:lnTo>
                  <a:pt x="3379482" y="2224489"/>
                </a:lnTo>
                <a:lnTo>
                  <a:pt x="3376257" y="2230939"/>
                </a:lnTo>
                <a:lnTo>
                  <a:pt x="3366583" y="2234163"/>
                </a:lnTo>
                <a:lnTo>
                  <a:pt x="3373032" y="2224489"/>
                </a:lnTo>
                <a:close/>
                <a:moveTo>
                  <a:pt x="1215707" y="2208365"/>
                </a:moveTo>
                <a:lnTo>
                  <a:pt x="1222157" y="2208365"/>
                </a:lnTo>
                <a:lnTo>
                  <a:pt x="1222157" y="2211591"/>
                </a:lnTo>
                <a:lnTo>
                  <a:pt x="1215707" y="2214815"/>
                </a:lnTo>
                <a:lnTo>
                  <a:pt x="1215707" y="2211591"/>
                </a:lnTo>
                <a:close/>
                <a:moveTo>
                  <a:pt x="3385932" y="2205141"/>
                </a:moveTo>
                <a:lnTo>
                  <a:pt x="3385932" y="2208365"/>
                </a:lnTo>
                <a:lnTo>
                  <a:pt x="3382706" y="2214815"/>
                </a:lnTo>
                <a:lnTo>
                  <a:pt x="3379482" y="2214815"/>
                </a:lnTo>
                <a:lnTo>
                  <a:pt x="3379482" y="2211591"/>
                </a:lnTo>
                <a:lnTo>
                  <a:pt x="3382706" y="2208365"/>
                </a:lnTo>
                <a:close/>
                <a:moveTo>
                  <a:pt x="1193135" y="2195467"/>
                </a:moveTo>
                <a:lnTo>
                  <a:pt x="1196360" y="2201917"/>
                </a:lnTo>
                <a:lnTo>
                  <a:pt x="1202809" y="2211591"/>
                </a:lnTo>
                <a:lnTo>
                  <a:pt x="1196360" y="2205141"/>
                </a:lnTo>
                <a:close/>
                <a:moveTo>
                  <a:pt x="3305313" y="2114849"/>
                </a:moveTo>
                <a:lnTo>
                  <a:pt x="3308537" y="2114849"/>
                </a:lnTo>
                <a:lnTo>
                  <a:pt x="3314987" y="2114849"/>
                </a:lnTo>
                <a:lnTo>
                  <a:pt x="3308537" y="2118073"/>
                </a:lnTo>
                <a:close/>
                <a:moveTo>
                  <a:pt x="6460674" y="2095500"/>
                </a:moveTo>
                <a:lnTo>
                  <a:pt x="6463899" y="2098725"/>
                </a:lnTo>
                <a:lnTo>
                  <a:pt x="6457449" y="2101949"/>
                </a:lnTo>
                <a:lnTo>
                  <a:pt x="6447776" y="2105174"/>
                </a:lnTo>
                <a:close/>
                <a:moveTo>
                  <a:pt x="6544517" y="2085827"/>
                </a:moveTo>
                <a:lnTo>
                  <a:pt x="6550967" y="2085827"/>
                </a:lnTo>
                <a:lnTo>
                  <a:pt x="6550967" y="2089051"/>
                </a:lnTo>
                <a:lnTo>
                  <a:pt x="6554192" y="2092276"/>
                </a:lnTo>
                <a:lnTo>
                  <a:pt x="6560641" y="2095501"/>
                </a:lnTo>
                <a:lnTo>
                  <a:pt x="6563866" y="2095501"/>
                </a:lnTo>
                <a:lnTo>
                  <a:pt x="6567090" y="2098726"/>
                </a:lnTo>
                <a:lnTo>
                  <a:pt x="6573539" y="2105175"/>
                </a:lnTo>
                <a:lnTo>
                  <a:pt x="6573539" y="2114849"/>
                </a:lnTo>
                <a:lnTo>
                  <a:pt x="6567090" y="2124524"/>
                </a:lnTo>
                <a:lnTo>
                  <a:pt x="6563866" y="2137422"/>
                </a:lnTo>
                <a:lnTo>
                  <a:pt x="6563866" y="2140647"/>
                </a:lnTo>
                <a:lnTo>
                  <a:pt x="6563866" y="2143871"/>
                </a:lnTo>
                <a:lnTo>
                  <a:pt x="6547743" y="2159995"/>
                </a:lnTo>
                <a:lnTo>
                  <a:pt x="6544517" y="2156771"/>
                </a:lnTo>
                <a:lnTo>
                  <a:pt x="6531619" y="2150321"/>
                </a:lnTo>
                <a:lnTo>
                  <a:pt x="6538069" y="2143871"/>
                </a:lnTo>
                <a:lnTo>
                  <a:pt x="6534843" y="2137422"/>
                </a:lnTo>
                <a:lnTo>
                  <a:pt x="6538069" y="2130972"/>
                </a:lnTo>
                <a:lnTo>
                  <a:pt x="6544517" y="2124524"/>
                </a:lnTo>
                <a:lnTo>
                  <a:pt x="6544517" y="2114849"/>
                </a:lnTo>
                <a:lnTo>
                  <a:pt x="6538069" y="2105175"/>
                </a:lnTo>
                <a:lnTo>
                  <a:pt x="6531619" y="2111624"/>
                </a:lnTo>
                <a:lnTo>
                  <a:pt x="6528395" y="2121298"/>
                </a:lnTo>
                <a:lnTo>
                  <a:pt x="6525169" y="2108400"/>
                </a:lnTo>
                <a:lnTo>
                  <a:pt x="6521945" y="2098726"/>
                </a:lnTo>
                <a:lnTo>
                  <a:pt x="6531619" y="2098726"/>
                </a:lnTo>
                <a:lnTo>
                  <a:pt x="6538069" y="2095501"/>
                </a:lnTo>
                <a:lnTo>
                  <a:pt x="6538069" y="2092276"/>
                </a:lnTo>
                <a:close/>
                <a:moveTo>
                  <a:pt x="6612235" y="2076153"/>
                </a:moveTo>
                <a:lnTo>
                  <a:pt x="6621909" y="2076153"/>
                </a:lnTo>
                <a:lnTo>
                  <a:pt x="6631583" y="2082603"/>
                </a:lnTo>
                <a:lnTo>
                  <a:pt x="6634807" y="2089051"/>
                </a:lnTo>
                <a:lnTo>
                  <a:pt x="6625133" y="2095501"/>
                </a:lnTo>
                <a:lnTo>
                  <a:pt x="6609010" y="2095501"/>
                </a:lnTo>
                <a:lnTo>
                  <a:pt x="6599336" y="2108400"/>
                </a:lnTo>
                <a:lnTo>
                  <a:pt x="6592887" y="2111624"/>
                </a:lnTo>
                <a:lnTo>
                  <a:pt x="6586438" y="2111624"/>
                </a:lnTo>
                <a:lnTo>
                  <a:pt x="6586438" y="2108400"/>
                </a:lnTo>
                <a:lnTo>
                  <a:pt x="6586438" y="2105175"/>
                </a:lnTo>
                <a:lnTo>
                  <a:pt x="6583213" y="2095501"/>
                </a:lnTo>
                <a:lnTo>
                  <a:pt x="6596112" y="2079377"/>
                </a:lnTo>
                <a:lnTo>
                  <a:pt x="6599336" y="2085827"/>
                </a:lnTo>
                <a:lnTo>
                  <a:pt x="6609010" y="2085827"/>
                </a:lnTo>
                <a:close/>
                <a:moveTo>
                  <a:pt x="6515494" y="2066478"/>
                </a:moveTo>
                <a:lnTo>
                  <a:pt x="6518719" y="2066478"/>
                </a:lnTo>
                <a:lnTo>
                  <a:pt x="6518719" y="2069702"/>
                </a:lnTo>
                <a:lnTo>
                  <a:pt x="6515494" y="2076152"/>
                </a:lnTo>
                <a:lnTo>
                  <a:pt x="6515494" y="2072927"/>
                </a:lnTo>
                <a:close/>
                <a:moveTo>
                  <a:pt x="4403321" y="2047130"/>
                </a:moveTo>
                <a:lnTo>
                  <a:pt x="4409771" y="2047130"/>
                </a:lnTo>
                <a:lnTo>
                  <a:pt x="4419444" y="2047130"/>
                </a:lnTo>
                <a:lnTo>
                  <a:pt x="4422670" y="2047130"/>
                </a:lnTo>
                <a:lnTo>
                  <a:pt x="4425894" y="2053580"/>
                </a:lnTo>
                <a:lnTo>
                  <a:pt x="4429118" y="2056805"/>
                </a:lnTo>
                <a:lnTo>
                  <a:pt x="4419444" y="2060029"/>
                </a:lnTo>
                <a:lnTo>
                  <a:pt x="4416220" y="2063254"/>
                </a:lnTo>
                <a:lnTo>
                  <a:pt x="4412996" y="2063254"/>
                </a:lnTo>
                <a:lnTo>
                  <a:pt x="4409771" y="2063254"/>
                </a:lnTo>
                <a:lnTo>
                  <a:pt x="4406546" y="2066479"/>
                </a:lnTo>
                <a:lnTo>
                  <a:pt x="4403321" y="2069703"/>
                </a:lnTo>
                <a:lnTo>
                  <a:pt x="4400097" y="2066479"/>
                </a:lnTo>
                <a:lnTo>
                  <a:pt x="4390423" y="2063254"/>
                </a:lnTo>
                <a:lnTo>
                  <a:pt x="4390423" y="2053580"/>
                </a:lnTo>
                <a:lnTo>
                  <a:pt x="4396872" y="2053580"/>
                </a:lnTo>
                <a:lnTo>
                  <a:pt x="4400097" y="2053580"/>
                </a:lnTo>
                <a:close/>
                <a:moveTo>
                  <a:pt x="4196939" y="2040682"/>
                </a:moveTo>
                <a:lnTo>
                  <a:pt x="4206614" y="2043906"/>
                </a:lnTo>
                <a:lnTo>
                  <a:pt x="4213063" y="2047130"/>
                </a:lnTo>
                <a:lnTo>
                  <a:pt x="4219513" y="2047130"/>
                </a:lnTo>
                <a:lnTo>
                  <a:pt x="4222738" y="2047130"/>
                </a:lnTo>
                <a:lnTo>
                  <a:pt x="4225962" y="2047130"/>
                </a:lnTo>
                <a:lnTo>
                  <a:pt x="4229186" y="2047130"/>
                </a:lnTo>
                <a:lnTo>
                  <a:pt x="4232412" y="2047130"/>
                </a:lnTo>
                <a:lnTo>
                  <a:pt x="4254984" y="2050356"/>
                </a:lnTo>
                <a:lnTo>
                  <a:pt x="4258209" y="2050356"/>
                </a:lnTo>
                <a:lnTo>
                  <a:pt x="4258209" y="2053580"/>
                </a:lnTo>
                <a:lnTo>
                  <a:pt x="4251760" y="2056805"/>
                </a:lnTo>
                <a:lnTo>
                  <a:pt x="4235636" y="2056805"/>
                </a:lnTo>
                <a:lnTo>
                  <a:pt x="4225962" y="2060029"/>
                </a:lnTo>
                <a:lnTo>
                  <a:pt x="4222738" y="2060029"/>
                </a:lnTo>
                <a:lnTo>
                  <a:pt x="4222738" y="2056805"/>
                </a:lnTo>
                <a:lnTo>
                  <a:pt x="4209839" y="2053580"/>
                </a:lnTo>
                <a:lnTo>
                  <a:pt x="4200165" y="2050356"/>
                </a:lnTo>
                <a:lnTo>
                  <a:pt x="4196939" y="2047130"/>
                </a:lnTo>
                <a:lnTo>
                  <a:pt x="4196939" y="2043906"/>
                </a:lnTo>
                <a:close/>
                <a:moveTo>
                  <a:pt x="4277557" y="2037456"/>
                </a:moveTo>
                <a:lnTo>
                  <a:pt x="4277557" y="2040682"/>
                </a:lnTo>
                <a:lnTo>
                  <a:pt x="4277557" y="2043906"/>
                </a:lnTo>
                <a:lnTo>
                  <a:pt x="4274333" y="2047130"/>
                </a:lnTo>
                <a:lnTo>
                  <a:pt x="4274333" y="2043906"/>
                </a:lnTo>
                <a:lnTo>
                  <a:pt x="4274333" y="2040682"/>
                </a:lnTo>
                <a:close/>
                <a:moveTo>
                  <a:pt x="3563288" y="2031008"/>
                </a:moveTo>
                <a:lnTo>
                  <a:pt x="3563288" y="2031208"/>
                </a:lnTo>
                <a:lnTo>
                  <a:pt x="3562918" y="2031255"/>
                </a:lnTo>
                <a:close/>
                <a:moveTo>
                  <a:pt x="6666359" y="2024747"/>
                </a:moveTo>
                <a:lnTo>
                  <a:pt x="6666359" y="2088597"/>
                </a:lnTo>
                <a:lnTo>
                  <a:pt x="6660606" y="2095501"/>
                </a:lnTo>
                <a:lnTo>
                  <a:pt x="6641257" y="2085827"/>
                </a:lnTo>
                <a:lnTo>
                  <a:pt x="6644481" y="2076153"/>
                </a:lnTo>
                <a:lnTo>
                  <a:pt x="6650931" y="2069703"/>
                </a:lnTo>
                <a:lnTo>
                  <a:pt x="6644481" y="2063254"/>
                </a:lnTo>
                <a:lnTo>
                  <a:pt x="6631583" y="2063254"/>
                </a:lnTo>
                <a:lnTo>
                  <a:pt x="6625133" y="2066479"/>
                </a:lnTo>
                <a:lnTo>
                  <a:pt x="6621909" y="2069703"/>
                </a:lnTo>
                <a:lnTo>
                  <a:pt x="6618685" y="2069703"/>
                </a:lnTo>
                <a:lnTo>
                  <a:pt x="6612235" y="2069703"/>
                </a:lnTo>
                <a:lnTo>
                  <a:pt x="6599336" y="2076153"/>
                </a:lnTo>
                <a:lnTo>
                  <a:pt x="6586438" y="2079377"/>
                </a:lnTo>
                <a:lnTo>
                  <a:pt x="6586438" y="2076153"/>
                </a:lnTo>
                <a:lnTo>
                  <a:pt x="6583213" y="2072928"/>
                </a:lnTo>
                <a:lnTo>
                  <a:pt x="6579989" y="2085827"/>
                </a:lnTo>
                <a:lnTo>
                  <a:pt x="6573539" y="2082603"/>
                </a:lnTo>
                <a:lnTo>
                  <a:pt x="6570315" y="2085827"/>
                </a:lnTo>
                <a:lnTo>
                  <a:pt x="6570315" y="2082603"/>
                </a:lnTo>
                <a:lnTo>
                  <a:pt x="6567089" y="2082603"/>
                </a:lnTo>
                <a:lnTo>
                  <a:pt x="6557415" y="2085827"/>
                </a:lnTo>
                <a:lnTo>
                  <a:pt x="6550965" y="2079377"/>
                </a:lnTo>
                <a:lnTo>
                  <a:pt x="6554191" y="2072928"/>
                </a:lnTo>
                <a:lnTo>
                  <a:pt x="6563865" y="2069703"/>
                </a:lnTo>
                <a:lnTo>
                  <a:pt x="6579989" y="2056804"/>
                </a:lnTo>
                <a:lnTo>
                  <a:pt x="6599336" y="2040681"/>
                </a:lnTo>
                <a:lnTo>
                  <a:pt x="6605785" y="2043906"/>
                </a:lnTo>
                <a:lnTo>
                  <a:pt x="6615459" y="2043906"/>
                </a:lnTo>
                <a:lnTo>
                  <a:pt x="6625133" y="2040681"/>
                </a:lnTo>
                <a:lnTo>
                  <a:pt x="6638033" y="2037456"/>
                </a:lnTo>
                <a:lnTo>
                  <a:pt x="6647707" y="2037456"/>
                </a:lnTo>
                <a:lnTo>
                  <a:pt x="6647707" y="2043906"/>
                </a:lnTo>
                <a:lnTo>
                  <a:pt x="6650931" y="2043906"/>
                </a:lnTo>
                <a:lnTo>
                  <a:pt x="6660606" y="2040681"/>
                </a:lnTo>
                <a:lnTo>
                  <a:pt x="6663830" y="2037456"/>
                </a:lnTo>
                <a:lnTo>
                  <a:pt x="6663830" y="2027782"/>
                </a:lnTo>
                <a:close/>
                <a:moveTo>
                  <a:pt x="4300130" y="2018108"/>
                </a:moveTo>
                <a:lnTo>
                  <a:pt x="4300130" y="2021333"/>
                </a:lnTo>
                <a:lnTo>
                  <a:pt x="4296905" y="2027782"/>
                </a:lnTo>
                <a:lnTo>
                  <a:pt x="4290456" y="2034232"/>
                </a:lnTo>
                <a:lnTo>
                  <a:pt x="4290456" y="2024558"/>
                </a:lnTo>
                <a:close/>
                <a:moveTo>
                  <a:pt x="4274333" y="2005209"/>
                </a:moveTo>
                <a:lnTo>
                  <a:pt x="4280782" y="2005209"/>
                </a:lnTo>
                <a:lnTo>
                  <a:pt x="4271107" y="2011659"/>
                </a:lnTo>
                <a:close/>
                <a:moveTo>
                  <a:pt x="4264659" y="1982637"/>
                </a:moveTo>
                <a:lnTo>
                  <a:pt x="4271107" y="1982637"/>
                </a:lnTo>
                <a:lnTo>
                  <a:pt x="4274333" y="1982637"/>
                </a:lnTo>
                <a:lnTo>
                  <a:pt x="4267883" y="1985861"/>
                </a:lnTo>
                <a:close/>
                <a:moveTo>
                  <a:pt x="3115055" y="1979412"/>
                </a:moveTo>
                <a:lnTo>
                  <a:pt x="3131179" y="1979412"/>
                </a:lnTo>
                <a:lnTo>
                  <a:pt x="3127953" y="1982637"/>
                </a:lnTo>
                <a:lnTo>
                  <a:pt x="3118279" y="1982637"/>
                </a:lnTo>
                <a:close/>
                <a:moveTo>
                  <a:pt x="3967987" y="1969737"/>
                </a:moveTo>
                <a:lnTo>
                  <a:pt x="3974435" y="1972962"/>
                </a:lnTo>
                <a:lnTo>
                  <a:pt x="3984110" y="1976186"/>
                </a:lnTo>
                <a:lnTo>
                  <a:pt x="3997009" y="1976186"/>
                </a:lnTo>
                <a:lnTo>
                  <a:pt x="4013132" y="1972962"/>
                </a:lnTo>
                <a:lnTo>
                  <a:pt x="4022806" y="1969737"/>
                </a:lnTo>
                <a:lnTo>
                  <a:pt x="4013132" y="1985860"/>
                </a:lnTo>
                <a:lnTo>
                  <a:pt x="4013132" y="1992310"/>
                </a:lnTo>
                <a:lnTo>
                  <a:pt x="4013132" y="1998760"/>
                </a:lnTo>
                <a:lnTo>
                  <a:pt x="4013132" y="2005208"/>
                </a:lnTo>
                <a:lnTo>
                  <a:pt x="4009908" y="2011658"/>
                </a:lnTo>
                <a:lnTo>
                  <a:pt x="4003458" y="2011658"/>
                </a:lnTo>
                <a:lnTo>
                  <a:pt x="3993784" y="2005208"/>
                </a:lnTo>
                <a:lnTo>
                  <a:pt x="3980885" y="1998760"/>
                </a:lnTo>
                <a:lnTo>
                  <a:pt x="3971211" y="1992310"/>
                </a:lnTo>
                <a:lnTo>
                  <a:pt x="3958313" y="1985860"/>
                </a:lnTo>
                <a:lnTo>
                  <a:pt x="3951863" y="1982636"/>
                </a:lnTo>
                <a:lnTo>
                  <a:pt x="3955088" y="1976186"/>
                </a:lnTo>
                <a:close/>
                <a:moveTo>
                  <a:pt x="4132446" y="1963288"/>
                </a:moveTo>
                <a:lnTo>
                  <a:pt x="4135671" y="1972962"/>
                </a:lnTo>
                <a:lnTo>
                  <a:pt x="4129221" y="1969738"/>
                </a:lnTo>
                <a:close/>
                <a:moveTo>
                  <a:pt x="4248535" y="1960064"/>
                </a:moveTo>
                <a:lnTo>
                  <a:pt x="4254984" y="1960064"/>
                </a:lnTo>
                <a:lnTo>
                  <a:pt x="4251760" y="1969738"/>
                </a:lnTo>
                <a:lnTo>
                  <a:pt x="4248535" y="1966514"/>
                </a:lnTo>
                <a:close/>
                <a:moveTo>
                  <a:pt x="4261433" y="1937491"/>
                </a:moveTo>
                <a:lnTo>
                  <a:pt x="4261433" y="1947165"/>
                </a:lnTo>
                <a:lnTo>
                  <a:pt x="4251760" y="1947165"/>
                </a:lnTo>
                <a:lnTo>
                  <a:pt x="4248535" y="1943941"/>
                </a:lnTo>
                <a:lnTo>
                  <a:pt x="4248535" y="1940716"/>
                </a:lnTo>
                <a:close/>
                <a:moveTo>
                  <a:pt x="3753545" y="1921367"/>
                </a:moveTo>
                <a:lnTo>
                  <a:pt x="3750320" y="1924593"/>
                </a:lnTo>
                <a:lnTo>
                  <a:pt x="3753545" y="1927817"/>
                </a:lnTo>
                <a:lnTo>
                  <a:pt x="3759995" y="1927817"/>
                </a:lnTo>
                <a:lnTo>
                  <a:pt x="3753545" y="1937491"/>
                </a:lnTo>
                <a:lnTo>
                  <a:pt x="3747096" y="1937491"/>
                </a:lnTo>
                <a:lnTo>
                  <a:pt x="3734196" y="1934267"/>
                </a:lnTo>
                <a:lnTo>
                  <a:pt x="3734196" y="1927817"/>
                </a:lnTo>
                <a:close/>
                <a:moveTo>
                  <a:pt x="3766443" y="1918143"/>
                </a:moveTo>
                <a:lnTo>
                  <a:pt x="3769669" y="1918143"/>
                </a:lnTo>
                <a:lnTo>
                  <a:pt x="3776117" y="1918143"/>
                </a:lnTo>
                <a:lnTo>
                  <a:pt x="3776117" y="1924593"/>
                </a:lnTo>
                <a:lnTo>
                  <a:pt x="3766443" y="1921367"/>
                </a:lnTo>
                <a:close/>
                <a:moveTo>
                  <a:pt x="3885757" y="1882671"/>
                </a:moveTo>
                <a:lnTo>
                  <a:pt x="3892206" y="1892345"/>
                </a:lnTo>
                <a:lnTo>
                  <a:pt x="3898655" y="1905243"/>
                </a:lnTo>
                <a:lnTo>
                  <a:pt x="3892206" y="1911692"/>
                </a:lnTo>
                <a:lnTo>
                  <a:pt x="3895430" y="1918142"/>
                </a:lnTo>
                <a:lnTo>
                  <a:pt x="3895430" y="1924592"/>
                </a:lnTo>
                <a:lnTo>
                  <a:pt x="3888981" y="1943939"/>
                </a:lnTo>
                <a:lnTo>
                  <a:pt x="3876083" y="1950389"/>
                </a:lnTo>
                <a:lnTo>
                  <a:pt x="3869633" y="1947164"/>
                </a:lnTo>
                <a:lnTo>
                  <a:pt x="3869633" y="1924592"/>
                </a:lnTo>
                <a:lnTo>
                  <a:pt x="3869633" y="1911692"/>
                </a:lnTo>
                <a:lnTo>
                  <a:pt x="3863183" y="1902019"/>
                </a:lnTo>
                <a:lnTo>
                  <a:pt x="3863183" y="1892345"/>
                </a:lnTo>
                <a:lnTo>
                  <a:pt x="3872857" y="1895569"/>
                </a:lnTo>
                <a:lnTo>
                  <a:pt x="3879307" y="1889119"/>
                </a:lnTo>
                <a:close/>
                <a:moveTo>
                  <a:pt x="4103425" y="1856873"/>
                </a:moveTo>
                <a:lnTo>
                  <a:pt x="4106649" y="1860099"/>
                </a:lnTo>
                <a:lnTo>
                  <a:pt x="4106649" y="1860098"/>
                </a:lnTo>
                <a:close/>
                <a:moveTo>
                  <a:pt x="6544514" y="1852028"/>
                </a:moveTo>
                <a:lnTo>
                  <a:pt x="6544515" y="1852032"/>
                </a:lnTo>
                <a:lnTo>
                  <a:pt x="6544517" y="1852033"/>
                </a:lnTo>
                <a:close/>
                <a:moveTo>
                  <a:pt x="3879308" y="1842361"/>
                </a:moveTo>
                <a:lnTo>
                  <a:pt x="3882532" y="1842361"/>
                </a:lnTo>
                <a:lnTo>
                  <a:pt x="3885758" y="1842361"/>
                </a:lnTo>
                <a:lnTo>
                  <a:pt x="3888982" y="1845586"/>
                </a:lnTo>
                <a:lnTo>
                  <a:pt x="3888982" y="1866547"/>
                </a:lnTo>
                <a:lnTo>
                  <a:pt x="3885758" y="1879445"/>
                </a:lnTo>
                <a:lnTo>
                  <a:pt x="3879308" y="1876221"/>
                </a:lnTo>
                <a:lnTo>
                  <a:pt x="3872858" y="1863322"/>
                </a:lnTo>
                <a:lnTo>
                  <a:pt x="3869634" y="1855260"/>
                </a:lnTo>
                <a:lnTo>
                  <a:pt x="3872858" y="1848810"/>
                </a:lnTo>
                <a:close/>
                <a:moveTo>
                  <a:pt x="6557416" y="1835912"/>
                </a:moveTo>
                <a:lnTo>
                  <a:pt x="6556879" y="1836181"/>
                </a:lnTo>
                <a:lnTo>
                  <a:pt x="6556609" y="1836315"/>
                </a:lnTo>
                <a:lnTo>
                  <a:pt x="6556611" y="1836315"/>
                </a:lnTo>
                <a:lnTo>
                  <a:pt x="6556879" y="1836181"/>
                </a:lnTo>
                <a:lnTo>
                  <a:pt x="6557416" y="1835913"/>
                </a:lnTo>
                <a:close/>
                <a:moveTo>
                  <a:pt x="2279857" y="1710149"/>
                </a:moveTo>
                <a:lnTo>
                  <a:pt x="2279857" y="1716599"/>
                </a:lnTo>
                <a:lnTo>
                  <a:pt x="2283082" y="1726272"/>
                </a:lnTo>
                <a:lnTo>
                  <a:pt x="2286307" y="1726272"/>
                </a:lnTo>
                <a:lnTo>
                  <a:pt x="2292756" y="1726272"/>
                </a:lnTo>
                <a:lnTo>
                  <a:pt x="2312104" y="1726272"/>
                </a:lnTo>
                <a:lnTo>
                  <a:pt x="2325003" y="1726272"/>
                </a:lnTo>
                <a:lnTo>
                  <a:pt x="2315329" y="1732722"/>
                </a:lnTo>
                <a:lnTo>
                  <a:pt x="2312104" y="1739171"/>
                </a:lnTo>
                <a:lnTo>
                  <a:pt x="2312104" y="1742396"/>
                </a:lnTo>
                <a:lnTo>
                  <a:pt x="2292756" y="1735946"/>
                </a:lnTo>
                <a:lnTo>
                  <a:pt x="2273408" y="1723048"/>
                </a:lnTo>
                <a:lnTo>
                  <a:pt x="2273408" y="1713373"/>
                </a:lnTo>
                <a:close/>
                <a:moveTo>
                  <a:pt x="2447542" y="1706925"/>
                </a:moveTo>
                <a:lnTo>
                  <a:pt x="2450767" y="1713373"/>
                </a:lnTo>
                <a:lnTo>
                  <a:pt x="2444318" y="1716599"/>
                </a:lnTo>
                <a:close/>
                <a:moveTo>
                  <a:pt x="2357250" y="1706925"/>
                </a:moveTo>
                <a:lnTo>
                  <a:pt x="2360475" y="1713373"/>
                </a:lnTo>
                <a:lnTo>
                  <a:pt x="2360475" y="1729497"/>
                </a:lnTo>
                <a:lnTo>
                  <a:pt x="2370149" y="1732722"/>
                </a:lnTo>
                <a:lnTo>
                  <a:pt x="2370149" y="1739171"/>
                </a:lnTo>
                <a:lnTo>
                  <a:pt x="2360475" y="1748846"/>
                </a:lnTo>
                <a:lnTo>
                  <a:pt x="2347576" y="1752070"/>
                </a:lnTo>
                <a:lnTo>
                  <a:pt x="2337902" y="1748846"/>
                </a:lnTo>
                <a:lnTo>
                  <a:pt x="2334677" y="1739171"/>
                </a:lnTo>
                <a:lnTo>
                  <a:pt x="2344352" y="1726272"/>
                </a:lnTo>
                <a:lnTo>
                  <a:pt x="2347576" y="1716599"/>
                </a:lnTo>
                <a:lnTo>
                  <a:pt x="2350800" y="1710149"/>
                </a:lnTo>
                <a:close/>
                <a:moveTo>
                  <a:pt x="2331452" y="1690801"/>
                </a:moveTo>
                <a:lnTo>
                  <a:pt x="2328228" y="1697250"/>
                </a:lnTo>
                <a:lnTo>
                  <a:pt x="2325003" y="1700475"/>
                </a:lnTo>
                <a:lnTo>
                  <a:pt x="2328228" y="1703699"/>
                </a:lnTo>
                <a:lnTo>
                  <a:pt x="2321778" y="1703699"/>
                </a:lnTo>
                <a:lnTo>
                  <a:pt x="2325003" y="1697250"/>
                </a:lnTo>
                <a:close/>
                <a:moveTo>
                  <a:pt x="993206" y="1665003"/>
                </a:moveTo>
                <a:lnTo>
                  <a:pt x="993206" y="1671452"/>
                </a:lnTo>
                <a:lnTo>
                  <a:pt x="999654" y="1674678"/>
                </a:lnTo>
                <a:lnTo>
                  <a:pt x="999654" y="1681126"/>
                </a:lnTo>
                <a:lnTo>
                  <a:pt x="989980" y="1671452"/>
                </a:lnTo>
                <a:close/>
                <a:moveTo>
                  <a:pt x="2276632" y="1613408"/>
                </a:moveTo>
                <a:lnTo>
                  <a:pt x="2289531" y="1616633"/>
                </a:lnTo>
                <a:lnTo>
                  <a:pt x="2321778" y="1632757"/>
                </a:lnTo>
                <a:lnTo>
                  <a:pt x="2328228" y="1639205"/>
                </a:lnTo>
                <a:lnTo>
                  <a:pt x="2321778" y="1642431"/>
                </a:lnTo>
                <a:lnTo>
                  <a:pt x="2318554" y="1642431"/>
                </a:lnTo>
                <a:lnTo>
                  <a:pt x="2289531" y="1632757"/>
                </a:lnTo>
                <a:lnTo>
                  <a:pt x="2266958" y="1616633"/>
                </a:lnTo>
                <a:close/>
                <a:moveTo>
                  <a:pt x="2453992" y="1555363"/>
                </a:moveTo>
                <a:lnTo>
                  <a:pt x="2466890" y="1555363"/>
                </a:lnTo>
                <a:lnTo>
                  <a:pt x="2466890" y="1558589"/>
                </a:lnTo>
                <a:lnTo>
                  <a:pt x="2463666" y="1565037"/>
                </a:lnTo>
                <a:lnTo>
                  <a:pt x="2457216" y="1577937"/>
                </a:lnTo>
                <a:lnTo>
                  <a:pt x="2441093" y="1603734"/>
                </a:lnTo>
                <a:lnTo>
                  <a:pt x="2437868" y="1616633"/>
                </a:lnTo>
                <a:lnTo>
                  <a:pt x="2437868" y="1619857"/>
                </a:lnTo>
                <a:lnTo>
                  <a:pt x="2444318" y="1616633"/>
                </a:lnTo>
                <a:lnTo>
                  <a:pt x="2450767" y="1603734"/>
                </a:lnTo>
                <a:lnTo>
                  <a:pt x="2460441" y="1613408"/>
                </a:lnTo>
                <a:lnTo>
                  <a:pt x="2457216" y="1619857"/>
                </a:lnTo>
                <a:lnTo>
                  <a:pt x="2460441" y="1629531"/>
                </a:lnTo>
                <a:lnTo>
                  <a:pt x="2463666" y="1629531"/>
                </a:lnTo>
                <a:lnTo>
                  <a:pt x="2470115" y="1626307"/>
                </a:lnTo>
                <a:lnTo>
                  <a:pt x="2473340" y="1629531"/>
                </a:lnTo>
                <a:lnTo>
                  <a:pt x="2476565" y="1635981"/>
                </a:lnTo>
                <a:lnTo>
                  <a:pt x="2483014" y="1629531"/>
                </a:lnTo>
                <a:lnTo>
                  <a:pt x="2486239" y="1626307"/>
                </a:lnTo>
                <a:lnTo>
                  <a:pt x="2492689" y="1629531"/>
                </a:lnTo>
                <a:lnTo>
                  <a:pt x="2499137" y="1629531"/>
                </a:lnTo>
                <a:lnTo>
                  <a:pt x="2505587" y="1632757"/>
                </a:lnTo>
                <a:lnTo>
                  <a:pt x="2508812" y="1635981"/>
                </a:lnTo>
                <a:lnTo>
                  <a:pt x="2508812" y="1639205"/>
                </a:lnTo>
                <a:lnTo>
                  <a:pt x="2502362" y="1645655"/>
                </a:lnTo>
                <a:lnTo>
                  <a:pt x="2499137" y="1648880"/>
                </a:lnTo>
                <a:lnTo>
                  <a:pt x="2502362" y="1652105"/>
                </a:lnTo>
                <a:lnTo>
                  <a:pt x="2502362" y="1661778"/>
                </a:lnTo>
                <a:lnTo>
                  <a:pt x="2515261" y="1655329"/>
                </a:lnTo>
                <a:lnTo>
                  <a:pt x="2518486" y="1655329"/>
                </a:lnTo>
                <a:lnTo>
                  <a:pt x="2518486" y="1661778"/>
                </a:lnTo>
                <a:lnTo>
                  <a:pt x="2508812" y="1668228"/>
                </a:lnTo>
                <a:lnTo>
                  <a:pt x="2505587" y="1671452"/>
                </a:lnTo>
                <a:lnTo>
                  <a:pt x="2502362" y="1671452"/>
                </a:lnTo>
                <a:lnTo>
                  <a:pt x="2499137" y="1671452"/>
                </a:lnTo>
                <a:lnTo>
                  <a:pt x="2499137" y="1681126"/>
                </a:lnTo>
                <a:lnTo>
                  <a:pt x="2508812" y="1690801"/>
                </a:lnTo>
                <a:lnTo>
                  <a:pt x="2508812" y="1687576"/>
                </a:lnTo>
                <a:lnTo>
                  <a:pt x="2512036" y="1677902"/>
                </a:lnTo>
                <a:lnTo>
                  <a:pt x="2518486" y="1674678"/>
                </a:lnTo>
                <a:lnTo>
                  <a:pt x="2521710" y="1674678"/>
                </a:lnTo>
                <a:lnTo>
                  <a:pt x="2518486" y="1681126"/>
                </a:lnTo>
                <a:lnTo>
                  <a:pt x="2515261" y="1687576"/>
                </a:lnTo>
                <a:lnTo>
                  <a:pt x="2515261" y="1694025"/>
                </a:lnTo>
                <a:lnTo>
                  <a:pt x="2521710" y="1694025"/>
                </a:lnTo>
                <a:lnTo>
                  <a:pt x="2524935" y="1687576"/>
                </a:lnTo>
                <a:lnTo>
                  <a:pt x="2524935" y="1684352"/>
                </a:lnTo>
                <a:lnTo>
                  <a:pt x="2528160" y="1697250"/>
                </a:lnTo>
                <a:lnTo>
                  <a:pt x="2524935" y="1710149"/>
                </a:lnTo>
                <a:lnTo>
                  <a:pt x="2521710" y="1716599"/>
                </a:lnTo>
                <a:lnTo>
                  <a:pt x="2515261" y="1723048"/>
                </a:lnTo>
                <a:lnTo>
                  <a:pt x="2508812" y="1723048"/>
                </a:lnTo>
                <a:lnTo>
                  <a:pt x="2495913" y="1716599"/>
                </a:lnTo>
                <a:lnTo>
                  <a:pt x="2499137" y="1703699"/>
                </a:lnTo>
                <a:lnTo>
                  <a:pt x="2499137" y="1687576"/>
                </a:lnTo>
                <a:lnTo>
                  <a:pt x="2495913" y="1681126"/>
                </a:lnTo>
                <a:lnTo>
                  <a:pt x="2489463" y="1690801"/>
                </a:lnTo>
                <a:lnTo>
                  <a:pt x="2479789" y="1700475"/>
                </a:lnTo>
                <a:lnTo>
                  <a:pt x="2473340" y="1706925"/>
                </a:lnTo>
                <a:lnTo>
                  <a:pt x="2470115" y="1713373"/>
                </a:lnTo>
                <a:lnTo>
                  <a:pt x="2460441" y="1713373"/>
                </a:lnTo>
                <a:lnTo>
                  <a:pt x="2457216" y="1706925"/>
                </a:lnTo>
                <a:lnTo>
                  <a:pt x="2466890" y="1706925"/>
                </a:lnTo>
                <a:lnTo>
                  <a:pt x="2479789" y="1690801"/>
                </a:lnTo>
                <a:lnTo>
                  <a:pt x="2476565" y="1690801"/>
                </a:lnTo>
                <a:lnTo>
                  <a:pt x="2466890" y="1687576"/>
                </a:lnTo>
                <a:lnTo>
                  <a:pt x="2466890" y="1694025"/>
                </a:lnTo>
                <a:lnTo>
                  <a:pt x="2463666" y="1694025"/>
                </a:lnTo>
                <a:lnTo>
                  <a:pt x="2460441" y="1690801"/>
                </a:lnTo>
                <a:lnTo>
                  <a:pt x="2457216" y="1684352"/>
                </a:lnTo>
                <a:lnTo>
                  <a:pt x="2450767" y="1690801"/>
                </a:lnTo>
                <a:lnTo>
                  <a:pt x="2444318" y="1690801"/>
                </a:lnTo>
                <a:lnTo>
                  <a:pt x="2434644" y="1694025"/>
                </a:lnTo>
                <a:lnTo>
                  <a:pt x="2428194" y="1690801"/>
                </a:lnTo>
                <a:lnTo>
                  <a:pt x="2424969" y="1687576"/>
                </a:lnTo>
                <a:lnTo>
                  <a:pt x="2402397" y="1690801"/>
                </a:lnTo>
                <a:lnTo>
                  <a:pt x="2383048" y="1690801"/>
                </a:lnTo>
                <a:lnTo>
                  <a:pt x="2379824" y="1681126"/>
                </a:lnTo>
                <a:lnTo>
                  <a:pt x="2389498" y="1671452"/>
                </a:lnTo>
                <a:lnTo>
                  <a:pt x="2399172" y="1665003"/>
                </a:lnTo>
                <a:lnTo>
                  <a:pt x="2395947" y="1658554"/>
                </a:lnTo>
                <a:lnTo>
                  <a:pt x="2402397" y="1639205"/>
                </a:lnTo>
                <a:lnTo>
                  <a:pt x="2405621" y="1635981"/>
                </a:lnTo>
                <a:lnTo>
                  <a:pt x="2405621" y="1629531"/>
                </a:lnTo>
                <a:lnTo>
                  <a:pt x="2412071" y="1623082"/>
                </a:lnTo>
                <a:lnTo>
                  <a:pt x="2415295" y="1613408"/>
                </a:lnTo>
                <a:lnTo>
                  <a:pt x="2421745" y="1594060"/>
                </a:lnTo>
                <a:lnTo>
                  <a:pt x="2431419" y="1577937"/>
                </a:lnTo>
                <a:lnTo>
                  <a:pt x="2441093" y="1565037"/>
                </a:lnTo>
                <a:close/>
                <a:moveTo>
                  <a:pt x="873891" y="1536016"/>
                </a:moveTo>
                <a:lnTo>
                  <a:pt x="877116" y="1536016"/>
                </a:lnTo>
                <a:lnTo>
                  <a:pt x="873891" y="1539240"/>
                </a:lnTo>
                <a:close/>
                <a:moveTo>
                  <a:pt x="790049" y="1500544"/>
                </a:moveTo>
                <a:lnTo>
                  <a:pt x="796499" y="1503769"/>
                </a:lnTo>
                <a:lnTo>
                  <a:pt x="802948" y="1532791"/>
                </a:lnTo>
                <a:lnTo>
                  <a:pt x="806173" y="1532791"/>
                </a:lnTo>
                <a:lnTo>
                  <a:pt x="809397" y="1536016"/>
                </a:lnTo>
                <a:lnTo>
                  <a:pt x="802948" y="1539240"/>
                </a:lnTo>
                <a:lnTo>
                  <a:pt x="786825" y="1516668"/>
                </a:lnTo>
                <a:lnTo>
                  <a:pt x="780376" y="1503769"/>
                </a:lnTo>
                <a:close/>
                <a:moveTo>
                  <a:pt x="1886444" y="1497319"/>
                </a:moveTo>
                <a:lnTo>
                  <a:pt x="1905793" y="1497319"/>
                </a:lnTo>
                <a:lnTo>
                  <a:pt x="1912242" y="1516668"/>
                </a:lnTo>
                <a:lnTo>
                  <a:pt x="1902568" y="1513442"/>
                </a:lnTo>
                <a:lnTo>
                  <a:pt x="1889670" y="1506993"/>
                </a:lnTo>
                <a:lnTo>
                  <a:pt x="1883220" y="1503769"/>
                </a:lnTo>
                <a:close/>
                <a:moveTo>
                  <a:pt x="851318" y="1497319"/>
                </a:moveTo>
                <a:lnTo>
                  <a:pt x="854543" y="1497319"/>
                </a:lnTo>
                <a:lnTo>
                  <a:pt x="860992" y="1513442"/>
                </a:lnTo>
                <a:lnTo>
                  <a:pt x="860992" y="1523116"/>
                </a:lnTo>
                <a:lnTo>
                  <a:pt x="854543" y="1523116"/>
                </a:lnTo>
                <a:lnTo>
                  <a:pt x="848094" y="1510218"/>
                </a:lnTo>
                <a:close/>
                <a:moveTo>
                  <a:pt x="819071" y="1484421"/>
                </a:moveTo>
                <a:lnTo>
                  <a:pt x="822296" y="1484421"/>
                </a:lnTo>
                <a:lnTo>
                  <a:pt x="831970" y="1490869"/>
                </a:lnTo>
                <a:lnTo>
                  <a:pt x="835195" y="1500544"/>
                </a:lnTo>
                <a:lnTo>
                  <a:pt x="822296" y="1490869"/>
                </a:lnTo>
                <a:close/>
                <a:moveTo>
                  <a:pt x="851318" y="1481195"/>
                </a:moveTo>
                <a:lnTo>
                  <a:pt x="857768" y="1481195"/>
                </a:lnTo>
                <a:lnTo>
                  <a:pt x="851318" y="1490869"/>
                </a:lnTo>
                <a:close/>
                <a:moveTo>
                  <a:pt x="825521" y="1474746"/>
                </a:moveTo>
                <a:lnTo>
                  <a:pt x="828746" y="1474746"/>
                </a:lnTo>
                <a:lnTo>
                  <a:pt x="838420" y="1484421"/>
                </a:lnTo>
                <a:lnTo>
                  <a:pt x="844869" y="1494095"/>
                </a:lnTo>
                <a:lnTo>
                  <a:pt x="841644" y="1500544"/>
                </a:lnTo>
                <a:lnTo>
                  <a:pt x="835195" y="1494095"/>
                </a:lnTo>
                <a:lnTo>
                  <a:pt x="828746" y="1484421"/>
                </a:lnTo>
                <a:close/>
                <a:moveTo>
                  <a:pt x="29022" y="1468298"/>
                </a:moveTo>
                <a:lnTo>
                  <a:pt x="38696" y="1471523"/>
                </a:lnTo>
                <a:lnTo>
                  <a:pt x="35471" y="1477972"/>
                </a:lnTo>
                <a:lnTo>
                  <a:pt x="29022" y="1487646"/>
                </a:lnTo>
                <a:lnTo>
                  <a:pt x="16123" y="1490870"/>
                </a:lnTo>
                <a:lnTo>
                  <a:pt x="3224" y="1494096"/>
                </a:lnTo>
                <a:lnTo>
                  <a:pt x="9674" y="1490870"/>
                </a:lnTo>
                <a:lnTo>
                  <a:pt x="12898" y="1490870"/>
                </a:lnTo>
                <a:lnTo>
                  <a:pt x="16123" y="1487646"/>
                </a:lnTo>
                <a:lnTo>
                  <a:pt x="19348" y="1484422"/>
                </a:lnTo>
                <a:lnTo>
                  <a:pt x="19348" y="1471523"/>
                </a:lnTo>
                <a:close/>
                <a:moveTo>
                  <a:pt x="764252" y="1461848"/>
                </a:moveTo>
                <a:lnTo>
                  <a:pt x="767476" y="1461848"/>
                </a:lnTo>
                <a:lnTo>
                  <a:pt x="783600" y="1465072"/>
                </a:lnTo>
                <a:lnTo>
                  <a:pt x="790049" y="1468297"/>
                </a:lnTo>
                <a:lnTo>
                  <a:pt x="796499" y="1465072"/>
                </a:lnTo>
                <a:lnTo>
                  <a:pt x="793275" y="1481195"/>
                </a:lnTo>
                <a:lnTo>
                  <a:pt x="786825" y="1497319"/>
                </a:lnTo>
                <a:lnTo>
                  <a:pt x="770702" y="1494095"/>
                </a:lnTo>
                <a:lnTo>
                  <a:pt x="764252" y="1474746"/>
                </a:lnTo>
                <a:close/>
                <a:moveTo>
                  <a:pt x="3585860" y="1452174"/>
                </a:moveTo>
                <a:lnTo>
                  <a:pt x="3585860" y="1458623"/>
                </a:lnTo>
                <a:lnTo>
                  <a:pt x="3585860" y="1461849"/>
                </a:lnTo>
                <a:lnTo>
                  <a:pt x="3576186" y="1465073"/>
                </a:lnTo>
                <a:lnTo>
                  <a:pt x="3582636" y="1458623"/>
                </a:lnTo>
                <a:close/>
                <a:moveTo>
                  <a:pt x="3977661" y="1442500"/>
                </a:moveTo>
                <a:lnTo>
                  <a:pt x="3980885" y="1452174"/>
                </a:lnTo>
                <a:lnTo>
                  <a:pt x="3980885" y="1455399"/>
                </a:lnTo>
                <a:lnTo>
                  <a:pt x="3971211" y="1455399"/>
                </a:lnTo>
                <a:close/>
                <a:moveTo>
                  <a:pt x="3924453" y="1432826"/>
                </a:moveTo>
                <a:lnTo>
                  <a:pt x="3926067" y="1432826"/>
                </a:lnTo>
                <a:lnTo>
                  <a:pt x="3932515" y="1436050"/>
                </a:lnTo>
                <a:lnTo>
                  <a:pt x="3935741" y="1436050"/>
                </a:lnTo>
                <a:lnTo>
                  <a:pt x="3938965" y="1442500"/>
                </a:lnTo>
                <a:lnTo>
                  <a:pt x="3935741" y="1445725"/>
                </a:lnTo>
                <a:lnTo>
                  <a:pt x="3929291" y="1442500"/>
                </a:lnTo>
                <a:lnTo>
                  <a:pt x="3924453" y="1439276"/>
                </a:lnTo>
                <a:close/>
                <a:moveTo>
                  <a:pt x="96739" y="1432826"/>
                </a:moveTo>
                <a:lnTo>
                  <a:pt x="103190" y="1439276"/>
                </a:lnTo>
                <a:lnTo>
                  <a:pt x="83841" y="1445725"/>
                </a:lnTo>
                <a:lnTo>
                  <a:pt x="80617" y="1448949"/>
                </a:lnTo>
                <a:lnTo>
                  <a:pt x="77391" y="1452175"/>
                </a:lnTo>
                <a:lnTo>
                  <a:pt x="70943" y="1455399"/>
                </a:lnTo>
                <a:lnTo>
                  <a:pt x="64493" y="1445725"/>
                </a:lnTo>
                <a:lnTo>
                  <a:pt x="70943" y="1439276"/>
                </a:lnTo>
                <a:lnTo>
                  <a:pt x="74167" y="1436051"/>
                </a:lnTo>
                <a:close/>
                <a:moveTo>
                  <a:pt x="180582" y="1426377"/>
                </a:moveTo>
                <a:lnTo>
                  <a:pt x="183806" y="1426377"/>
                </a:lnTo>
                <a:lnTo>
                  <a:pt x="183806" y="1429602"/>
                </a:lnTo>
                <a:close/>
                <a:moveTo>
                  <a:pt x="764252" y="1419928"/>
                </a:moveTo>
                <a:lnTo>
                  <a:pt x="770702" y="1439276"/>
                </a:lnTo>
                <a:lnTo>
                  <a:pt x="767476" y="1439276"/>
                </a:lnTo>
                <a:lnTo>
                  <a:pt x="761027" y="1426377"/>
                </a:lnTo>
                <a:lnTo>
                  <a:pt x="764252" y="1423152"/>
                </a:lnTo>
                <a:lnTo>
                  <a:pt x="761027" y="1423152"/>
                </a:lnTo>
                <a:close/>
                <a:moveTo>
                  <a:pt x="4006682" y="1419927"/>
                </a:moveTo>
                <a:lnTo>
                  <a:pt x="4013132" y="1426376"/>
                </a:lnTo>
                <a:lnTo>
                  <a:pt x="4009908" y="1429602"/>
                </a:lnTo>
                <a:lnTo>
                  <a:pt x="4003458" y="1426376"/>
                </a:lnTo>
                <a:close/>
                <a:moveTo>
                  <a:pt x="3527816" y="1419927"/>
                </a:moveTo>
                <a:lnTo>
                  <a:pt x="3527816" y="1423152"/>
                </a:lnTo>
                <a:lnTo>
                  <a:pt x="3524592" y="1429602"/>
                </a:lnTo>
                <a:lnTo>
                  <a:pt x="3527816" y="1426376"/>
                </a:lnTo>
                <a:lnTo>
                  <a:pt x="3534266" y="1423152"/>
                </a:lnTo>
                <a:lnTo>
                  <a:pt x="3540715" y="1419927"/>
                </a:lnTo>
                <a:lnTo>
                  <a:pt x="3550389" y="1423152"/>
                </a:lnTo>
                <a:lnTo>
                  <a:pt x="3556839" y="1436050"/>
                </a:lnTo>
                <a:lnTo>
                  <a:pt x="3563288" y="1448949"/>
                </a:lnTo>
                <a:lnTo>
                  <a:pt x="3560063" y="1458623"/>
                </a:lnTo>
                <a:lnTo>
                  <a:pt x="3550389" y="1465073"/>
                </a:lnTo>
                <a:lnTo>
                  <a:pt x="3543939" y="1465073"/>
                </a:lnTo>
                <a:lnTo>
                  <a:pt x="3547165" y="1468297"/>
                </a:lnTo>
                <a:lnTo>
                  <a:pt x="3540715" y="1471523"/>
                </a:lnTo>
                <a:lnTo>
                  <a:pt x="3547165" y="1477972"/>
                </a:lnTo>
                <a:lnTo>
                  <a:pt x="3547165" y="1481196"/>
                </a:lnTo>
                <a:lnTo>
                  <a:pt x="3547165" y="1484421"/>
                </a:lnTo>
                <a:lnTo>
                  <a:pt x="3547165" y="1487646"/>
                </a:lnTo>
                <a:lnTo>
                  <a:pt x="3550389" y="1500544"/>
                </a:lnTo>
                <a:lnTo>
                  <a:pt x="3547165" y="1513444"/>
                </a:lnTo>
                <a:lnTo>
                  <a:pt x="3543939" y="1526342"/>
                </a:lnTo>
                <a:lnTo>
                  <a:pt x="3540715" y="1532791"/>
                </a:lnTo>
                <a:lnTo>
                  <a:pt x="3537491" y="1532791"/>
                </a:lnTo>
                <a:lnTo>
                  <a:pt x="3527816" y="1532791"/>
                </a:lnTo>
                <a:lnTo>
                  <a:pt x="3524592" y="1536017"/>
                </a:lnTo>
                <a:lnTo>
                  <a:pt x="3514918" y="1539241"/>
                </a:lnTo>
                <a:lnTo>
                  <a:pt x="3508468" y="1545691"/>
                </a:lnTo>
                <a:lnTo>
                  <a:pt x="3498794" y="1552139"/>
                </a:lnTo>
                <a:lnTo>
                  <a:pt x="3479446" y="1558589"/>
                </a:lnTo>
                <a:lnTo>
                  <a:pt x="3466547" y="1558589"/>
                </a:lnTo>
                <a:lnTo>
                  <a:pt x="3463323" y="1555364"/>
                </a:lnTo>
                <a:lnTo>
                  <a:pt x="3453649" y="1545691"/>
                </a:lnTo>
                <a:lnTo>
                  <a:pt x="3453649" y="1532791"/>
                </a:lnTo>
                <a:lnTo>
                  <a:pt x="3460098" y="1532791"/>
                </a:lnTo>
                <a:lnTo>
                  <a:pt x="3469771" y="1532791"/>
                </a:lnTo>
                <a:lnTo>
                  <a:pt x="3466547" y="1526342"/>
                </a:lnTo>
                <a:lnTo>
                  <a:pt x="3469771" y="1516668"/>
                </a:lnTo>
                <a:lnTo>
                  <a:pt x="3476221" y="1510218"/>
                </a:lnTo>
                <a:lnTo>
                  <a:pt x="3479446" y="1500544"/>
                </a:lnTo>
                <a:lnTo>
                  <a:pt x="3469771" y="1497320"/>
                </a:lnTo>
                <a:lnTo>
                  <a:pt x="3460098" y="1490870"/>
                </a:lnTo>
                <a:lnTo>
                  <a:pt x="3463323" y="1477972"/>
                </a:lnTo>
                <a:lnTo>
                  <a:pt x="3460098" y="1465073"/>
                </a:lnTo>
                <a:lnTo>
                  <a:pt x="3460098" y="1458623"/>
                </a:lnTo>
                <a:lnTo>
                  <a:pt x="3466547" y="1455399"/>
                </a:lnTo>
                <a:lnTo>
                  <a:pt x="3476221" y="1455399"/>
                </a:lnTo>
                <a:lnTo>
                  <a:pt x="3492345" y="1455399"/>
                </a:lnTo>
                <a:lnTo>
                  <a:pt x="3498794" y="1452174"/>
                </a:lnTo>
                <a:lnTo>
                  <a:pt x="3505244" y="1445725"/>
                </a:lnTo>
                <a:lnTo>
                  <a:pt x="3498794" y="1445725"/>
                </a:lnTo>
                <a:lnTo>
                  <a:pt x="3492345" y="1439276"/>
                </a:lnTo>
                <a:lnTo>
                  <a:pt x="3495570" y="1439276"/>
                </a:lnTo>
                <a:lnTo>
                  <a:pt x="3498794" y="1429602"/>
                </a:lnTo>
                <a:lnTo>
                  <a:pt x="3502018" y="1426376"/>
                </a:lnTo>
                <a:lnTo>
                  <a:pt x="3505244" y="1426376"/>
                </a:lnTo>
                <a:lnTo>
                  <a:pt x="3505244" y="1423152"/>
                </a:lnTo>
                <a:lnTo>
                  <a:pt x="3511693" y="1423152"/>
                </a:lnTo>
                <a:close/>
                <a:moveTo>
                  <a:pt x="3898656" y="1410253"/>
                </a:moveTo>
                <a:lnTo>
                  <a:pt x="3911555" y="1410253"/>
                </a:lnTo>
                <a:lnTo>
                  <a:pt x="3911555" y="1413478"/>
                </a:lnTo>
                <a:lnTo>
                  <a:pt x="3914779" y="1410253"/>
                </a:lnTo>
                <a:lnTo>
                  <a:pt x="3918005" y="1419927"/>
                </a:lnTo>
                <a:lnTo>
                  <a:pt x="3918005" y="1426376"/>
                </a:lnTo>
                <a:lnTo>
                  <a:pt x="3905105" y="1426376"/>
                </a:lnTo>
                <a:lnTo>
                  <a:pt x="3898656" y="1419927"/>
                </a:lnTo>
                <a:close/>
                <a:moveTo>
                  <a:pt x="799723" y="1397355"/>
                </a:moveTo>
                <a:lnTo>
                  <a:pt x="806173" y="1397355"/>
                </a:lnTo>
                <a:lnTo>
                  <a:pt x="809397" y="1407029"/>
                </a:lnTo>
                <a:lnTo>
                  <a:pt x="809397" y="1419928"/>
                </a:lnTo>
                <a:lnTo>
                  <a:pt x="796499" y="1419928"/>
                </a:lnTo>
                <a:lnTo>
                  <a:pt x="790049" y="1413478"/>
                </a:lnTo>
                <a:lnTo>
                  <a:pt x="796499" y="1403804"/>
                </a:lnTo>
                <a:close/>
                <a:moveTo>
                  <a:pt x="3547165" y="1394129"/>
                </a:moveTo>
                <a:lnTo>
                  <a:pt x="3547165" y="1407029"/>
                </a:lnTo>
                <a:lnTo>
                  <a:pt x="3540715" y="1403804"/>
                </a:lnTo>
                <a:lnTo>
                  <a:pt x="3540715" y="1397355"/>
                </a:lnTo>
                <a:close/>
                <a:moveTo>
                  <a:pt x="3955089" y="1390905"/>
                </a:moveTo>
                <a:lnTo>
                  <a:pt x="3955089" y="1410253"/>
                </a:lnTo>
                <a:lnTo>
                  <a:pt x="3951864" y="1419927"/>
                </a:lnTo>
                <a:lnTo>
                  <a:pt x="3948639" y="1429602"/>
                </a:lnTo>
                <a:lnTo>
                  <a:pt x="3938965" y="1429602"/>
                </a:lnTo>
                <a:lnTo>
                  <a:pt x="3938965" y="1426376"/>
                </a:lnTo>
                <a:lnTo>
                  <a:pt x="3935741" y="1423152"/>
                </a:lnTo>
                <a:lnTo>
                  <a:pt x="3929291" y="1419927"/>
                </a:lnTo>
                <a:lnTo>
                  <a:pt x="3924453" y="1407029"/>
                </a:lnTo>
                <a:lnTo>
                  <a:pt x="3932515" y="1397355"/>
                </a:lnTo>
                <a:close/>
                <a:moveTo>
                  <a:pt x="754577" y="1387681"/>
                </a:moveTo>
                <a:lnTo>
                  <a:pt x="761027" y="1387681"/>
                </a:lnTo>
                <a:lnTo>
                  <a:pt x="754577" y="1397355"/>
                </a:lnTo>
                <a:lnTo>
                  <a:pt x="748128" y="1397355"/>
                </a:lnTo>
                <a:close/>
                <a:moveTo>
                  <a:pt x="780376" y="1378007"/>
                </a:moveTo>
                <a:lnTo>
                  <a:pt x="783600" y="1387681"/>
                </a:lnTo>
                <a:lnTo>
                  <a:pt x="786825" y="1394130"/>
                </a:lnTo>
                <a:lnTo>
                  <a:pt x="777150" y="1394130"/>
                </a:lnTo>
                <a:lnTo>
                  <a:pt x="773926" y="1381231"/>
                </a:lnTo>
                <a:close/>
                <a:moveTo>
                  <a:pt x="754577" y="1378007"/>
                </a:moveTo>
                <a:lnTo>
                  <a:pt x="764252" y="1381231"/>
                </a:lnTo>
                <a:lnTo>
                  <a:pt x="770702" y="1390905"/>
                </a:lnTo>
                <a:lnTo>
                  <a:pt x="783600" y="1410254"/>
                </a:lnTo>
                <a:lnTo>
                  <a:pt x="786825" y="1419928"/>
                </a:lnTo>
                <a:lnTo>
                  <a:pt x="790049" y="1436051"/>
                </a:lnTo>
                <a:lnTo>
                  <a:pt x="783600" y="1442501"/>
                </a:lnTo>
                <a:lnTo>
                  <a:pt x="777150" y="1432826"/>
                </a:lnTo>
                <a:lnTo>
                  <a:pt x="777150" y="1426377"/>
                </a:lnTo>
                <a:lnTo>
                  <a:pt x="767476" y="1419928"/>
                </a:lnTo>
                <a:lnTo>
                  <a:pt x="764252" y="1419928"/>
                </a:lnTo>
                <a:lnTo>
                  <a:pt x="764252" y="1413478"/>
                </a:lnTo>
                <a:lnTo>
                  <a:pt x="764252" y="1397355"/>
                </a:lnTo>
                <a:lnTo>
                  <a:pt x="761027" y="1384455"/>
                </a:lnTo>
                <a:lnTo>
                  <a:pt x="754577" y="1384455"/>
                </a:lnTo>
                <a:close/>
                <a:moveTo>
                  <a:pt x="1947714" y="1371556"/>
                </a:moveTo>
                <a:lnTo>
                  <a:pt x="1947714" y="1378006"/>
                </a:lnTo>
                <a:lnTo>
                  <a:pt x="1941265" y="1384455"/>
                </a:lnTo>
                <a:lnTo>
                  <a:pt x="1931591" y="1397354"/>
                </a:lnTo>
                <a:lnTo>
                  <a:pt x="1931591" y="1390904"/>
                </a:lnTo>
                <a:lnTo>
                  <a:pt x="1934815" y="1384455"/>
                </a:lnTo>
                <a:close/>
                <a:moveTo>
                  <a:pt x="1938040" y="1371556"/>
                </a:moveTo>
                <a:lnTo>
                  <a:pt x="1934815" y="1381230"/>
                </a:lnTo>
                <a:lnTo>
                  <a:pt x="1925141" y="1384455"/>
                </a:lnTo>
                <a:lnTo>
                  <a:pt x="1931591" y="1378006"/>
                </a:lnTo>
                <a:close/>
                <a:moveTo>
                  <a:pt x="3547165" y="1368332"/>
                </a:moveTo>
                <a:lnTo>
                  <a:pt x="3556839" y="1378006"/>
                </a:lnTo>
                <a:lnTo>
                  <a:pt x="3550389" y="1381231"/>
                </a:lnTo>
                <a:lnTo>
                  <a:pt x="3543939" y="1374782"/>
                </a:lnTo>
                <a:close/>
                <a:moveTo>
                  <a:pt x="770702" y="1361883"/>
                </a:moveTo>
                <a:lnTo>
                  <a:pt x="777150" y="1371557"/>
                </a:lnTo>
                <a:lnTo>
                  <a:pt x="770702" y="1374782"/>
                </a:lnTo>
                <a:lnTo>
                  <a:pt x="767476" y="1368333"/>
                </a:lnTo>
                <a:close/>
                <a:moveTo>
                  <a:pt x="738455" y="1361883"/>
                </a:moveTo>
                <a:lnTo>
                  <a:pt x="748128" y="1371557"/>
                </a:lnTo>
                <a:lnTo>
                  <a:pt x="741679" y="1374782"/>
                </a:lnTo>
                <a:lnTo>
                  <a:pt x="744903" y="1384455"/>
                </a:lnTo>
                <a:lnTo>
                  <a:pt x="741679" y="1394130"/>
                </a:lnTo>
                <a:lnTo>
                  <a:pt x="738455" y="1400579"/>
                </a:lnTo>
                <a:lnTo>
                  <a:pt x="735229" y="1390905"/>
                </a:lnTo>
                <a:lnTo>
                  <a:pt x="732005" y="1368333"/>
                </a:lnTo>
                <a:close/>
                <a:moveTo>
                  <a:pt x="744903" y="1348984"/>
                </a:moveTo>
                <a:lnTo>
                  <a:pt x="764252" y="1355434"/>
                </a:lnTo>
                <a:lnTo>
                  <a:pt x="761027" y="1374782"/>
                </a:lnTo>
                <a:lnTo>
                  <a:pt x="754577" y="1374782"/>
                </a:lnTo>
                <a:lnTo>
                  <a:pt x="751353" y="1371557"/>
                </a:lnTo>
                <a:lnTo>
                  <a:pt x="741679" y="1355434"/>
                </a:lnTo>
                <a:close/>
                <a:moveTo>
                  <a:pt x="706208" y="1345760"/>
                </a:moveTo>
                <a:lnTo>
                  <a:pt x="706208" y="1358658"/>
                </a:lnTo>
                <a:lnTo>
                  <a:pt x="702982" y="1348984"/>
                </a:lnTo>
                <a:close/>
                <a:moveTo>
                  <a:pt x="4055053" y="1339310"/>
                </a:moveTo>
                <a:lnTo>
                  <a:pt x="4048603" y="1365108"/>
                </a:lnTo>
                <a:lnTo>
                  <a:pt x="4042155" y="1384455"/>
                </a:lnTo>
                <a:lnTo>
                  <a:pt x="4038929" y="1371557"/>
                </a:lnTo>
                <a:lnTo>
                  <a:pt x="4045379" y="1361882"/>
                </a:lnTo>
                <a:close/>
                <a:moveTo>
                  <a:pt x="712657" y="1332861"/>
                </a:moveTo>
                <a:lnTo>
                  <a:pt x="719106" y="1336086"/>
                </a:lnTo>
                <a:lnTo>
                  <a:pt x="722331" y="1339310"/>
                </a:lnTo>
                <a:lnTo>
                  <a:pt x="725555" y="1345760"/>
                </a:lnTo>
                <a:lnTo>
                  <a:pt x="728780" y="1384455"/>
                </a:lnTo>
                <a:lnTo>
                  <a:pt x="728780" y="1387681"/>
                </a:lnTo>
                <a:lnTo>
                  <a:pt x="725555" y="1381231"/>
                </a:lnTo>
                <a:lnTo>
                  <a:pt x="715881" y="1365108"/>
                </a:lnTo>
                <a:lnTo>
                  <a:pt x="709432" y="1345760"/>
                </a:lnTo>
                <a:lnTo>
                  <a:pt x="709432" y="1339310"/>
                </a:lnTo>
                <a:close/>
                <a:moveTo>
                  <a:pt x="3540715" y="1326411"/>
                </a:moveTo>
                <a:lnTo>
                  <a:pt x="3547165" y="1329636"/>
                </a:lnTo>
                <a:lnTo>
                  <a:pt x="3550389" y="1342534"/>
                </a:lnTo>
                <a:lnTo>
                  <a:pt x="3550389" y="1345759"/>
                </a:lnTo>
                <a:lnTo>
                  <a:pt x="3543939" y="1345759"/>
                </a:lnTo>
                <a:lnTo>
                  <a:pt x="3540715" y="1339310"/>
                </a:lnTo>
                <a:lnTo>
                  <a:pt x="3534266" y="1336085"/>
                </a:lnTo>
                <a:close/>
                <a:moveTo>
                  <a:pt x="3524592" y="1326411"/>
                </a:moveTo>
                <a:lnTo>
                  <a:pt x="3524592" y="1329636"/>
                </a:lnTo>
                <a:lnTo>
                  <a:pt x="3521367" y="1329636"/>
                </a:lnTo>
                <a:lnTo>
                  <a:pt x="3521367" y="1332861"/>
                </a:lnTo>
                <a:lnTo>
                  <a:pt x="3514918" y="1329636"/>
                </a:lnTo>
                <a:close/>
                <a:moveTo>
                  <a:pt x="4090525" y="1316737"/>
                </a:moveTo>
                <a:lnTo>
                  <a:pt x="4096974" y="1316737"/>
                </a:lnTo>
                <a:lnTo>
                  <a:pt x="4096974" y="1319961"/>
                </a:lnTo>
                <a:lnTo>
                  <a:pt x="4096974" y="1323187"/>
                </a:lnTo>
                <a:lnTo>
                  <a:pt x="4093750" y="1323187"/>
                </a:lnTo>
                <a:lnTo>
                  <a:pt x="4093750" y="1329636"/>
                </a:lnTo>
                <a:lnTo>
                  <a:pt x="4093750" y="1332861"/>
                </a:lnTo>
                <a:lnTo>
                  <a:pt x="4087300" y="1345759"/>
                </a:lnTo>
                <a:lnTo>
                  <a:pt x="4080850" y="1352208"/>
                </a:lnTo>
                <a:lnTo>
                  <a:pt x="4077626" y="1332861"/>
                </a:lnTo>
                <a:lnTo>
                  <a:pt x="4084076" y="1323187"/>
                </a:lnTo>
                <a:close/>
                <a:moveTo>
                  <a:pt x="335368" y="1316737"/>
                </a:moveTo>
                <a:lnTo>
                  <a:pt x="338593" y="1316737"/>
                </a:lnTo>
                <a:lnTo>
                  <a:pt x="345042" y="1326411"/>
                </a:lnTo>
                <a:lnTo>
                  <a:pt x="345042" y="1329636"/>
                </a:lnTo>
                <a:lnTo>
                  <a:pt x="341817" y="1336086"/>
                </a:lnTo>
                <a:lnTo>
                  <a:pt x="335368" y="1342534"/>
                </a:lnTo>
                <a:lnTo>
                  <a:pt x="332144" y="1342534"/>
                </a:lnTo>
                <a:lnTo>
                  <a:pt x="328918" y="1339310"/>
                </a:lnTo>
                <a:lnTo>
                  <a:pt x="322469" y="1342534"/>
                </a:lnTo>
                <a:lnTo>
                  <a:pt x="316020" y="1345760"/>
                </a:lnTo>
                <a:lnTo>
                  <a:pt x="312795" y="1358658"/>
                </a:lnTo>
                <a:lnTo>
                  <a:pt x="303121" y="1361883"/>
                </a:lnTo>
                <a:lnTo>
                  <a:pt x="290222" y="1342534"/>
                </a:lnTo>
                <a:lnTo>
                  <a:pt x="290222" y="1339310"/>
                </a:lnTo>
                <a:lnTo>
                  <a:pt x="293447" y="1332861"/>
                </a:lnTo>
                <a:lnTo>
                  <a:pt x="299895" y="1326411"/>
                </a:lnTo>
                <a:lnTo>
                  <a:pt x="309570" y="1326411"/>
                </a:lnTo>
                <a:lnTo>
                  <a:pt x="316020" y="1326411"/>
                </a:lnTo>
                <a:lnTo>
                  <a:pt x="325694" y="1319962"/>
                </a:lnTo>
                <a:close/>
                <a:moveTo>
                  <a:pt x="702982" y="1300613"/>
                </a:moveTo>
                <a:lnTo>
                  <a:pt x="706208" y="1300613"/>
                </a:lnTo>
                <a:lnTo>
                  <a:pt x="719106" y="1307063"/>
                </a:lnTo>
                <a:lnTo>
                  <a:pt x="725555" y="1313513"/>
                </a:lnTo>
                <a:lnTo>
                  <a:pt x="725555" y="1323187"/>
                </a:lnTo>
                <a:lnTo>
                  <a:pt x="722331" y="1332861"/>
                </a:lnTo>
                <a:lnTo>
                  <a:pt x="715881" y="1329636"/>
                </a:lnTo>
                <a:lnTo>
                  <a:pt x="709432" y="1329636"/>
                </a:lnTo>
                <a:lnTo>
                  <a:pt x="709432" y="1336086"/>
                </a:lnTo>
                <a:lnTo>
                  <a:pt x="702982" y="1336086"/>
                </a:lnTo>
                <a:lnTo>
                  <a:pt x="693308" y="1319962"/>
                </a:lnTo>
                <a:lnTo>
                  <a:pt x="693308" y="1303839"/>
                </a:lnTo>
                <a:close/>
                <a:moveTo>
                  <a:pt x="725555" y="1297389"/>
                </a:moveTo>
                <a:lnTo>
                  <a:pt x="728780" y="1303839"/>
                </a:lnTo>
                <a:lnTo>
                  <a:pt x="735229" y="1303839"/>
                </a:lnTo>
                <a:lnTo>
                  <a:pt x="744903" y="1316737"/>
                </a:lnTo>
                <a:lnTo>
                  <a:pt x="748128" y="1336086"/>
                </a:lnTo>
                <a:lnTo>
                  <a:pt x="738455" y="1345760"/>
                </a:lnTo>
                <a:lnTo>
                  <a:pt x="735229" y="1352209"/>
                </a:lnTo>
                <a:lnTo>
                  <a:pt x="732005" y="1345760"/>
                </a:lnTo>
                <a:lnTo>
                  <a:pt x="732005" y="1336086"/>
                </a:lnTo>
                <a:lnTo>
                  <a:pt x="732005" y="1326411"/>
                </a:lnTo>
                <a:lnTo>
                  <a:pt x="725555" y="1303839"/>
                </a:lnTo>
                <a:close/>
                <a:moveTo>
                  <a:pt x="338593" y="1294165"/>
                </a:moveTo>
                <a:lnTo>
                  <a:pt x="348266" y="1297389"/>
                </a:lnTo>
                <a:lnTo>
                  <a:pt x="345042" y="1307063"/>
                </a:lnTo>
                <a:lnTo>
                  <a:pt x="328918" y="1310287"/>
                </a:lnTo>
                <a:lnTo>
                  <a:pt x="322469" y="1303839"/>
                </a:lnTo>
                <a:lnTo>
                  <a:pt x="328918" y="1297389"/>
                </a:lnTo>
                <a:close/>
                <a:moveTo>
                  <a:pt x="3543938" y="1290940"/>
                </a:moveTo>
                <a:lnTo>
                  <a:pt x="3547164" y="1294164"/>
                </a:lnTo>
                <a:lnTo>
                  <a:pt x="3540714" y="1310287"/>
                </a:lnTo>
                <a:lnTo>
                  <a:pt x="3534264" y="1310287"/>
                </a:lnTo>
                <a:lnTo>
                  <a:pt x="3531040" y="1319961"/>
                </a:lnTo>
                <a:lnTo>
                  <a:pt x="3527816" y="1319961"/>
                </a:lnTo>
                <a:lnTo>
                  <a:pt x="3527816" y="1316737"/>
                </a:lnTo>
                <a:lnTo>
                  <a:pt x="3531040" y="1316737"/>
                </a:lnTo>
                <a:lnTo>
                  <a:pt x="3527816" y="1313513"/>
                </a:lnTo>
                <a:lnTo>
                  <a:pt x="3527816" y="1303838"/>
                </a:lnTo>
                <a:lnTo>
                  <a:pt x="3540714" y="1294164"/>
                </a:lnTo>
                <a:close/>
                <a:moveTo>
                  <a:pt x="4167919" y="1287714"/>
                </a:moveTo>
                <a:lnTo>
                  <a:pt x="4184042" y="1287714"/>
                </a:lnTo>
                <a:lnTo>
                  <a:pt x="4187266" y="1290940"/>
                </a:lnTo>
                <a:lnTo>
                  <a:pt x="4184042" y="1297389"/>
                </a:lnTo>
                <a:lnTo>
                  <a:pt x="4177593" y="1303838"/>
                </a:lnTo>
                <a:lnTo>
                  <a:pt x="4164693" y="1313513"/>
                </a:lnTo>
                <a:lnTo>
                  <a:pt x="4161469" y="1313513"/>
                </a:lnTo>
                <a:lnTo>
                  <a:pt x="4161469" y="1297389"/>
                </a:lnTo>
                <a:close/>
                <a:moveTo>
                  <a:pt x="3576185" y="1284490"/>
                </a:moveTo>
                <a:lnTo>
                  <a:pt x="3579411" y="1287714"/>
                </a:lnTo>
                <a:lnTo>
                  <a:pt x="3605208" y="1287714"/>
                </a:lnTo>
                <a:lnTo>
                  <a:pt x="3614882" y="1284490"/>
                </a:lnTo>
                <a:lnTo>
                  <a:pt x="3611658" y="1300613"/>
                </a:lnTo>
                <a:lnTo>
                  <a:pt x="3589085" y="1316737"/>
                </a:lnTo>
                <a:lnTo>
                  <a:pt x="3592309" y="1323187"/>
                </a:lnTo>
                <a:lnTo>
                  <a:pt x="3585860" y="1326411"/>
                </a:lnTo>
                <a:lnTo>
                  <a:pt x="3589085" y="1329636"/>
                </a:lnTo>
                <a:lnTo>
                  <a:pt x="3605208" y="1326411"/>
                </a:lnTo>
                <a:lnTo>
                  <a:pt x="3631006" y="1326411"/>
                </a:lnTo>
                <a:lnTo>
                  <a:pt x="3637455" y="1326411"/>
                </a:lnTo>
                <a:lnTo>
                  <a:pt x="3643905" y="1332861"/>
                </a:lnTo>
                <a:lnTo>
                  <a:pt x="3627781" y="1374782"/>
                </a:lnTo>
                <a:lnTo>
                  <a:pt x="3618106" y="1384455"/>
                </a:lnTo>
                <a:lnTo>
                  <a:pt x="3611658" y="1390905"/>
                </a:lnTo>
                <a:lnTo>
                  <a:pt x="3618106" y="1394129"/>
                </a:lnTo>
                <a:lnTo>
                  <a:pt x="3621332" y="1390905"/>
                </a:lnTo>
                <a:lnTo>
                  <a:pt x="3631006" y="1394129"/>
                </a:lnTo>
                <a:lnTo>
                  <a:pt x="3640679" y="1403804"/>
                </a:lnTo>
                <a:lnTo>
                  <a:pt x="3647129" y="1413478"/>
                </a:lnTo>
                <a:lnTo>
                  <a:pt x="3647129" y="1416702"/>
                </a:lnTo>
                <a:lnTo>
                  <a:pt x="3647129" y="1423152"/>
                </a:lnTo>
                <a:lnTo>
                  <a:pt x="3663253" y="1445725"/>
                </a:lnTo>
                <a:lnTo>
                  <a:pt x="3676151" y="1461849"/>
                </a:lnTo>
                <a:lnTo>
                  <a:pt x="3689050" y="1494095"/>
                </a:lnTo>
                <a:lnTo>
                  <a:pt x="3689050" y="1503770"/>
                </a:lnTo>
                <a:lnTo>
                  <a:pt x="3692274" y="1510218"/>
                </a:lnTo>
                <a:lnTo>
                  <a:pt x="3705174" y="1506994"/>
                </a:lnTo>
                <a:lnTo>
                  <a:pt x="3718073" y="1513444"/>
                </a:lnTo>
                <a:lnTo>
                  <a:pt x="3721297" y="1526342"/>
                </a:lnTo>
                <a:lnTo>
                  <a:pt x="3718073" y="1539241"/>
                </a:lnTo>
                <a:lnTo>
                  <a:pt x="3711623" y="1542465"/>
                </a:lnTo>
                <a:lnTo>
                  <a:pt x="3708398" y="1548915"/>
                </a:lnTo>
                <a:lnTo>
                  <a:pt x="3701949" y="1555364"/>
                </a:lnTo>
                <a:lnTo>
                  <a:pt x="3701949" y="1561814"/>
                </a:lnTo>
                <a:lnTo>
                  <a:pt x="3708398" y="1561814"/>
                </a:lnTo>
                <a:lnTo>
                  <a:pt x="3714847" y="1561814"/>
                </a:lnTo>
                <a:lnTo>
                  <a:pt x="3711623" y="1571488"/>
                </a:lnTo>
                <a:lnTo>
                  <a:pt x="3705174" y="1574712"/>
                </a:lnTo>
                <a:lnTo>
                  <a:pt x="3689050" y="1584386"/>
                </a:lnTo>
                <a:lnTo>
                  <a:pt x="3682600" y="1584386"/>
                </a:lnTo>
                <a:lnTo>
                  <a:pt x="3669702" y="1584386"/>
                </a:lnTo>
                <a:lnTo>
                  <a:pt x="3637455" y="1587611"/>
                </a:lnTo>
                <a:lnTo>
                  <a:pt x="3637455" y="1590836"/>
                </a:lnTo>
                <a:lnTo>
                  <a:pt x="3627781" y="1587611"/>
                </a:lnTo>
                <a:lnTo>
                  <a:pt x="3611658" y="1587611"/>
                </a:lnTo>
                <a:lnTo>
                  <a:pt x="3601983" y="1597285"/>
                </a:lnTo>
                <a:lnTo>
                  <a:pt x="3595534" y="1600510"/>
                </a:lnTo>
                <a:lnTo>
                  <a:pt x="3592309" y="1600510"/>
                </a:lnTo>
                <a:lnTo>
                  <a:pt x="3572961" y="1603735"/>
                </a:lnTo>
                <a:lnTo>
                  <a:pt x="3560062" y="1610185"/>
                </a:lnTo>
                <a:lnTo>
                  <a:pt x="3560062" y="1603735"/>
                </a:lnTo>
                <a:lnTo>
                  <a:pt x="3563287" y="1603735"/>
                </a:lnTo>
                <a:lnTo>
                  <a:pt x="3569737" y="1600510"/>
                </a:lnTo>
                <a:lnTo>
                  <a:pt x="3582635" y="1584386"/>
                </a:lnTo>
                <a:lnTo>
                  <a:pt x="3589085" y="1571488"/>
                </a:lnTo>
                <a:lnTo>
                  <a:pt x="3598759" y="1568263"/>
                </a:lnTo>
                <a:lnTo>
                  <a:pt x="3608432" y="1571488"/>
                </a:lnTo>
                <a:lnTo>
                  <a:pt x="3614882" y="1568263"/>
                </a:lnTo>
                <a:lnTo>
                  <a:pt x="3618106" y="1565038"/>
                </a:lnTo>
                <a:lnTo>
                  <a:pt x="3627781" y="1552139"/>
                </a:lnTo>
                <a:lnTo>
                  <a:pt x="3621332" y="1558589"/>
                </a:lnTo>
                <a:lnTo>
                  <a:pt x="3618106" y="1558589"/>
                </a:lnTo>
                <a:lnTo>
                  <a:pt x="3611658" y="1561814"/>
                </a:lnTo>
                <a:lnTo>
                  <a:pt x="3605208" y="1561814"/>
                </a:lnTo>
                <a:lnTo>
                  <a:pt x="3598759" y="1558589"/>
                </a:lnTo>
                <a:lnTo>
                  <a:pt x="3592309" y="1555364"/>
                </a:lnTo>
                <a:lnTo>
                  <a:pt x="3592309" y="1552139"/>
                </a:lnTo>
                <a:lnTo>
                  <a:pt x="3582635" y="1552139"/>
                </a:lnTo>
                <a:lnTo>
                  <a:pt x="3579411" y="1552139"/>
                </a:lnTo>
                <a:lnTo>
                  <a:pt x="3572961" y="1552139"/>
                </a:lnTo>
                <a:lnTo>
                  <a:pt x="3569737" y="1552139"/>
                </a:lnTo>
                <a:lnTo>
                  <a:pt x="3566512" y="1545691"/>
                </a:lnTo>
                <a:lnTo>
                  <a:pt x="3569737" y="1539241"/>
                </a:lnTo>
                <a:lnTo>
                  <a:pt x="3576185" y="1539241"/>
                </a:lnTo>
                <a:lnTo>
                  <a:pt x="3582635" y="1536017"/>
                </a:lnTo>
                <a:lnTo>
                  <a:pt x="3589085" y="1529567"/>
                </a:lnTo>
                <a:lnTo>
                  <a:pt x="3592309" y="1516668"/>
                </a:lnTo>
                <a:lnTo>
                  <a:pt x="3585860" y="1510218"/>
                </a:lnTo>
                <a:lnTo>
                  <a:pt x="3582635" y="1510218"/>
                </a:lnTo>
                <a:lnTo>
                  <a:pt x="3579411" y="1513444"/>
                </a:lnTo>
                <a:lnTo>
                  <a:pt x="3582635" y="1503770"/>
                </a:lnTo>
                <a:lnTo>
                  <a:pt x="3588440" y="1499900"/>
                </a:lnTo>
                <a:lnTo>
                  <a:pt x="3582636" y="1494095"/>
                </a:lnTo>
                <a:lnTo>
                  <a:pt x="3585860" y="1490870"/>
                </a:lnTo>
                <a:lnTo>
                  <a:pt x="3592310" y="1494095"/>
                </a:lnTo>
                <a:lnTo>
                  <a:pt x="3589893" y="1498932"/>
                </a:lnTo>
                <a:lnTo>
                  <a:pt x="3592309" y="1497320"/>
                </a:lnTo>
                <a:lnTo>
                  <a:pt x="3598759" y="1494095"/>
                </a:lnTo>
                <a:lnTo>
                  <a:pt x="3608432" y="1494095"/>
                </a:lnTo>
                <a:lnTo>
                  <a:pt x="3618106" y="1490870"/>
                </a:lnTo>
                <a:lnTo>
                  <a:pt x="3614882" y="1474747"/>
                </a:lnTo>
                <a:lnTo>
                  <a:pt x="3611658" y="1465073"/>
                </a:lnTo>
                <a:lnTo>
                  <a:pt x="3608432" y="1461849"/>
                </a:lnTo>
                <a:lnTo>
                  <a:pt x="3608432" y="1458623"/>
                </a:lnTo>
                <a:lnTo>
                  <a:pt x="3605208" y="1445725"/>
                </a:lnTo>
                <a:lnTo>
                  <a:pt x="3608432" y="1436050"/>
                </a:lnTo>
                <a:lnTo>
                  <a:pt x="3585860" y="1439276"/>
                </a:lnTo>
                <a:lnTo>
                  <a:pt x="3569737" y="1436050"/>
                </a:lnTo>
                <a:lnTo>
                  <a:pt x="3579411" y="1416702"/>
                </a:lnTo>
                <a:lnTo>
                  <a:pt x="3579411" y="1407029"/>
                </a:lnTo>
                <a:lnTo>
                  <a:pt x="3576185" y="1403804"/>
                </a:lnTo>
                <a:lnTo>
                  <a:pt x="3576185" y="1397355"/>
                </a:lnTo>
                <a:lnTo>
                  <a:pt x="3576185" y="1387681"/>
                </a:lnTo>
                <a:lnTo>
                  <a:pt x="3572961" y="1397355"/>
                </a:lnTo>
                <a:lnTo>
                  <a:pt x="3566512" y="1397355"/>
                </a:lnTo>
                <a:lnTo>
                  <a:pt x="3566512" y="1394129"/>
                </a:lnTo>
                <a:lnTo>
                  <a:pt x="3563287" y="1400579"/>
                </a:lnTo>
                <a:lnTo>
                  <a:pt x="3563287" y="1410253"/>
                </a:lnTo>
                <a:lnTo>
                  <a:pt x="3556838" y="1419927"/>
                </a:lnTo>
                <a:lnTo>
                  <a:pt x="3556838" y="1410253"/>
                </a:lnTo>
                <a:lnTo>
                  <a:pt x="3560062" y="1387681"/>
                </a:lnTo>
                <a:lnTo>
                  <a:pt x="3560062" y="1371557"/>
                </a:lnTo>
                <a:lnTo>
                  <a:pt x="3553613" y="1371557"/>
                </a:lnTo>
                <a:lnTo>
                  <a:pt x="3547164" y="1365108"/>
                </a:lnTo>
                <a:lnTo>
                  <a:pt x="3547164" y="1361882"/>
                </a:lnTo>
                <a:lnTo>
                  <a:pt x="3553613" y="1358658"/>
                </a:lnTo>
                <a:lnTo>
                  <a:pt x="3553613" y="1352208"/>
                </a:lnTo>
                <a:lnTo>
                  <a:pt x="3560062" y="1352208"/>
                </a:lnTo>
                <a:lnTo>
                  <a:pt x="3556838" y="1348984"/>
                </a:lnTo>
                <a:lnTo>
                  <a:pt x="3556838" y="1339310"/>
                </a:lnTo>
                <a:lnTo>
                  <a:pt x="3553613" y="1329636"/>
                </a:lnTo>
                <a:lnTo>
                  <a:pt x="3556838" y="1323187"/>
                </a:lnTo>
                <a:lnTo>
                  <a:pt x="3563287" y="1310287"/>
                </a:lnTo>
                <a:lnTo>
                  <a:pt x="3566512" y="1307063"/>
                </a:lnTo>
                <a:lnTo>
                  <a:pt x="3563287" y="1300613"/>
                </a:lnTo>
                <a:lnTo>
                  <a:pt x="3569737" y="1290940"/>
                </a:lnTo>
                <a:close/>
                <a:moveTo>
                  <a:pt x="669930" y="1269172"/>
                </a:moveTo>
                <a:lnTo>
                  <a:pt x="670735" y="1271592"/>
                </a:lnTo>
                <a:lnTo>
                  <a:pt x="672985" y="1270093"/>
                </a:lnTo>
                <a:lnTo>
                  <a:pt x="672983" y="1270093"/>
                </a:lnTo>
                <a:lnTo>
                  <a:pt x="670735" y="1271591"/>
                </a:lnTo>
                <a:close/>
                <a:moveTo>
                  <a:pt x="3608432" y="1268367"/>
                </a:moveTo>
                <a:lnTo>
                  <a:pt x="3624556" y="1271592"/>
                </a:lnTo>
                <a:lnTo>
                  <a:pt x="3614882" y="1274816"/>
                </a:lnTo>
                <a:close/>
                <a:moveTo>
                  <a:pt x="4177593" y="1265142"/>
                </a:moveTo>
                <a:lnTo>
                  <a:pt x="4184042" y="1271592"/>
                </a:lnTo>
                <a:lnTo>
                  <a:pt x="4184042" y="1278040"/>
                </a:lnTo>
                <a:lnTo>
                  <a:pt x="4180817" y="1278040"/>
                </a:lnTo>
                <a:lnTo>
                  <a:pt x="4171143" y="1278040"/>
                </a:lnTo>
                <a:close/>
                <a:moveTo>
                  <a:pt x="590119" y="1213546"/>
                </a:moveTo>
                <a:lnTo>
                  <a:pt x="590119" y="1213547"/>
                </a:lnTo>
                <a:lnTo>
                  <a:pt x="598491" y="1215222"/>
                </a:lnTo>
                <a:lnTo>
                  <a:pt x="598489" y="1215221"/>
                </a:lnTo>
                <a:close/>
                <a:moveTo>
                  <a:pt x="4116324" y="1210322"/>
                </a:moveTo>
                <a:lnTo>
                  <a:pt x="4125998" y="1213546"/>
                </a:lnTo>
                <a:lnTo>
                  <a:pt x="4119548" y="1223221"/>
                </a:lnTo>
                <a:lnTo>
                  <a:pt x="4113098" y="1223221"/>
                </a:lnTo>
                <a:lnTo>
                  <a:pt x="4113098" y="1213546"/>
                </a:lnTo>
                <a:close/>
                <a:moveTo>
                  <a:pt x="457906" y="1210322"/>
                </a:moveTo>
                <a:lnTo>
                  <a:pt x="461131" y="1213547"/>
                </a:lnTo>
                <a:lnTo>
                  <a:pt x="448232" y="1229671"/>
                </a:lnTo>
                <a:lnTo>
                  <a:pt x="448232" y="1232895"/>
                </a:lnTo>
                <a:lnTo>
                  <a:pt x="441783" y="1236119"/>
                </a:lnTo>
                <a:lnTo>
                  <a:pt x="438558" y="1236119"/>
                </a:lnTo>
                <a:lnTo>
                  <a:pt x="451457" y="1213547"/>
                </a:lnTo>
                <a:close/>
                <a:moveTo>
                  <a:pt x="470805" y="1207098"/>
                </a:moveTo>
                <a:lnTo>
                  <a:pt x="480478" y="1210322"/>
                </a:lnTo>
                <a:lnTo>
                  <a:pt x="470805" y="1213547"/>
                </a:lnTo>
                <a:lnTo>
                  <a:pt x="467580" y="1213547"/>
                </a:lnTo>
                <a:lnTo>
                  <a:pt x="464356" y="1210322"/>
                </a:lnTo>
                <a:close/>
                <a:moveTo>
                  <a:pt x="41920" y="1207098"/>
                </a:moveTo>
                <a:lnTo>
                  <a:pt x="48370" y="1213547"/>
                </a:lnTo>
                <a:lnTo>
                  <a:pt x="51594" y="1226446"/>
                </a:lnTo>
                <a:lnTo>
                  <a:pt x="48370" y="1229671"/>
                </a:lnTo>
                <a:lnTo>
                  <a:pt x="35471" y="1236119"/>
                </a:lnTo>
                <a:lnTo>
                  <a:pt x="25798" y="1229671"/>
                </a:lnTo>
                <a:lnTo>
                  <a:pt x="12898" y="1223221"/>
                </a:lnTo>
                <a:lnTo>
                  <a:pt x="16123" y="1216772"/>
                </a:lnTo>
                <a:close/>
                <a:moveTo>
                  <a:pt x="2192790" y="1203872"/>
                </a:moveTo>
                <a:lnTo>
                  <a:pt x="2192790" y="1210321"/>
                </a:lnTo>
                <a:lnTo>
                  <a:pt x="2183116" y="1216771"/>
                </a:lnTo>
                <a:lnTo>
                  <a:pt x="2183116" y="1207097"/>
                </a:lnTo>
                <a:close/>
                <a:moveTo>
                  <a:pt x="3653579" y="1197424"/>
                </a:moveTo>
                <a:lnTo>
                  <a:pt x="3653579" y="1203872"/>
                </a:lnTo>
                <a:lnTo>
                  <a:pt x="3653579" y="1210322"/>
                </a:lnTo>
                <a:lnTo>
                  <a:pt x="3656803" y="1207098"/>
                </a:lnTo>
                <a:lnTo>
                  <a:pt x="3660027" y="1210322"/>
                </a:lnTo>
                <a:lnTo>
                  <a:pt x="3656803" y="1219996"/>
                </a:lnTo>
                <a:lnTo>
                  <a:pt x="3653579" y="1232895"/>
                </a:lnTo>
                <a:lnTo>
                  <a:pt x="3653579" y="1229670"/>
                </a:lnTo>
                <a:lnTo>
                  <a:pt x="3650353" y="1216772"/>
                </a:lnTo>
                <a:lnTo>
                  <a:pt x="3650353" y="1219996"/>
                </a:lnTo>
                <a:lnTo>
                  <a:pt x="3647129" y="1216772"/>
                </a:lnTo>
                <a:lnTo>
                  <a:pt x="3650353" y="1213546"/>
                </a:lnTo>
                <a:lnTo>
                  <a:pt x="3650353" y="1207098"/>
                </a:lnTo>
                <a:lnTo>
                  <a:pt x="3647129" y="1207098"/>
                </a:lnTo>
                <a:close/>
                <a:moveTo>
                  <a:pt x="3663253" y="1190974"/>
                </a:moveTo>
                <a:lnTo>
                  <a:pt x="3663253" y="1197424"/>
                </a:lnTo>
                <a:lnTo>
                  <a:pt x="3660027" y="1197424"/>
                </a:lnTo>
                <a:close/>
                <a:moveTo>
                  <a:pt x="2247611" y="1152277"/>
                </a:moveTo>
                <a:lnTo>
                  <a:pt x="2250836" y="1152277"/>
                </a:lnTo>
                <a:lnTo>
                  <a:pt x="2263735" y="1152277"/>
                </a:lnTo>
                <a:lnTo>
                  <a:pt x="2263735" y="1161952"/>
                </a:lnTo>
                <a:lnTo>
                  <a:pt x="2260510" y="1168400"/>
                </a:lnTo>
                <a:lnTo>
                  <a:pt x="2247611" y="1155502"/>
                </a:lnTo>
                <a:close/>
                <a:moveTo>
                  <a:pt x="3524592" y="1123255"/>
                </a:moveTo>
                <a:lnTo>
                  <a:pt x="3534266" y="1139378"/>
                </a:lnTo>
                <a:lnTo>
                  <a:pt x="3524592" y="1129703"/>
                </a:lnTo>
                <a:close/>
                <a:moveTo>
                  <a:pt x="1938041" y="1116805"/>
                </a:moveTo>
                <a:lnTo>
                  <a:pt x="1944490" y="1126479"/>
                </a:lnTo>
                <a:lnTo>
                  <a:pt x="1938041" y="1145828"/>
                </a:lnTo>
                <a:lnTo>
                  <a:pt x="1931592" y="1149052"/>
                </a:lnTo>
                <a:lnTo>
                  <a:pt x="1925142" y="1142603"/>
                </a:lnTo>
                <a:lnTo>
                  <a:pt x="1925142" y="1129704"/>
                </a:lnTo>
                <a:lnTo>
                  <a:pt x="1931592" y="1120030"/>
                </a:lnTo>
                <a:close/>
                <a:moveTo>
                  <a:pt x="2263735" y="1110356"/>
                </a:moveTo>
                <a:lnTo>
                  <a:pt x="2270185" y="1110356"/>
                </a:lnTo>
                <a:lnTo>
                  <a:pt x="2260510" y="1116805"/>
                </a:lnTo>
                <a:lnTo>
                  <a:pt x="2257285" y="1116805"/>
                </a:lnTo>
                <a:lnTo>
                  <a:pt x="2260510" y="1113581"/>
                </a:lnTo>
                <a:close/>
                <a:moveTo>
                  <a:pt x="2121849" y="1094232"/>
                </a:moveTo>
                <a:lnTo>
                  <a:pt x="2134747" y="1100682"/>
                </a:lnTo>
                <a:lnTo>
                  <a:pt x="2141196" y="1110356"/>
                </a:lnTo>
                <a:lnTo>
                  <a:pt x="2131523" y="1110356"/>
                </a:lnTo>
                <a:lnTo>
                  <a:pt x="2121849" y="1100682"/>
                </a:lnTo>
                <a:close/>
                <a:moveTo>
                  <a:pt x="1883221" y="1091008"/>
                </a:moveTo>
                <a:lnTo>
                  <a:pt x="1886446" y="1094232"/>
                </a:lnTo>
                <a:lnTo>
                  <a:pt x="1886446" y="1103906"/>
                </a:lnTo>
                <a:lnTo>
                  <a:pt x="1876772" y="1110356"/>
                </a:lnTo>
                <a:lnTo>
                  <a:pt x="1867098" y="1123255"/>
                </a:lnTo>
                <a:lnTo>
                  <a:pt x="1850974" y="1129704"/>
                </a:lnTo>
                <a:lnTo>
                  <a:pt x="1847750" y="1126479"/>
                </a:lnTo>
                <a:lnTo>
                  <a:pt x="1841300" y="1116805"/>
                </a:lnTo>
                <a:lnTo>
                  <a:pt x="1847750" y="1107131"/>
                </a:lnTo>
                <a:lnTo>
                  <a:pt x="1850974" y="1097457"/>
                </a:lnTo>
                <a:lnTo>
                  <a:pt x="1860648" y="1097457"/>
                </a:lnTo>
                <a:lnTo>
                  <a:pt x="1870322" y="1094232"/>
                </a:lnTo>
                <a:close/>
                <a:moveTo>
                  <a:pt x="1960614" y="1068435"/>
                </a:moveTo>
                <a:lnTo>
                  <a:pt x="1983187" y="1078108"/>
                </a:lnTo>
                <a:lnTo>
                  <a:pt x="1970287" y="1084558"/>
                </a:lnTo>
                <a:lnTo>
                  <a:pt x="1963839" y="1074884"/>
                </a:lnTo>
                <a:close/>
                <a:moveTo>
                  <a:pt x="3872858" y="1058762"/>
                </a:moveTo>
                <a:lnTo>
                  <a:pt x="3879308" y="1058762"/>
                </a:lnTo>
                <a:lnTo>
                  <a:pt x="3882532" y="1061986"/>
                </a:lnTo>
                <a:lnTo>
                  <a:pt x="3863184" y="1065210"/>
                </a:lnTo>
                <a:close/>
                <a:moveTo>
                  <a:pt x="2270185" y="1058761"/>
                </a:moveTo>
                <a:lnTo>
                  <a:pt x="2273409" y="1058761"/>
                </a:lnTo>
                <a:lnTo>
                  <a:pt x="2279859" y="1074884"/>
                </a:lnTo>
                <a:lnTo>
                  <a:pt x="2270185" y="1065210"/>
                </a:lnTo>
                <a:close/>
                <a:moveTo>
                  <a:pt x="1983187" y="1058761"/>
                </a:moveTo>
                <a:lnTo>
                  <a:pt x="2002534" y="1065210"/>
                </a:lnTo>
                <a:lnTo>
                  <a:pt x="2002534" y="1068435"/>
                </a:lnTo>
                <a:lnTo>
                  <a:pt x="1992861" y="1068435"/>
                </a:lnTo>
                <a:close/>
                <a:moveTo>
                  <a:pt x="2789361" y="994267"/>
                </a:moveTo>
                <a:lnTo>
                  <a:pt x="2792587" y="994267"/>
                </a:lnTo>
                <a:lnTo>
                  <a:pt x="2802261" y="1013614"/>
                </a:lnTo>
                <a:lnTo>
                  <a:pt x="2795811" y="1016840"/>
                </a:lnTo>
                <a:close/>
                <a:moveTo>
                  <a:pt x="3945415" y="958796"/>
                </a:moveTo>
                <a:lnTo>
                  <a:pt x="3951864" y="968470"/>
                </a:lnTo>
                <a:lnTo>
                  <a:pt x="3942190" y="978144"/>
                </a:lnTo>
                <a:close/>
                <a:moveTo>
                  <a:pt x="2857080" y="945896"/>
                </a:moveTo>
                <a:lnTo>
                  <a:pt x="2866755" y="955570"/>
                </a:lnTo>
                <a:lnTo>
                  <a:pt x="2857080" y="965244"/>
                </a:lnTo>
                <a:lnTo>
                  <a:pt x="2850631" y="955570"/>
                </a:lnTo>
                <a:close/>
                <a:moveTo>
                  <a:pt x="1805829" y="939448"/>
                </a:moveTo>
                <a:lnTo>
                  <a:pt x="1812278" y="945896"/>
                </a:lnTo>
                <a:lnTo>
                  <a:pt x="1818727" y="955571"/>
                </a:lnTo>
                <a:lnTo>
                  <a:pt x="1821953" y="962020"/>
                </a:lnTo>
                <a:lnTo>
                  <a:pt x="1831626" y="971693"/>
                </a:lnTo>
                <a:lnTo>
                  <a:pt x="1857424" y="991042"/>
                </a:lnTo>
                <a:lnTo>
                  <a:pt x="1867098" y="1000716"/>
                </a:lnTo>
                <a:lnTo>
                  <a:pt x="1879997" y="1003940"/>
                </a:lnTo>
                <a:lnTo>
                  <a:pt x="1889671" y="1016840"/>
                </a:lnTo>
                <a:lnTo>
                  <a:pt x="1892895" y="1029739"/>
                </a:lnTo>
                <a:lnTo>
                  <a:pt x="1889671" y="1036188"/>
                </a:lnTo>
                <a:lnTo>
                  <a:pt x="1886446" y="1036188"/>
                </a:lnTo>
                <a:lnTo>
                  <a:pt x="1886446" y="1039413"/>
                </a:lnTo>
                <a:lnTo>
                  <a:pt x="1905794" y="1036188"/>
                </a:lnTo>
                <a:lnTo>
                  <a:pt x="1905794" y="1032963"/>
                </a:lnTo>
                <a:lnTo>
                  <a:pt x="1912243" y="1036188"/>
                </a:lnTo>
                <a:lnTo>
                  <a:pt x="1925142" y="1049087"/>
                </a:lnTo>
                <a:lnTo>
                  <a:pt x="1905794" y="1065210"/>
                </a:lnTo>
                <a:lnTo>
                  <a:pt x="1892895" y="1061985"/>
                </a:lnTo>
                <a:lnTo>
                  <a:pt x="1879997" y="1055536"/>
                </a:lnTo>
                <a:lnTo>
                  <a:pt x="1873547" y="1055536"/>
                </a:lnTo>
                <a:lnTo>
                  <a:pt x="1873547" y="1049087"/>
                </a:lnTo>
                <a:lnTo>
                  <a:pt x="1870322" y="1039413"/>
                </a:lnTo>
                <a:lnTo>
                  <a:pt x="1863873" y="1032963"/>
                </a:lnTo>
                <a:lnTo>
                  <a:pt x="1850974" y="1032963"/>
                </a:lnTo>
                <a:lnTo>
                  <a:pt x="1847750" y="1036188"/>
                </a:lnTo>
                <a:lnTo>
                  <a:pt x="1847750" y="1042637"/>
                </a:lnTo>
                <a:lnTo>
                  <a:pt x="1847750" y="1052311"/>
                </a:lnTo>
                <a:lnTo>
                  <a:pt x="1838075" y="1061985"/>
                </a:lnTo>
                <a:lnTo>
                  <a:pt x="1815503" y="1081334"/>
                </a:lnTo>
                <a:lnTo>
                  <a:pt x="1805829" y="1081334"/>
                </a:lnTo>
                <a:lnTo>
                  <a:pt x="1802604" y="1052311"/>
                </a:lnTo>
                <a:lnTo>
                  <a:pt x="1789705" y="1058761"/>
                </a:lnTo>
                <a:lnTo>
                  <a:pt x="1770357" y="1061985"/>
                </a:lnTo>
                <a:lnTo>
                  <a:pt x="1776806" y="1045862"/>
                </a:lnTo>
                <a:lnTo>
                  <a:pt x="1780032" y="1039413"/>
                </a:lnTo>
                <a:lnTo>
                  <a:pt x="1789705" y="1029739"/>
                </a:lnTo>
                <a:lnTo>
                  <a:pt x="1789705" y="1016840"/>
                </a:lnTo>
                <a:lnTo>
                  <a:pt x="1789705" y="1000716"/>
                </a:lnTo>
                <a:lnTo>
                  <a:pt x="1792930" y="987817"/>
                </a:lnTo>
                <a:lnTo>
                  <a:pt x="1792930" y="974919"/>
                </a:lnTo>
                <a:close/>
                <a:moveTo>
                  <a:pt x="1821953" y="936222"/>
                </a:moveTo>
                <a:lnTo>
                  <a:pt x="1828401" y="952346"/>
                </a:lnTo>
                <a:lnTo>
                  <a:pt x="1821953" y="958795"/>
                </a:lnTo>
                <a:lnTo>
                  <a:pt x="1815503" y="942672"/>
                </a:lnTo>
                <a:close/>
                <a:moveTo>
                  <a:pt x="1831626" y="929773"/>
                </a:moveTo>
                <a:lnTo>
                  <a:pt x="1841300" y="936222"/>
                </a:lnTo>
                <a:lnTo>
                  <a:pt x="1854199" y="949121"/>
                </a:lnTo>
                <a:lnTo>
                  <a:pt x="1850974" y="955571"/>
                </a:lnTo>
                <a:lnTo>
                  <a:pt x="1844525" y="955571"/>
                </a:lnTo>
                <a:lnTo>
                  <a:pt x="1847750" y="949121"/>
                </a:lnTo>
                <a:lnTo>
                  <a:pt x="1841300" y="945896"/>
                </a:lnTo>
                <a:lnTo>
                  <a:pt x="1838075" y="942672"/>
                </a:lnTo>
                <a:lnTo>
                  <a:pt x="1831626" y="936222"/>
                </a:lnTo>
                <a:close/>
                <a:moveTo>
                  <a:pt x="3327885" y="907199"/>
                </a:moveTo>
                <a:lnTo>
                  <a:pt x="3337559" y="916874"/>
                </a:lnTo>
                <a:lnTo>
                  <a:pt x="3347234" y="926548"/>
                </a:lnTo>
                <a:lnTo>
                  <a:pt x="3353683" y="932997"/>
                </a:lnTo>
                <a:lnTo>
                  <a:pt x="3366582" y="949120"/>
                </a:lnTo>
                <a:lnTo>
                  <a:pt x="3369806" y="955570"/>
                </a:lnTo>
                <a:lnTo>
                  <a:pt x="3379481" y="955570"/>
                </a:lnTo>
                <a:lnTo>
                  <a:pt x="3382705" y="962020"/>
                </a:lnTo>
                <a:lnTo>
                  <a:pt x="3382705" y="978143"/>
                </a:lnTo>
                <a:lnTo>
                  <a:pt x="3379481" y="997491"/>
                </a:lnTo>
                <a:lnTo>
                  <a:pt x="3373031" y="1003940"/>
                </a:lnTo>
                <a:lnTo>
                  <a:pt x="3360132" y="1020064"/>
                </a:lnTo>
                <a:lnTo>
                  <a:pt x="3356908" y="1023288"/>
                </a:lnTo>
                <a:lnTo>
                  <a:pt x="3356908" y="1026514"/>
                </a:lnTo>
                <a:lnTo>
                  <a:pt x="3350458" y="1026514"/>
                </a:lnTo>
                <a:lnTo>
                  <a:pt x="3324661" y="1039412"/>
                </a:lnTo>
                <a:lnTo>
                  <a:pt x="3311762" y="1049087"/>
                </a:lnTo>
                <a:lnTo>
                  <a:pt x="3282740" y="1065210"/>
                </a:lnTo>
                <a:lnTo>
                  <a:pt x="3256942" y="1065210"/>
                </a:lnTo>
                <a:lnTo>
                  <a:pt x="3227920" y="1052311"/>
                </a:lnTo>
                <a:lnTo>
                  <a:pt x="3215022" y="1049087"/>
                </a:lnTo>
                <a:lnTo>
                  <a:pt x="3198898" y="1049087"/>
                </a:lnTo>
                <a:lnTo>
                  <a:pt x="3189224" y="1049087"/>
                </a:lnTo>
                <a:lnTo>
                  <a:pt x="3182775" y="1042637"/>
                </a:lnTo>
                <a:lnTo>
                  <a:pt x="3192448" y="1039412"/>
                </a:lnTo>
                <a:lnTo>
                  <a:pt x="3202122" y="1036188"/>
                </a:lnTo>
                <a:lnTo>
                  <a:pt x="3198898" y="1020064"/>
                </a:lnTo>
                <a:lnTo>
                  <a:pt x="3195673" y="1003940"/>
                </a:lnTo>
                <a:lnTo>
                  <a:pt x="3182775" y="997491"/>
                </a:lnTo>
                <a:lnTo>
                  <a:pt x="3169875" y="997491"/>
                </a:lnTo>
                <a:lnTo>
                  <a:pt x="3160201" y="1003940"/>
                </a:lnTo>
                <a:lnTo>
                  <a:pt x="3153752" y="994267"/>
                </a:lnTo>
                <a:lnTo>
                  <a:pt x="3160201" y="994267"/>
                </a:lnTo>
                <a:lnTo>
                  <a:pt x="3169875" y="991042"/>
                </a:lnTo>
                <a:lnTo>
                  <a:pt x="3179549" y="984593"/>
                </a:lnTo>
                <a:lnTo>
                  <a:pt x="3205347" y="965244"/>
                </a:lnTo>
                <a:lnTo>
                  <a:pt x="3185999" y="962020"/>
                </a:lnTo>
                <a:lnTo>
                  <a:pt x="3169875" y="962020"/>
                </a:lnTo>
                <a:lnTo>
                  <a:pt x="3156977" y="968469"/>
                </a:lnTo>
                <a:lnTo>
                  <a:pt x="3144078" y="962020"/>
                </a:lnTo>
                <a:lnTo>
                  <a:pt x="3160201" y="932997"/>
                </a:lnTo>
                <a:lnTo>
                  <a:pt x="3173101" y="916874"/>
                </a:lnTo>
                <a:lnTo>
                  <a:pt x="3185999" y="913649"/>
                </a:lnTo>
                <a:lnTo>
                  <a:pt x="3192448" y="920099"/>
                </a:lnTo>
                <a:lnTo>
                  <a:pt x="3198898" y="923323"/>
                </a:lnTo>
                <a:lnTo>
                  <a:pt x="3205347" y="926548"/>
                </a:lnTo>
                <a:lnTo>
                  <a:pt x="3215022" y="936222"/>
                </a:lnTo>
                <a:lnTo>
                  <a:pt x="3215022" y="945896"/>
                </a:lnTo>
                <a:lnTo>
                  <a:pt x="3221470" y="965244"/>
                </a:lnTo>
                <a:lnTo>
                  <a:pt x="3227920" y="955570"/>
                </a:lnTo>
                <a:lnTo>
                  <a:pt x="3231145" y="962020"/>
                </a:lnTo>
                <a:lnTo>
                  <a:pt x="3237594" y="955570"/>
                </a:lnTo>
                <a:lnTo>
                  <a:pt x="3237594" y="942672"/>
                </a:lnTo>
                <a:lnTo>
                  <a:pt x="3234369" y="929773"/>
                </a:lnTo>
                <a:lnTo>
                  <a:pt x="3240819" y="929773"/>
                </a:lnTo>
                <a:lnTo>
                  <a:pt x="3250493" y="949120"/>
                </a:lnTo>
                <a:lnTo>
                  <a:pt x="3253717" y="939447"/>
                </a:lnTo>
                <a:lnTo>
                  <a:pt x="3256942" y="932997"/>
                </a:lnTo>
                <a:lnTo>
                  <a:pt x="3260167" y="929773"/>
                </a:lnTo>
                <a:lnTo>
                  <a:pt x="3266616" y="926548"/>
                </a:lnTo>
                <a:lnTo>
                  <a:pt x="3273066" y="929773"/>
                </a:lnTo>
                <a:lnTo>
                  <a:pt x="3289190" y="926548"/>
                </a:lnTo>
                <a:lnTo>
                  <a:pt x="3292414" y="932997"/>
                </a:lnTo>
                <a:lnTo>
                  <a:pt x="3298863" y="929773"/>
                </a:lnTo>
                <a:lnTo>
                  <a:pt x="3308537" y="926548"/>
                </a:lnTo>
                <a:lnTo>
                  <a:pt x="3311762" y="929773"/>
                </a:lnTo>
                <a:lnTo>
                  <a:pt x="3314987" y="929773"/>
                </a:lnTo>
                <a:lnTo>
                  <a:pt x="3321437" y="926548"/>
                </a:lnTo>
                <a:lnTo>
                  <a:pt x="3321437" y="923323"/>
                </a:lnTo>
                <a:lnTo>
                  <a:pt x="3321437" y="916874"/>
                </a:lnTo>
                <a:close/>
                <a:moveTo>
                  <a:pt x="2054130" y="816909"/>
                </a:moveTo>
                <a:lnTo>
                  <a:pt x="2067029" y="823358"/>
                </a:lnTo>
                <a:lnTo>
                  <a:pt x="2073478" y="826583"/>
                </a:lnTo>
                <a:lnTo>
                  <a:pt x="2073478" y="839481"/>
                </a:lnTo>
                <a:lnTo>
                  <a:pt x="2060579" y="836257"/>
                </a:lnTo>
                <a:lnTo>
                  <a:pt x="2044455" y="829807"/>
                </a:lnTo>
                <a:close/>
                <a:moveTo>
                  <a:pt x="3977662" y="807235"/>
                </a:moveTo>
                <a:lnTo>
                  <a:pt x="3990560" y="810459"/>
                </a:lnTo>
                <a:lnTo>
                  <a:pt x="3984111" y="816909"/>
                </a:lnTo>
                <a:lnTo>
                  <a:pt x="3977662" y="820134"/>
                </a:lnTo>
                <a:close/>
                <a:moveTo>
                  <a:pt x="1780031" y="807235"/>
                </a:moveTo>
                <a:lnTo>
                  <a:pt x="1786480" y="813684"/>
                </a:lnTo>
                <a:lnTo>
                  <a:pt x="1786480" y="836257"/>
                </a:lnTo>
                <a:lnTo>
                  <a:pt x="1776805" y="829807"/>
                </a:lnTo>
                <a:close/>
                <a:moveTo>
                  <a:pt x="2018658" y="804010"/>
                </a:moveTo>
                <a:lnTo>
                  <a:pt x="2031557" y="807235"/>
                </a:lnTo>
                <a:lnTo>
                  <a:pt x="2038007" y="816909"/>
                </a:lnTo>
                <a:lnTo>
                  <a:pt x="2034781" y="833033"/>
                </a:lnTo>
                <a:lnTo>
                  <a:pt x="2038007" y="852380"/>
                </a:lnTo>
                <a:lnTo>
                  <a:pt x="2025108" y="862054"/>
                </a:lnTo>
                <a:lnTo>
                  <a:pt x="2008984" y="868504"/>
                </a:lnTo>
                <a:lnTo>
                  <a:pt x="1996086" y="868504"/>
                </a:lnTo>
                <a:lnTo>
                  <a:pt x="1992861" y="865279"/>
                </a:lnTo>
                <a:lnTo>
                  <a:pt x="1989636" y="855605"/>
                </a:lnTo>
                <a:lnTo>
                  <a:pt x="1986411" y="842706"/>
                </a:lnTo>
                <a:lnTo>
                  <a:pt x="1989636" y="833033"/>
                </a:lnTo>
                <a:lnTo>
                  <a:pt x="1999310" y="810459"/>
                </a:lnTo>
                <a:close/>
                <a:moveTo>
                  <a:pt x="4009909" y="797561"/>
                </a:moveTo>
                <a:lnTo>
                  <a:pt x="4000235" y="810459"/>
                </a:lnTo>
                <a:lnTo>
                  <a:pt x="3993785" y="816909"/>
                </a:lnTo>
                <a:lnTo>
                  <a:pt x="3990560" y="816909"/>
                </a:lnTo>
                <a:lnTo>
                  <a:pt x="4000235" y="800785"/>
                </a:lnTo>
                <a:close/>
                <a:moveTo>
                  <a:pt x="1380168" y="791112"/>
                </a:moveTo>
                <a:lnTo>
                  <a:pt x="1386618" y="791112"/>
                </a:lnTo>
                <a:lnTo>
                  <a:pt x="1389842" y="800785"/>
                </a:lnTo>
                <a:close/>
                <a:moveTo>
                  <a:pt x="1954164" y="784662"/>
                </a:moveTo>
                <a:lnTo>
                  <a:pt x="1960614" y="787886"/>
                </a:lnTo>
                <a:lnTo>
                  <a:pt x="1957389" y="794336"/>
                </a:lnTo>
                <a:lnTo>
                  <a:pt x="1954164" y="797560"/>
                </a:lnTo>
                <a:lnTo>
                  <a:pt x="1950940" y="794336"/>
                </a:lnTo>
                <a:close/>
                <a:moveTo>
                  <a:pt x="2031557" y="781437"/>
                </a:moveTo>
                <a:lnTo>
                  <a:pt x="2041231" y="794336"/>
                </a:lnTo>
                <a:lnTo>
                  <a:pt x="2041231" y="804010"/>
                </a:lnTo>
                <a:lnTo>
                  <a:pt x="2038007" y="804010"/>
                </a:lnTo>
                <a:lnTo>
                  <a:pt x="2028332" y="794336"/>
                </a:lnTo>
                <a:close/>
                <a:moveTo>
                  <a:pt x="1444663" y="774988"/>
                </a:moveTo>
                <a:lnTo>
                  <a:pt x="1451113" y="778212"/>
                </a:lnTo>
                <a:lnTo>
                  <a:pt x="1438213" y="784662"/>
                </a:lnTo>
                <a:close/>
                <a:moveTo>
                  <a:pt x="4035706" y="768538"/>
                </a:moveTo>
                <a:lnTo>
                  <a:pt x="4042156" y="791112"/>
                </a:lnTo>
                <a:lnTo>
                  <a:pt x="4032481" y="800785"/>
                </a:lnTo>
                <a:lnTo>
                  <a:pt x="4026032" y="804010"/>
                </a:lnTo>
                <a:lnTo>
                  <a:pt x="4009909" y="807235"/>
                </a:lnTo>
                <a:lnTo>
                  <a:pt x="4019583" y="774988"/>
                </a:lnTo>
                <a:close/>
                <a:moveTo>
                  <a:pt x="4009909" y="762089"/>
                </a:moveTo>
                <a:lnTo>
                  <a:pt x="4016358" y="781438"/>
                </a:lnTo>
                <a:lnTo>
                  <a:pt x="4003459" y="784662"/>
                </a:lnTo>
                <a:lnTo>
                  <a:pt x="3997010" y="784662"/>
                </a:lnTo>
                <a:lnTo>
                  <a:pt x="3997010" y="774988"/>
                </a:lnTo>
                <a:lnTo>
                  <a:pt x="4003459" y="768538"/>
                </a:lnTo>
                <a:close/>
                <a:moveTo>
                  <a:pt x="1476910" y="762089"/>
                </a:moveTo>
                <a:lnTo>
                  <a:pt x="1483360" y="765313"/>
                </a:lnTo>
                <a:lnTo>
                  <a:pt x="1486584" y="778212"/>
                </a:lnTo>
                <a:lnTo>
                  <a:pt x="1476910" y="778212"/>
                </a:lnTo>
                <a:close/>
                <a:moveTo>
                  <a:pt x="4026032" y="749191"/>
                </a:moveTo>
                <a:lnTo>
                  <a:pt x="4035706" y="749191"/>
                </a:lnTo>
                <a:lnTo>
                  <a:pt x="4026032" y="765314"/>
                </a:lnTo>
                <a:lnTo>
                  <a:pt x="4019583" y="768538"/>
                </a:lnTo>
                <a:close/>
                <a:moveTo>
                  <a:pt x="1960614" y="739516"/>
                </a:moveTo>
                <a:lnTo>
                  <a:pt x="1967063" y="745965"/>
                </a:lnTo>
                <a:lnTo>
                  <a:pt x="1960614" y="762089"/>
                </a:lnTo>
                <a:lnTo>
                  <a:pt x="1944490" y="774988"/>
                </a:lnTo>
                <a:lnTo>
                  <a:pt x="1941266" y="768538"/>
                </a:lnTo>
                <a:lnTo>
                  <a:pt x="1947715" y="758864"/>
                </a:lnTo>
                <a:close/>
                <a:moveTo>
                  <a:pt x="4764487" y="736291"/>
                </a:moveTo>
                <a:lnTo>
                  <a:pt x="4780610" y="749191"/>
                </a:lnTo>
                <a:lnTo>
                  <a:pt x="4783836" y="755640"/>
                </a:lnTo>
                <a:lnTo>
                  <a:pt x="4780610" y="765314"/>
                </a:lnTo>
                <a:lnTo>
                  <a:pt x="4764487" y="774988"/>
                </a:lnTo>
                <a:lnTo>
                  <a:pt x="4754813" y="781438"/>
                </a:lnTo>
                <a:lnTo>
                  <a:pt x="4745139" y="781438"/>
                </a:lnTo>
                <a:lnTo>
                  <a:pt x="4738689" y="771764"/>
                </a:lnTo>
                <a:lnTo>
                  <a:pt x="4738689" y="758864"/>
                </a:lnTo>
                <a:lnTo>
                  <a:pt x="4741915" y="739517"/>
                </a:lnTo>
                <a:close/>
                <a:moveTo>
                  <a:pt x="1992861" y="736291"/>
                </a:moveTo>
                <a:lnTo>
                  <a:pt x="1999310" y="739516"/>
                </a:lnTo>
                <a:lnTo>
                  <a:pt x="1999310" y="749190"/>
                </a:lnTo>
                <a:lnTo>
                  <a:pt x="1989636" y="755639"/>
                </a:lnTo>
                <a:lnTo>
                  <a:pt x="1986411" y="745965"/>
                </a:lnTo>
                <a:close/>
                <a:moveTo>
                  <a:pt x="1580100" y="733067"/>
                </a:moveTo>
                <a:lnTo>
                  <a:pt x="1583324" y="736291"/>
                </a:lnTo>
                <a:lnTo>
                  <a:pt x="1580100" y="739516"/>
                </a:lnTo>
                <a:close/>
                <a:moveTo>
                  <a:pt x="4055054" y="729842"/>
                </a:moveTo>
                <a:lnTo>
                  <a:pt x="4071178" y="729842"/>
                </a:lnTo>
                <a:lnTo>
                  <a:pt x="4071178" y="739517"/>
                </a:lnTo>
                <a:lnTo>
                  <a:pt x="4067953" y="752415"/>
                </a:lnTo>
                <a:lnTo>
                  <a:pt x="4048604" y="758864"/>
                </a:lnTo>
                <a:lnTo>
                  <a:pt x="4051830" y="752415"/>
                </a:lnTo>
                <a:lnTo>
                  <a:pt x="4045380" y="745965"/>
                </a:lnTo>
                <a:lnTo>
                  <a:pt x="4045380" y="739517"/>
                </a:lnTo>
                <a:close/>
                <a:moveTo>
                  <a:pt x="1560751" y="729842"/>
                </a:moveTo>
                <a:lnTo>
                  <a:pt x="1570425" y="729842"/>
                </a:lnTo>
                <a:lnTo>
                  <a:pt x="1573650" y="729842"/>
                </a:lnTo>
                <a:lnTo>
                  <a:pt x="1573650" y="742741"/>
                </a:lnTo>
                <a:lnTo>
                  <a:pt x="1570425" y="742741"/>
                </a:lnTo>
                <a:close/>
                <a:moveTo>
                  <a:pt x="744903" y="729842"/>
                </a:moveTo>
                <a:lnTo>
                  <a:pt x="748128" y="729842"/>
                </a:lnTo>
                <a:lnTo>
                  <a:pt x="748128" y="736291"/>
                </a:lnTo>
                <a:lnTo>
                  <a:pt x="738455" y="749190"/>
                </a:lnTo>
                <a:lnTo>
                  <a:pt x="728780" y="758864"/>
                </a:lnTo>
                <a:lnTo>
                  <a:pt x="712657" y="765313"/>
                </a:lnTo>
                <a:lnTo>
                  <a:pt x="702982" y="758864"/>
                </a:lnTo>
                <a:lnTo>
                  <a:pt x="702982" y="749190"/>
                </a:lnTo>
                <a:lnTo>
                  <a:pt x="706208" y="742741"/>
                </a:lnTo>
                <a:lnTo>
                  <a:pt x="722331" y="736291"/>
                </a:lnTo>
                <a:lnTo>
                  <a:pt x="732005" y="733067"/>
                </a:lnTo>
                <a:close/>
                <a:moveTo>
                  <a:pt x="1580100" y="726618"/>
                </a:moveTo>
                <a:lnTo>
                  <a:pt x="1589774" y="729842"/>
                </a:lnTo>
                <a:lnTo>
                  <a:pt x="1589774" y="736291"/>
                </a:lnTo>
                <a:lnTo>
                  <a:pt x="1586548" y="745965"/>
                </a:lnTo>
                <a:lnTo>
                  <a:pt x="1583324" y="745965"/>
                </a:lnTo>
                <a:lnTo>
                  <a:pt x="1586548" y="739516"/>
                </a:lnTo>
                <a:lnTo>
                  <a:pt x="1583324" y="729842"/>
                </a:lnTo>
                <a:lnTo>
                  <a:pt x="1580100" y="733067"/>
                </a:lnTo>
                <a:close/>
                <a:moveTo>
                  <a:pt x="1973513" y="720168"/>
                </a:moveTo>
                <a:lnTo>
                  <a:pt x="1967063" y="729842"/>
                </a:lnTo>
                <a:lnTo>
                  <a:pt x="1960614" y="736291"/>
                </a:lnTo>
                <a:lnTo>
                  <a:pt x="1954164" y="736291"/>
                </a:lnTo>
                <a:lnTo>
                  <a:pt x="1960614" y="723392"/>
                </a:lnTo>
                <a:close/>
                <a:moveTo>
                  <a:pt x="1528504" y="716944"/>
                </a:moveTo>
                <a:lnTo>
                  <a:pt x="1544627" y="716944"/>
                </a:lnTo>
                <a:lnTo>
                  <a:pt x="1563975" y="736291"/>
                </a:lnTo>
                <a:lnTo>
                  <a:pt x="1580100" y="758864"/>
                </a:lnTo>
                <a:lnTo>
                  <a:pt x="1586548" y="774988"/>
                </a:lnTo>
                <a:lnTo>
                  <a:pt x="1596222" y="774988"/>
                </a:lnTo>
                <a:lnTo>
                  <a:pt x="1589774" y="781437"/>
                </a:lnTo>
                <a:lnTo>
                  <a:pt x="1586548" y="778212"/>
                </a:lnTo>
                <a:lnTo>
                  <a:pt x="1583324" y="781437"/>
                </a:lnTo>
                <a:lnTo>
                  <a:pt x="1570425" y="794336"/>
                </a:lnTo>
                <a:lnTo>
                  <a:pt x="1560751" y="797560"/>
                </a:lnTo>
                <a:lnTo>
                  <a:pt x="1544627" y="791112"/>
                </a:lnTo>
                <a:lnTo>
                  <a:pt x="1534953" y="781437"/>
                </a:lnTo>
                <a:lnTo>
                  <a:pt x="1518830" y="774988"/>
                </a:lnTo>
                <a:lnTo>
                  <a:pt x="1502706" y="771763"/>
                </a:lnTo>
                <a:lnTo>
                  <a:pt x="1499482" y="765313"/>
                </a:lnTo>
                <a:lnTo>
                  <a:pt x="1499482" y="758864"/>
                </a:lnTo>
                <a:lnTo>
                  <a:pt x="1512380" y="755639"/>
                </a:lnTo>
                <a:lnTo>
                  <a:pt x="1525280" y="745965"/>
                </a:lnTo>
                <a:lnTo>
                  <a:pt x="1522054" y="729842"/>
                </a:lnTo>
                <a:close/>
                <a:moveTo>
                  <a:pt x="1934816" y="713718"/>
                </a:moveTo>
                <a:lnTo>
                  <a:pt x="1941266" y="720168"/>
                </a:lnTo>
                <a:lnTo>
                  <a:pt x="1938041" y="726618"/>
                </a:lnTo>
                <a:lnTo>
                  <a:pt x="1928366" y="729842"/>
                </a:lnTo>
                <a:lnTo>
                  <a:pt x="1912243" y="720168"/>
                </a:lnTo>
                <a:lnTo>
                  <a:pt x="1918693" y="716944"/>
                </a:lnTo>
                <a:lnTo>
                  <a:pt x="1931592" y="716944"/>
                </a:lnTo>
                <a:lnTo>
                  <a:pt x="1934816" y="716944"/>
                </a:lnTo>
                <a:close/>
                <a:moveTo>
                  <a:pt x="4084077" y="707270"/>
                </a:moveTo>
                <a:lnTo>
                  <a:pt x="4090525" y="707270"/>
                </a:lnTo>
                <a:lnTo>
                  <a:pt x="4093751" y="710494"/>
                </a:lnTo>
                <a:lnTo>
                  <a:pt x="4087301" y="726618"/>
                </a:lnTo>
                <a:lnTo>
                  <a:pt x="4077627" y="729842"/>
                </a:lnTo>
                <a:lnTo>
                  <a:pt x="4071178" y="723393"/>
                </a:lnTo>
                <a:close/>
                <a:moveTo>
                  <a:pt x="2560408" y="707269"/>
                </a:moveTo>
                <a:lnTo>
                  <a:pt x="2570083" y="713718"/>
                </a:lnTo>
                <a:lnTo>
                  <a:pt x="2563633" y="726616"/>
                </a:lnTo>
                <a:lnTo>
                  <a:pt x="2560408" y="733066"/>
                </a:lnTo>
                <a:lnTo>
                  <a:pt x="2553959" y="723392"/>
                </a:lnTo>
                <a:close/>
                <a:moveTo>
                  <a:pt x="4106649" y="694370"/>
                </a:moveTo>
                <a:lnTo>
                  <a:pt x="4113098" y="697596"/>
                </a:lnTo>
                <a:lnTo>
                  <a:pt x="4109874" y="704044"/>
                </a:lnTo>
                <a:lnTo>
                  <a:pt x="4100200" y="710494"/>
                </a:lnTo>
                <a:lnTo>
                  <a:pt x="4093751" y="704044"/>
                </a:lnTo>
                <a:lnTo>
                  <a:pt x="4093751" y="697596"/>
                </a:lnTo>
                <a:close/>
                <a:moveTo>
                  <a:pt x="1767132" y="694370"/>
                </a:moveTo>
                <a:lnTo>
                  <a:pt x="1770357" y="694370"/>
                </a:lnTo>
                <a:lnTo>
                  <a:pt x="1786481" y="700820"/>
                </a:lnTo>
                <a:lnTo>
                  <a:pt x="1776806" y="704044"/>
                </a:lnTo>
                <a:close/>
                <a:moveTo>
                  <a:pt x="4109874" y="684697"/>
                </a:moveTo>
                <a:lnTo>
                  <a:pt x="4122772" y="694370"/>
                </a:lnTo>
                <a:lnTo>
                  <a:pt x="4116324" y="697596"/>
                </a:lnTo>
                <a:close/>
                <a:moveTo>
                  <a:pt x="2492690" y="681471"/>
                </a:moveTo>
                <a:lnTo>
                  <a:pt x="2515263" y="687920"/>
                </a:lnTo>
                <a:lnTo>
                  <a:pt x="2528162" y="710493"/>
                </a:lnTo>
                <a:lnTo>
                  <a:pt x="2541060" y="713718"/>
                </a:lnTo>
                <a:lnTo>
                  <a:pt x="2544285" y="726616"/>
                </a:lnTo>
                <a:lnTo>
                  <a:pt x="2541060" y="733066"/>
                </a:lnTo>
                <a:lnTo>
                  <a:pt x="2515263" y="745964"/>
                </a:lnTo>
                <a:lnTo>
                  <a:pt x="2492690" y="739516"/>
                </a:lnTo>
                <a:lnTo>
                  <a:pt x="2476566" y="723392"/>
                </a:lnTo>
                <a:lnTo>
                  <a:pt x="2479791" y="716943"/>
                </a:lnTo>
                <a:lnTo>
                  <a:pt x="2486240" y="704043"/>
                </a:lnTo>
                <a:lnTo>
                  <a:pt x="2479791" y="687920"/>
                </a:lnTo>
                <a:close/>
                <a:moveTo>
                  <a:pt x="4977317" y="668572"/>
                </a:moveTo>
                <a:lnTo>
                  <a:pt x="5006340" y="700819"/>
                </a:lnTo>
                <a:lnTo>
                  <a:pt x="5009564" y="710493"/>
                </a:lnTo>
                <a:lnTo>
                  <a:pt x="5003114" y="716943"/>
                </a:lnTo>
                <a:lnTo>
                  <a:pt x="4990216" y="716943"/>
                </a:lnTo>
                <a:lnTo>
                  <a:pt x="4986991" y="713718"/>
                </a:lnTo>
                <a:lnTo>
                  <a:pt x="4986991" y="710493"/>
                </a:lnTo>
                <a:lnTo>
                  <a:pt x="4974093" y="704043"/>
                </a:lnTo>
                <a:lnTo>
                  <a:pt x="4964418" y="694369"/>
                </a:lnTo>
                <a:lnTo>
                  <a:pt x="4961193" y="681471"/>
                </a:lnTo>
                <a:lnTo>
                  <a:pt x="4967643" y="675022"/>
                </a:lnTo>
                <a:close/>
                <a:moveTo>
                  <a:pt x="4196940" y="662123"/>
                </a:moveTo>
                <a:lnTo>
                  <a:pt x="4196940" y="678247"/>
                </a:lnTo>
                <a:lnTo>
                  <a:pt x="4187266" y="684697"/>
                </a:lnTo>
                <a:lnTo>
                  <a:pt x="4180817" y="675023"/>
                </a:lnTo>
                <a:lnTo>
                  <a:pt x="4190492" y="665349"/>
                </a:lnTo>
                <a:close/>
                <a:moveTo>
                  <a:pt x="4171143" y="655674"/>
                </a:moveTo>
                <a:lnTo>
                  <a:pt x="4177593" y="658899"/>
                </a:lnTo>
                <a:lnTo>
                  <a:pt x="4164693" y="671797"/>
                </a:lnTo>
                <a:lnTo>
                  <a:pt x="4171143" y="662123"/>
                </a:lnTo>
                <a:close/>
                <a:moveTo>
                  <a:pt x="4200166" y="649225"/>
                </a:moveTo>
                <a:lnTo>
                  <a:pt x="4206615" y="652449"/>
                </a:lnTo>
                <a:lnTo>
                  <a:pt x="4200166" y="665349"/>
                </a:lnTo>
                <a:close/>
                <a:moveTo>
                  <a:pt x="3118280" y="633101"/>
                </a:moveTo>
                <a:lnTo>
                  <a:pt x="3124730" y="645999"/>
                </a:lnTo>
                <a:lnTo>
                  <a:pt x="3127954" y="658898"/>
                </a:lnTo>
                <a:lnTo>
                  <a:pt x="3115056" y="665348"/>
                </a:lnTo>
                <a:lnTo>
                  <a:pt x="3108607" y="665348"/>
                </a:lnTo>
                <a:lnTo>
                  <a:pt x="3102157" y="668572"/>
                </a:lnTo>
                <a:lnTo>
                  <a:pt x="3089258" y="668572"/>
                </a:lnTo>
                <a:lnTo>
                  <a:pt x="3073134" y="675022"/>
                </a:lnTo>
                <a:lnTo>
                  <a:pt x="3066686" y="665348"/>
                </a:lnTo>
                <a:lnTo>
                  <a:pt x="3079584" y="652449"/>
                </a:lnTo>
                <a:lnTo>
                  <a:pt x="3092483" y="642775"/>
                </a:lnTo>
                <a:close/>
                <a:moveTo>
                  <a:pt x="4238861" y="626652"/>
                </a:moveTo>
                <a:lnTo>
                  <a:pt x="4248536" y="626652"/>
                </a:lnTo>
                <a:lnTo>
                  <a:pt x="4251761" y="633102"/>
                </a:lnTo>
                <a:lnTo>
                  <a:pt x="4242087" y="636326"/>
                </a:lnTo>
                <a:close/>
                <a:moveTo>
                  <a:pt x="4828981" y="623427"/>
                </a:moveTo>
                <a:lnTo>
                  <a:pt x="4845104" y="626651"/>
                </a:lnTo>
                <a:lnTo>
                  <a:pt x="4841880" y="649224"/>
                </a:lnTo>
                <a:lnTo>
                  <a:pt x="4832205" y="629875"/>
                </a:lnTo>
                <a:lnTo>
                  <a:pt x="4825757" y="626651"/>
                </a:lnTo>
                <a:close/>
                <a:moveTo>
                  <a:pt x="2508813" y="616977"/>
                </a:moveTo>
                <a:lnTo>
                  <a:pt x="2512038" y="633101"/>
                </a:lnTo>
                <a:lnTo>
                  <a:pt x="2502363" y="633101"/>
                </a:lnTo>
                <a:lnTo>
                  <a:pt x="2499139" y="623427"/>
                </a:lnTo>
                <a:close/>
                <a:moveTo>
                  <a:pt x="2518487" y="613752"/>
                </a:moveTo>
                <a:lnTo>
                  <a:pt x="2528162" y="616977"/>
                </a:lnTo>
                <a:lnTo>
                  <a:pt x="2521712" y="629875"/>
                </a:lnTo>
                <a:lnTo>
                  <a:pt x="2515263" y="623427"/>
                </a:lnTo>
                <a:close/>
                <a:moveTo>
                  <a:pt x="2073478" y="594405"/>
                </a:moveTo>
                <a:lnTo>
                  <a:pt x="2076702" y="594405"/>
                </a:lnTo>
                <a:lnTo>
                  <a:pt x="2083152" y="597629"/>
                </a:lnTo>
                <a:lnTo>
                  <a:pt x="2083152" y="604079"/>
                </a:lnTo>
                <a:lnTo>
                  <a:pt x="2083152" y="610529"/>
                </a:lnTo>
                <a:lnTo>
                  <a:pt x="2073478" y="607303"/>
                </a:lnTo>
                <a:close/>
                <a:moveTo>
                  <a:pt x="1596222" y="568608"/>
                </a:moveTo>
                <a:lnTo>
                  <a:pt x="1605896" y="568608"/>
                </a:lnTo>
                <a:lnTo>
                  <a:pt x="1612346" y="575056"/>
                </a:lnTo>
                <a:lnTo>
                  <a:pt x="1609121" y="578281"/>
                </a:lnTo>
                <a:lnTo>
                  <a:pt x="1625245" y="581506"/>
                </a:lnTo>
                <a:lnTo>
                  <a:pt x="1634919" y="597629"/>
                </a:lnTo>
                <a:lnTo>
                  <a:pt x="1644593" y="623427"/>
                </a:lnTo>
                <a:lnTo>
                  <a:pt x="1644593" y="646000"/>
                </a:lnTo>
                <a:lnTo>
                  <a:pt x="1641368" y="646000"/>
                </a:lnTo>
                <a:lnTo>
                  <a:pt x="1651042" y="652449"/>
                </a:lnTo>
                <a:lnTo>
                  <a:pt x="1660716" y="665348"/>
                </a:lnTo>
                <a:lnTo>
                  <a:pt x="1676840" y="691145"/>
                </a:lnTo>
                <a:lnTo>
                  <a:pt x="1657492" y="710494"/>
                </a:lnTo>
                <a:lnTo>
                  <a:pt x="1654267" y="716944"/>
                </a:lnTo>
                <a:lnTo>
                  <a:pt x="1654267" y="723392"/>
                </a:lnTo>
                <a:lnTo>
                  <a:pt x="1663942" y="729842"/>
                </a:lnTo>
                <a:lnTo>
                  <a:pt x="1702637" y="736291"/>
                </a:lnTo>
                <a:lnTo>
                  <a:pt x="1696188" y="739516"/>
                </a:lnTo>
                <a:lnTo>
                  <a:pt x="1686514" y="749190"/>
                </a:lnTo>
                <a:lnTo>
                  <a:pt x="1699413" y="774988"/>
                </a:lnTo>
                <a:lnTo>
                  <a:pt x="1696188" y="774988"/>
                </a:lnTo>
                <a:lnTo>
                  <a:pt x="1699413" y="794336"/>
                </a:lnTo>
                <a:lnTo>
                  <a:pt x="1702637" y="807235"/>
                </a:lnTo>
                <a:lnTo>
                  <a:pt x="1709087" y="804010"/>
                </a:lnTo>
                <a:lnTo>
                  <a:pt x="1712311" y="794336"/>
                </a:lnTo>
                <a:lnTo>
                  <a:pt x="1715536" y="774988"/>
                </a:lnTo>
                <a:lnTo>
                  <a:pt x="1715536" y="765313"/>
                </a:lnTo>
                <a:lnTo>
                  <a:pt x="1721985" y="752415"/>
                </a:lnTo>
                <a:lnTo>
                  <a:pt x="1731660" y="749190"/>
                </a:lnTo>
                <a:lnTo>
                  <a:pt x="1747783" y="768538"/>
                </a:lnTo>
                <a:lnTo>
                  <a:pt x="1754232" y="781437"/>
                </a:lnTo>
                <a:lnTo>
                  <a:pt x="1754232" y="810459"/>
                </a:lnTo>
                <a:lnTo>
                  <a:pt x="1747783" y="813684"/>
                </a:lnTo>
                <a:lnTo>
                  <a:pt x="1744558" y="829807"/>
                </a:lnTo>
                <a:lnTo>
                  <a:pt x="1751008" y="842706"/>
                </a:lnTo>
                <a:lnTo>
                  <a:pt x="1754232" y="849156"/>
                </a:lnTo>
                <a:lnTo>
                  <a:pt x="1763907" y="858830"/>
                </a:lnTo>
                <a:lnTo>
                  <a:pt x="1763907" y="868504"/>
                </a:lnTo>
                <a:lnTo>
                  <a:pt x="1763907" y="874954"/>
                </a:lnTo>
                <a:lnTo>
                  <a:pt x="1776805" y="868504"/>
                </a:lnTo>
                <a:lnTo>
                  <a:pt x="1773581" y="862054"/>
                </a:lnTo>
                <a:lnTo>
                  <a:pt x="1780031" y="858830"/>
                </a:lnTo>
                <a:lnTo>
                  <a:pt x="1786480" y="862054"/>
                </a:lnTo>
                <a:lnTo>
                  <a:pt x="1786480" y="858830"/>
                </a:lnTo>
                <a:lnTo>
                  <a:pt x="1786480" y="852380"/>
                </a:lnTo>
                <a:lnTo>
                  <a:pt x="1786480" y="842706"/>
                </a:lnTo>
                <a:lnTo>
                  <a:pt x="1789704" y="836257"/>
                </a:lnTo>
                <a:lnTo>
                  <a:pt x="1796154" y="816909"/>
                </a:lnTo>
                <a:lnTo>
                  <a:pt x="1799378" y="800785"/>
                </a:lnTo>
                <a:lnTo>
                  <a:pt x="1809052" y="781437"/>
                </a:lnTo>
                <a:lnTo>
                  <a:pt x="1815502" y="781437"/>
                </a:lnTo>
                <a:lnTo>
                  <a:pt x="1815502" y="768538"/>
                </a:lnTo>
                <a:lnTo>
                  <a:pt x="1812277" y="755639"/>
                </a:lnTo>
                <a:lnTo>
                  <a:pt x="1805828" y="739516"/>
                </a:lnTo>
                <a:lnTo>
                  <a:pt x="1805828" y="712118"/>
                </a:lnTo>
                <a:lnTo>
                  <a:pt x="1805829" y="712118"/>
                </a:lnTo>
                <a:lnTo>
                  <a:pt x="1805829" y="710494"/>
                </a:lnTo>
                <a:lnTo>
                  <a:pt x="1825177" y="710494"/>
                </a:lnTo>
                <a:lnTo>
                  <a:pt x="1828915" y="711740"/>
                </a:lnTo>
                <a:lnTo>
                  <a:pt x="1834850" y="713718"/>
                </a:lnTo>
                <a:lnTo>
                  <a:pt x="1847749" y="720168"/>
                </a:lnTo>
                <a:lnTo>
                  <a:pt x="1857423" y="723392"/>
                </a:lnTo>
                <a:lnTo>
                  <a:pt x="1873546" y="733067"/>
                </a:lnTo>
                <a:lnTo>
                  <a:pt x="1886444" y="745965"/>
                </a:lnTo>
                <a:lnTo>
                  <a:pt x="1899344" y="752415"/>
                </a:lnTo>
                <a:lnTo>
                  <a:pt x="1899344" y="781437"/>
                </a:lnTo>
                <a:lnTo>
                  <a:pt x="1889670" y="797560"/>
                </a:lnTo>
                <a:lnTo>
                  <a:pt x="1883220" y="800785"/>
                </a:lnTo>
                <a:lnTo>
                  <a:pt x="1879996" y="794336"/>
                </a:lnTo>
                <a:lnTo>
                  <a:pt x="1873546" y="797560"/>
                </a:lnTo>
                <a:lnTo>
                  <a:pt x="1870321" y="800785"/>
                </a:lnTo>
                <a:lnTo>
                  <a:pt x="1879996" y="826583"/>
                </a:lnTo>
                <a:lnTo>
                  <a:pt x="1889670" y="839481"/>
                </a:lnTo>
                <a:lnTo>
                  <a:pt x="1899344" y="855605"/>
                </a:lnTo>
                <a:lnTo>
                  <a:pt x="1899344" y="868504"/>
                </a:lnTo>
                <a:lnTo>
                  <a:pt x="1896119" y="881403"/>
                </a:lnTo>
                <a:lnTo>
                  <a:pt x="1886444" y="884627"/>
                </a:lnTo>
                <a:lnTo>
                  <a:pt x="1879996" y="894301"/>
                </a:lnTo>
                <a:lnTo>
                  <a:pt x="1876771" y="897525"/>
                </a:lnTo>
                <a:lnTo>
                  <a:pt x="1860647" y="910425"/>
                </a:lnTo>
                <a:lnTo>
                  <a:pt x="1847749" y="913649"/>
                </a:lnTo>
                <a:lnTo>
                  <a:pt x="1847749" y="926548"/>
                </a:lnTo>
                <a:lnTo>
                  <a:pt x="1841299" y="926548"/>
                </a:lnTo>
                <a:lnTo>
                  <a:pt x="1828400" y="920099"/>
                </a:lnTo>
                <a:lnTo>
                  <a:pt x="1828400" y="923324"/>
                </a:lnTo>
                <a:lnTo>
                  <a:pt x="1812277" y="916874"/>
                </a:lnTo>
                <a:lnTo>
                  <a:pt x="1809052" y="910425"/>
                </a:lnTo>
                <a:lnTo>
                  <a:pt x="1799378" y="907200"/>
                </a:lnTo>
                <a:lnTo>
                  <a:pt x="1786480" y="907200"/>
                </a:lnTo>
                <a:lnTo>
                  <a:pt x="1780031" y="910425"/>
                </a:lnTo>
                <a:lnTo>
                  <a:pt x="1783255" y="920099"/>
                </a:lnTo>
                <a:lnTo>
                  <a:pt x="1792929" y="923324"/>
                </a:lnTo>
                <a:lnTo>
                  <a:pt x="1799378" y="926548"/>
                </a:lnTo>
                <a:lnTo>
                  <a:pt x="1796154" y="936222"/>
                </a:lnTo>
                <a:lnTo>
                  <a:pt x="1789704" y="942672"/>
                </a:lnTo>
                <a:lnTo>
                  <a:pt x="1783255" y="952346"/>
                </a:lnTo>
                <a:lnTo>
                  <a:pt x="1776805" y="962020"/>
                </a:lnTo>
                <a:lnTo>
                  <a:pt x="1770356" y="968469"/>
                </a:lnTo>
                <a:lnTo>
                  <a:pt x="1770356" y="974919"/>
                </a:lnTo>
                <a:lnTo>
                  <a:pt x="1773581" y="987817"/>
                </a:lnTo>
                <a:lnTo>
                  <a:pt x="1763907" y="1010390"/>
                </a:lnTo>
                <a:lnTo>
                  <a:pt x="1757457" y="1023289"/>
                </a:lnTo>
                <a:lnTo>
                  <a:pt x="1754232" y="1029739"/>
                </a:lnTo>
                <a:lnTo>
                  <a:pt x="1738109" y="1042637"/>
                </a:lnTo>
                <a:lnTo>
                  <a:pt x="1725210" y="1039413"/>
                </a:lnTo>
                <a:lnTo>
                  <a:pt x="1718761" y="1036188"/>
                </a:lnTo>
                <a:lnTo>
                  <a:pt x="1712311" y="1045862"/>
                </a:lnTo>
                <a:lnTo>
                  <a:pt x="1709087" y="1052311"/>
                </a:lnTo>
                <a:lnTo>
                  <a:pt x="1702637" y="1058761"/>
                </a:lnTo>
                <a:lnTo>
                  <a:pt x="1696188" y="1068435"/>
                </a:lnTo>
                <a:lnTo>
                  <a:pt x="1692963" y="1081334"/>
                </a:lnTo>
                <a:lnTo>
                  <a:pt x="1692963" y="1091008"/>
                </a:lnTo>
                <a:lnTo>
                  <a:pt x="1686514" y="1094232"/>
                </a:lnTo>
                <a:lnTo>
                  <a:pt x="1673616" y="1097457"/>
                </a:lnTo>
                <a:lnTo>
                  <a:pt x="1657492" y="1097457"/>
                </a:lnTo>
                <a:lnTo>
                  <a:pt x="1651042" y="1107131"/>
                </a:lnTo>
                <a:lnTo>
                  <a:pt x="1647818" y="1120030"/>
                </a:lnTo>
                <a:lnTo>
                  <a:pt x="1647818" y="1129704"/>
                </a:lnTo>
                <a:lnTo>
                  <a:pt x="1638143" y="1139378"/>
                </a:lnTo>
                <a:lnTo>
                  <a:pt x="1628469" y="1155502"/>
                </a:lnTo>
                <a:lnTo>
                  <a:pt x="1622020" y="1161952"/>
                </a:lnTo>
                <a:lnTo>
                  <a:pt x="1622020" y="1165176"/>
                </a:lnTo>
                <a:lnTo>
                  <a:pt x="1618795" y="1168400"/>
                </a:lnTo>
                <a:lnTo>
                  <a:pt x="1612346" y="1190973"/>
                </a:lnTo>
                <a:lnTo>
                  <a:pt x="1605896" y="1207097"/>
                </a:lnTo>
                <a:lnTo>
                  <a:pt x="1609121" y="1210321"/>
                </a:lnTo>
                <a:lnTo>
                  <a:pt x="1605896" y="1223220"/>
                </a:lnTo>
                <a:lnTo>
                  <a:pt x="1602672" y="1236119"/>
                </a:lnTo>
                <a:lnTo>
                  <a:pt x="1605896" y="1258692"/>
                </a:lnTo>
                <a:lnTo>
                  <a:pt x="1602672" y="1268365"/>
                </a:lnTo>
                <a:lnTo>
                  <a:pt x="1612346" y="1274815"/>
                </a:lnTo>
                <a:lnTo>
                  <a:pt x="1615571" y="1281265"/>
                </a:lnTo>
                <a:lnTo>
                  <a:pt x="1625245" y="1278040"/>
                </a:lnTo>
                <a:lnTo>
                  <a:pt x="1638143" y="1281265"/>
                </a:lnTo>
                <a:lnTo>
                  <a:pt x="1641368" y="1294164"/>
                </a:lnTo>
                <a:lnTo>
                  <a:pt x="1647818" y="1316736"/>
                </a:lnTo>
                <a:lnTo>
                  <a:pt x="1651042" y="1326410"/>
                </a:lnTo>
                <a:lnTo>
                  <a:pt x="1654267" y="1332860"/>
                </a:lnTo>
                <a:lnTo>
                  <a:pt x="1657492" y="1339309"/>
                </a:lnTo>
                <a:lnTo>
                  <a:pt x="1660716" y="1345759"/>
                </a:lnTo>
                <a:lnTo>
                  <a:pt x="1663942" y="1348983"/>
                </a:lnTo>
                <a:lnTo>
                  <a:pt x="1692963" y="1342533"/>
                </a:lnTo>
                <a:lnTo>
                  <a:pt x="1715536" y="1355433"/>
                </a:lnTo>
                <a:lnTo>
                  <a:pt x="1731660" y="1358657"/>
                </a:lnTo>
                <a:lnTo>
                  <a:pt x="1744558" y="1368332"/>
                </a:lnTo>
                <a:lnTo>
                  <a:pt x="1754232" y="1374780"/>
                </a:lnTo>
                <a:lnTo>
                  <a:pt x="1763907" y="1390904"/>
                </a:lnTo>
                <a:lnTo>
                  <a:pt x="1786480" y="1400578"/>
                </a:lnTo>
                <a:lnTo>
                  <a:pt x="1802603" y="1407027"/>
                </a:lnTo>
                <a:lnTo>
                  <a:pt x="1812277" y="1416701"/>
                </a:lnTo>
                <a:lnTo>
                  <a:pt x="1838074" y="1419927"/>
                </a:lnTo>
                <a:lnTo>
                  <a:pt x="1850973" y="1419927"/>
                </a:lnTo>
                <a:lnTo>
                  <a:pt x="1860647" y="1419927"/>
                </a:lnTo>
                <a:lnTo>
                  <a:pt x="1863872" y="1423151"/>
                </a:lnTo>
                <a:lnTo>
                  <a:pt x="1873546" y="1426376"/>
                </a:lnTo>
                <a:lnTo>
                  <a:pt x="1879996" y="1432825"/>
                </a:lnTo>
                <a:lnTo>
                  <a:pt x="1879996" y="1442500"/>
                </a:lnTo>
                <a:lnTo>
                  <a:pt x="1879996" y="1465072"/>
                </a:lnTo>
                <a:lnTo>
                  <a:pt x="1879996" y="1474746"/>
                </a:lnTo>
                <a:lnTo>
                  <a:pt x="1883220" y="1484421"/>
                </a:lnTo>
                <a:lnTo>
                  <a:pt x="1883220" y="1494095"/>
                </a:lnTo>
                <a:lnTo>
                  <a:pt x="1879996" y="1497319"/>
                </a:lnTo>
                <a:lnTo>
                  <a:pt x="1879996" y="1506993"/>
                </a:lnTo>
                <a:lnTo>
                  <a:pt x="1886444" y="1516668"/>
                </a:lnTo>
                <a:lnTo>
                  <a:pt x="1892894" y="1523116"/>
                </a:lnTo>
                <a:lnTo>
                  <a:pt x="1896119" y="1526342"/>
                </a:lnTo>
                <a:lnTo>
                  <a:pt x="1896119" y="1532791"/>
                </a:lnTo>
                <a:lnTo>
                  <a:pt x="1902568" y="1539240"/>
                </a:lnTo>
                <a:lnTo>
                  <a:pt x="1912242" y="1548914"/>
                </a:lnTo>
                <a:lnTo>
                  <a:pt x="1915467" y="1555363"/>
                </a:lnTo>
                <a:lnTo>
                  <a:pt x="1925141" y="1565037"/>
                </a:lnTo>
                <a:lnTo>
                  <a:pt x="1931591" y="1568263"/>
                </a:lnTo>
                <a:lnTo>
                  <a:pt x="1938040" y="1577937"/>
                </a:lnTo>
                <a:lnTo>
                  <a:pt x="1938040" y="1561813"/>
                </a:lnTo>
                <a:lnTo>
                  <a:pt x="1938040" y="1558589"/>
                </a:lnTo>
                <a:lnTo>
                  <a:pt x="1941265" y="1552139"/>
                </a:lnTo>
                <a:lnTo>
                  <a:pt x="1947714" y="1558589"/>
                </a:lnTo>
                <a:lnTo>
                  <a:pt x="1954164" y="1571487"/>
                </a:lnTo>
                <a:lnTo>
                  <a:pt x="1957388" y="1558589"/>
                </a:lnTo>
                <a:lnTo>
                  <a:pt x="1954164" y="1552139"/>
                </a:lnTo>
                <a:lnTo>
                  <a:pt x="1950939" y="1545689"/>
                </a:lnTo>
                <a:lnTo>
                  <a:pt x="1963838" y="1532791"/>
                </a:lnTo>
                <a:lnTo>
                  <a:pt x="1954164" y="1513442"/>
                </a:lnTo>
                <a:lnTo>
                  <a:pt x="1950939" y="1487645"/>
                </a:lnTo>
                <a:lnTo>
                  <a:pt x="1941265" y="1461848"/>
                </a:lnTo>
                <a:lnTo>
                  <a:pt x="1938040" y="1455398"/>
                </a:lnTo>
                <a:lnTo>
                  <a:pt x="1934815" y="1442500"/>
                </a:lnTo>
                <a:lnTo>
                  <a:pt x="1947714" y="1436050"/>
                </a:lnTo>
                <a:lnTo>
                  <a:pt x="1960612" y="1429601"/>
                </a:lnTo>
                <a:lnTo>
                  <a:pt x="1973512" y="1423151"/>
                </a:lnTo>
                <a:lnTo>
                  <a:pt x="1986410" y="1410253"/>
                </a:lnTo>
                <a:lnTo>
                  <a:pt x="1996085" y="1400578"/>
                </a:lnTo>
                <a:lnTo>
                  <a:pt x="2002533" y="1390904"/>
                </a:lnTo>
                <a:lnTo>
                  <a:pt x="2002533" y="1384455"/>
                </a:lnTo>
                <a:lnTo>
                  <a:pt x="2005759" y="1381230"/>
                </a:lnTo>
                <a:lnTo>
                  <a:pt x="2005759" y="1371556"/>
                </a:lnTo>
                <a:lnTo>
                  <a:pt x="2005759" y="1358657"/>
                </a:lnTo>
                <a:lnTo>
                  <a:pt x="2005759" y="1348983"/>
                </a:lnTo>
                <a:lnTo>
                  <a:pt x="2002533" y="1332860"/>
                </a:lnTo>
                <a:lnTo>
                  <a:pt x="1992860" y="1313512"/>
                </a:lnTo>
                <a:lnTo>
                  <a:pt x="1983186" y="1303838"/>
                </a:lnTo>
                <a:lnTo>
                  <a:pt x="1973512" y="1297388"/>
                </a:lnTo>
                <a:lnTo>
                  <a:pt x="1963838" y="1290939"/>
                </a:lnTo>
                <a:lnTo>
                  <a:pt x="1960612" y="1284489"/>
                </a:lnTo>
                <a:lnTo>
                  <a:pt x="1960612" y="1274815"/>
                </a:lnTo>
                <a:lnTo>
                  <a:pt x="1963838" y="1271591"/>
                </a:lnTo>
                <a:lnTo>
                  <a:pt x="1967062" y="1265141"/>
                </a:lnTo>
                <a:lnTo>
                  <a:pt x="1976736" y="1242568"/>
                </a:lnTo>
                <a:lnTo>
                  <a:pt x="1983186" y="1239344"/>
                </a:lnTo>
                <a:lnTo>
                  <a:pt x="1986410" y="1236119"/>
                </a:lnTo>
                <a:lnTo>
                  <a:pt x="1989635" y="1226445"/>
                </a:lnTo>
                <a:lnTo>
                  <a:pt x="1979961" y="1219996"/>
                </a:lnTo>
                <a:lnTo>
                  <a:pt x="1973512" y="1190973"/>
                </a:lnTo>
                <a:lnTo>
                  <a:pt x="1967062" y="1190973"/>
                </a:lnTo>
                <a:lnTo>
                  <a:pt x="1970286" y="1184523"/>
                </a:lnTo>
                <a:lnTo>
                  <a:pt x="1976736" y="1178074"/>
                </a:lnTo>
                <a:lnTo>
                  <a:pt x="1976736" y="1165176"/>
                </a:lnTo>
                <a:lnTo>
                  <a:pt x="1976736" y="1152277"/>
                </a:lnTo>
                <a:lnTo>
                  <a:pt x="1973512" y="1149052"/>
                </a:lnTo>
                <a:lnTo>
                  <a:pt x="1967062" y="1126479"/>
                </a:lnTo>
                <a:lnTo>
                  <a:pt x="1976736" y="1113581"/>
                </a:lnTo>
                <a:lnTo>
                  <a:pt x="1983186" y="1110356"/>
                </a:lnTo>
                <a:lnTo>
                  <a:pt x="1989635" y="1110356"/>
                </a:lnTo>
                <a:lnTo>
                  <a:pt x="2002533" y="1113581"/>
                </a:lnTo>
                <a:lnTo>
                  <a:pt x="2012208" y="1116805"/>
                </a:lnTo>
                <a:lnTo>
                  <a:pt x="2018657" y="1120030"/>
                </a:lnTo>
                <a:lnTo>
                  <a:pt x="2018657" y="1129704"/>
                </a:lnTo>
                <a:lnTo>
                  <a:pt x="2038006" y="1123255"/>
                </a:lnTo>
                <a:lnTo>
                  <a:pt x="2057354" y="1120030"/>
                </a:lnTo>
                <a:lnTo>
                  <a:pt x="2067027" y="1113581"/>
                </a:lnTo>
                <a:lnTo>
                  <a:pt x="2073477" y="1120030"/>
                </a:lnTo>
                <a:lnTo>
                  <a:pt x="2089601" y="1129704"/>
                </a:lnTo>
                <a:lnTo>
                  <a:pt x="2089601" y="1139378"/>
                </a:lnTo>
                <a:lnTo>
                  <a:pt x="2099274" y="1142603"/>
                </a:lnTo>
                <a:lnTo>
                  <a:pt x="2102499" y="1149052"/>
                </a:lnTo>
                <a:lnTo>
                  <a:pt x="2105724" y="1149052"/>
                </a:lnTo>
                <a:lnTo>
                  <a:pt x="2112174" y="1155502"/>
                </a:lnTo>
                <a:lnTo>
                  <a:pt x="2105724" y="1161952"/>
                </a:lnTo>
                <a:lnTo>
                  <a:pt x="2118622" y="1174850"/>
                </a:lnTo>
                <a:lnTo>
                  <a:pt x="2131521" y="1178074"/>
                </a:lnTo>
                <a:lnTo>
                  <a:pt x="2147645" y="1184523"/>
                </a:lnTo>
                <a:lnTo>
                  <a:pt x="2154095" y="1184523"/>
                </a:lnTo>
                <a:lnTo>
                  <a:pt x="2160543" y="1190973"/>
                </a:lnTo>
                <a:lnTo>
                  <a:pt x="2154095" y="1210321"/>
                </a:lnTo>
                <a:lnTo>
                  <a:pt x="2150869" y="1229670"/>
                </a:lnTo>
                <a:lnTo>
                  <a:pt x="2154095" y="1249018"/>
                </a:lnTo>
                <a:lnTo>
                  <a:pt x="2157319" y="1268365"/>
                </a:lnTo>
                <a:lnTo>
                  <a:pt x="2157319" y="1274815"/>
                </a:lnTo>
                <a:lnTo>
                  <a:pt x="2163769" y="1274815"/>
                </a:lnTo>
                <a:lnTo>
                  <a:pt x="2173442" y="1274815"/>
                </a:lnTo>
                <a:lnTo>
                  <a:pt x="2183116" y="1278040"/>
                </a:lnTo>
                <a:lnTo>
                  <a:pt x="2189566" y="1290939"/>
                </a:lnTo>
                <a:lnTo>
                  <a:pt x="2199240" y="1294164"/>
                </a:lnTo>
                <a:lnTo>
                  <a:pt x="2202465" y="1300612"/>
                </a:lnTo>
                <a:lnTo>
                  <a:pt x="2212139" y="1294164"/>
                </a:lnTo>
                <a:lnTo>
                  <a:pt x="2218589" y="1290939"/>
                </a:lnTo>
                <a:lnTo>
                  <a:pt x="2221813" y="1281265"/>
                </a:lnTo>
                <a:lnTo>
                  <a:pt x="2228263" y="1278040"/>
                </a:lnTo>
                <a:lnTo>
                  <a:pt x="2234711" y="1284489"/>
                </a:lnTo>
                <a:lnTo>
                  <a:pt x="2237937" y="1278040"/>
                </a:lnTo>
                <a:lnTo>
                  <a:pt x="2241161" y="1271591"/>
                </a:lnTo>
                <a:lnTo>
                  <a:pt x="2244386" y="1255467"/>
                </a:lnTo>
                <a:lnTo>
                  <a:pt x="2247610" y="1236119"/>
                </a:lnTo>
                <a:lnTo>
                  <a:pt x="2254060" y="1226445"/>
                </a:lnTo>
                <a:lnTo>
                  <a:pt x="2260510" y="1210321"/>
                </a:lnTo>
                <a:lnTo>
                  <a:pt x="2263734" y="1213546"/>
                </a:lnTo>
                <a:lnTo>
                  <a:pt x="2260510" y="1226445"/>
                </a:lnTo>
                <a:lnTo>
                  <a:pt x="2270184" y="1226445"/>
                </a:lnTo>
                <a:lnTo>
                  <a:pt x="2276632" y="1226445"/>
                </a:lnTo>
                <a:lnTo>
                  <a:pt x="2276632" y="1236119"/>
                </a:lnTo>
                <a:lnTo>
                  <a:pt x="2279857" y="1245793"/>
                </a:lnTo>
                <a:lnTo>
                  <a:pt x="2292756" y="1265141"/>
                </a:lnTo>
                <a:lnTo>
                  <a:pt x="2299205" y="1271591"/>
                </a:lnTo>
                <a:lnTo>
                  <a:pt x="2299205" y="1281265"/>
                </a:lnTo>
                <a:lnTo>
                  <a:pt x="2302431" y="1284489"/>
                </a:lnTo>
                <a:lnTo>
                  <a:pt x="2308879" y="1290939"/>
                </a:lnTo>
                <a:lnTo>
                  <a:pt x="2308879" y="1297388"/>
                </a:lnTo>
                <a:lnTo>
                  <a:pt x="2315329" y="1307062"/>
                </a:lnTo>
                <a:lnTo>
                  <a:pt x="2321778" y="1319961"/>
                </a:lnTo>
                <a:lnTo>
                  <a:pt x="2325003" y="1323186"/>
                </a:lnTo>
                <a:lnTo>
                  <a:pt x="2325003" y="1329635"/>
                </a:lnTo>
                <a:lnTo>
                  <a:pt x="2328228" y="1339309"/>
                </a:lnTo>
                <a:lnTo>
                  <a:pt x="2321778" y="1342533"/>
                </a:lnTo>
                <a:lnTo>
                  <a:pt x="2328228" y="1345759"/>
                </a:lnTo>
                <a:lnTo>
                  <a:pt x="2334677" y="1352208"/>
                </a:lnTo>
                <a:lnTo>
                  <a:pt x="2328228" y="1361882"/>
                </a:lnTo>
                <a:lnTo>
                  <a:pt x="2328228" y="1374780"/>
                </a:lnTo>
                <a:lnTo>
                  <a:pt x="2328228" y="1378006"/>
                </a:lnTo>
                <a:lnTo>
                  <a:pt x="2328228" y="1381230"/>
                </a:lnTo>
                <a:lnTo>
                  <a:pt x="2337902" y="1384455"/>
                </a:lnTo>
                <a:lnTo>
                  <a:pt x="2341126" y="1397354"/>
                </a:lnTo>
                <a:lnTo>
                  <a:pt x="2350800" y="1397354"/>
                </a:lnTo>
                <a:lnTo>
                  <a:pt x="2354025" y="1407027"/>
                </a:lnTo>
                <a:lnTo>
                  <a:pt x="2357250" y="1407027"/>
                </a:lnTo>
                <a:lnTo>
                  <a:pt x="2360475" y="1410253"/>
                </a:lnTo>
                <a:lnTo>
                  <a:pt x="2363699" y="1416701"/>
                </a:lnTo>
                <a:lnTo>
                  <a:pt x="2370149" y="1419927"/>
                </a:lnTo>
                <a:lnTo>
                  <a:pt x="2373373" y="1423151"/>
                </a:lnTo>
                <a:lnTo>
                  <a:pt x="2379823" y="1423151"/>
                </a:lnTo>
                <a:lnTo>
                  <a:pt x="2389497" y="1426376"/>
                </a:lnTo>
                <a:lnTo>
                  <a:pt x="2392722" y="1436050"/>
                </a:lnTo>
                <a:lnTo>
                  <a:pt x="2395946" y="1439274"/>
                </a:lnTo>
                <a:lnTo>
                  <a:pt x="2412070" y="1442500"/>
                </a:lnTo>
                <a:lnTo>
                  <a:pt x="2421744" y="1445724"/>
                </a:lnTo>
                <a:lnTo>
                  <a:pt x="2424968" y="1448948"/>
                </a:lnTo>
                <a:lnTo>
                  <a:pt x="2424968" y="1461848"/>
                </a:lnTo>
                <a:lnTo>
                  <a:pt x="2428193" y="1471522"/>
                </a:lnTo>
                <a:lnTo>
                  <a:pt x="2431418" y="1477971"/>
                </a:lnTo>
                <a:lnTo>
                  <a:pt x="2437867" y="1477971"/>
                </a:lnTo>
                <a:lnTo>
                  <a:pt x="2450767" y="1484421"/>
                </a:lnTo>
                <a:lnTo>
                  <a:pt x="2457215" y="1487645"/>
                </a:lnTo>
                <a:lnTo>
                  <a:pt x="2457215" y="1500544"/>
                </a:lnTo>
                <a:lnTo>
                  <a:pt x="2460440" y="1519892"/>
                </a:lnTo>
                <a:lnTo>
                  <a:pt x="2460440" y="1539240"/>
                </a:lnTo>
                <a:lnTo>
                  <a:pt x="2450767" y="1545689"/>
                </a:lnTo>
                <a:lnTo>
                  <a:pt x="2437867" y="1558589"/>
                </a:lnTo>
                <a:lnTo>
                  <a:pt x="2431418" y="1561813"/>
                </a:lnTo>
                <a:lnTo>
                  <a:pt x="2428193" y="1558589"/>
                </a:lnTo>
                <a:lnTo>
                  <a:pt x="2412070" y="1561813"/>
                </a:lnTo>
                <a:lnTo>
                  <a:pt x="2402396" y="1568263"/>
                </a:lnTo>
                <a:lnTo>
                  <a:pt x="2395946" y="1571487"/>
                </a:lnTo>
                <a:lnTo>
                  <a:pt x="2392722" y="1577937"/>
                </a:lnTo>
                <a:lnTo>
                  <a:pt x="2379823" y="1587611"/>
                </a:lnTo>
                <a:lnTo>
                  <a:pt x="2370149" y="1600511"/>
                </a:lnTo>
                <a:lnTo>
                  <a:pt x="2341126" y="1603735"/>
                </a:lnTo>
                <a:lnTo>
                  <a:pt x="2328228" y="1603735"/>
                </a:lnTo>
                <a:lnTo>
                  <a:pt x="2315329" y="1603735"/>
                </a:lnTo>
                <a:lnTo>
                  <a:pt x="2286307" y="1600511"/>
                </a:lnTo>
                <a:lnTo>
                  <a:pt x="2273408" y="1600511"/>
                </a:lnTo>
                <a:lnTo>
                  <a:pt x="2270184" y="1600511"/>
                </a:lnTo>
                <a:lnTo>
                  <a:pt x="2263734" y="1600511"/>
                </a:lnTo>
                <a:lnTo>
                  <a:pt x="2250835" y="1600511"/>
                </a:lnTo>
                <a:lnTo>
                  <a:pt x="2237937" y="1603735"/>
                </a:lnTo>
                <a:lnTo>
                  <a:pt x="2225037" y="1606959"/>
                </a:lnTo>
                <a:lnTo>
                  <a:pt x="2218589" y="1606959"/>
                </a:lnTo>
                <a:lnTo>
                  <a:pt x="2215363" y="1613409"/>
                </a:lnTo>
                <a:lnTo>
                  <a:pt x="2208914" y="1616634"/>
                </a:lnTo>
                <a:lnTo>
                  <a:pt x="2208914" y="1626308"/>
                </a:lnTo>
                <a:lnTo>
                  <a:pt x="2202465" y="1632758"/>
                </a:lnTo>
                <a:lnTo>
                  <a:pt x="2196016" y="1635982"/>
                </a:lnTo>
                <a:lnTo>
                  <a:pt x="2183116" y="1639206"/>
                </a:lnTo>
                <a:lnTo>
                  <a:pt x="2179892" y="1642432"/>
                </a:lnTo>
                <a:lnTo>
                  <a:pt x="2170218" y="1652106"/>
                </a:lnTo>
                <a:lnTo>
                  <a:pt x="2163769" y="1658555"/>
                </a:lnTo>
                <a:lnTo>
                  <a:pt x="2160543" y="1668229"/>
                </a:lnTo>
                <a:lnTo>
                  <a:pt x="2154095" y="1671453"/>
                </a:lnTo>
                <a:lnTo>
                  <a:pt x="2150869" y="1681127"/>
                </a:lnTo>
                <a:lnTo>
                  <a:pt x="2147645" y="1687577"/>
                </a:lnTo>
                <a:lnTo>
                  <a:pt x="2134746" y="1700476"/>
                </a:lnTo>
                <a:lnTo>
                  <a:pt x="2118622" y="1716600"/>
                </a:lnTo>
                <a:lnTo>
                  <a:pt x="2131521" y="1710150"/>
                </a:lnTo>
                <a:lnTo>
                  <a:pt x="2141195" y="1703700"/>
                </a:lnTo>
                <a:lnTo>
                  <a:pt x="2150869" y="1690802"/>
                </a:lnTo>
                <a:lnTo>
                  <a:pt x="2160543" y="1677903"/>
                </a:lnTo>
                <a:lnTo>
                  <a:pt x="2179892" y="1661779"/>
                </a:lnTo>
                <a:lnTo>
                  <a:pt x="2196016" y="1652106"/>
                </a:lnTo>
                <a:lnTo>
                  <a:pt x="2208914" y="1645656"/>
                </a:lnTo>
                <a:lnTo>
                  <a:pt x="2260510" y="1639206"/>
                </a:lnTo>
                <a:lnTo>
                  <a:pt x="2273408" y="1661779"/>
                </a:lnTo>
                <a:lnTo>
                  <a:pt x="2270184" y="1665004"/>
                </a:lnTo>
                <a:lnTo>
                  <a:pt x="2260510" y="1671453"/>
                </a:lnTo>
                <a:lnTo>
                  <a:pt x="2250835" y="1677903"/>
                </a:lnTo>
                <a:lnTo>
                  <a:pt x="2237937" y="1671453"/>
                </a:lnTo>
                <a:lnTo>
                  <a:pt x="2237937" y="1681127"/>
                </a:lnTo>
                <a:lnTo>
                  <a:pt x="2241161" y="1681127"/>
                </a:lnTo>
                <a:lnTo>
                  <a:pt x="2244386" y="1690802"/>
                </a:lnTo>
                <a:lnTo>
                  <a:pt x="2250835" y="1684353"/>
                </a:lnTo>
                <a:lnTo>
                  <a:pt x="2260510" y="1684353"/>
                </a:lnTo>
                <a:lnTo>
                  <a:pt x="2260510" y="1694027"/>
                </a:lnTo>
                <a:lnTo>
                  <a:pt x="2257284" y="1706926"/>
                </a:lnTo>
                <a:lnTo>
                  <a:pt x="2260510" y="1710150"/>
                </a:lnTo>
                <a:lnTo>
                  <a:pt x="2260510" y="1713374"/>
                </a:lnTo>
                <a:lnTo>
                  <a:pt x="2263734" y="1726274"/>
                </a:lnTo>
                <a:lnTo>
                  <a:pt x="2270184" y="1732723"/>
                </a:lnTo>
                <a:lnTo>
                  <a:pt x="2276632" y="1735947"/>
                </a:lnTo>
                <a:lnTo>
                  <a:pt x="2283082" y="1739172"/>
                </a:lnTo>
                <a:lnTo>
                  <a:pt x="2279857" y="1742397"/>
                </a:lnTo>
                <a:lnTo>
                  <a:pt x="2299205" y="1748847"/>
                </a:lnTo>
                <a:lnTo>
                  <a:pt x="2308879" y="1752071"/>
                </a:lnTo>
                <a:lnTo>
                  <a:pt x="2321778" y="1748847"/>
                </a:lnTo>
                <a:lnTo>
                  <a:pt x="2341126" y="1758521"/>
                </a:lnTo>
                <a:lnTo>
                  <a:pt x="2344352" y="1764970"/>
                </a:lnTo>
                <a:lnTo>
                  <a:pt x="2337902" y="1768194"/>
                </a:lnTo>
                <a:lnTo>
                  <a:pt x="2331452" y="1768194"/>
                </a:lnTo>
                <a:lnTo>
                  <a:pt x="2328228" y="1771419"/>
                </a:lnTo>
                <a:lnTo>
                  <a:pt x="2321778" y="1774644"/>
                </a:lnTo>
                <a:lnTo>
                  <a:pt x="2308879" y="1777868"/>
                </a:lnTo>
                <a:lnTo>
                  <a:pt x="2295981" y="1784318"/>
                </a:lnTo>
                <a:lnTo>
                  <a:pt x="2292756" y="1784318"/>
                </a:lnTo>
                <a:lnTo>
                  <a:pt x="2289531" y="1787542"/>
                </a:lnTo>
                <a:lnTo>
                  <a:pt x="2276632" y="1787542"/>
                </a:lnTo>
                <a:lnTo>
                  <a:pt x="2273408" y="1787542"/>
                </a:lnTo>
                <a:lnTo>
                  <a:pt x="2270184" y="1793992"/>
                </a:lnTo>
                <a:lnTo>
                  <a:pt x="2260510" y="1806891"/>
                </a:lnTo>
                <a:lnTo>
                  <a:pt x="2257284" y="1813340"/>
                </a:lnTo>
                <a:lnTo>
                  <a:pt x="2250835" y="1813340"/>
                </a:lnTo>
                <a:lnTo>
                  <a:pt x="2247610" y="1819789"/>
                </a:lnTo>
                <a:lnTo>
                  <a:pt x="2241161" y="1816565"/>
                </a:lnTo>
                <a:lnTo>
                  <a:pt x="2237937" y="1810115"/>
                </a:lnTo>
                <a:lnTo>
                  <a:pt x="2234711" y="1813340"/>
                </a:lnTo>
                <a:lnTo>
                  <a:pt x="2231487" y="1806891"/>
                </a:lnTo>
                <a:lnTo>
                  <a:pt x="2231487" y="1790768"/>
                </a:lnTo>
                <a:lnTo>
                  <a:pt x="2244386" y="1781094"/>
                </a:lnTo>
                <a:lnTo>
                  <a:pt x="2266958" y="1764970"/>
                </a:lnTo>
                <a:lnTo>
                  <a:pt x="2279857" y="1764970"/>
                </a:lnTo>
                <a:lnTo>
                  <a:pt x="2292756" y="1761745"/>
                </a:lnTo>
                <a:lnTo>
                  <a:pt x="2286307" y="1761745"/>
                </a:lnTo>
                <a:lnTo>
                  <a:pt x="2279857" y="1761745"/>
                </a:lnTo>
                <a:lnTo>
                  <a:pt x="2266958" y="1761745"/>
                </a:lnTo>
                <a:lnTo>
                  <a:pt x="2257284" y="1761745"/>
                </a:lnTo>
                <a:lnTo>
                  <a:pt x="2263734" y="1755295"/>
                </a:lnTo>
                <a:lnTo>
                  <a:pt x="2273408" y="1745621"/>
                </a:lnTo>
                <a:lnTo>
                  <a:pt x="2266958" y="1745621"/>
                </a:lnTo>
                <a:lnTo>
                  <a:pt x="2260510" y="1755295"/>
                </a:lnTo>
                <a:lnTo>
                  <a:pt x="2237937" y="1764970"/>
                </a:lnTo>
                <a:lnTo>
                  <a:pt x="2234711" y="1764970"/>
                </a:lnTo>
                <a:lnTo>
                  <a:pt x="2225037" y="1771419"/>
                </a:lnTo>
                <a:lnTo>
                  <a:pt x="2215363" y="1771419"/>
                </a:lnTo>
                <a:lnTo>
                  <a:pt x="2212139" y="1768194"/>
                </a:lnTo>
                <a:lnTo>
                  <a:pt x="2208914" y="1768194"/>
                </a:lnTo>
                <a:lnTo>
                  <a:pt x="2215363" y="1777868"/>
                </a:lnTo>
                <a:lnTo>
                  <a:pt x="2208914" y="1784318"/>
                </a:lnTo>
                <a:lnTo>
                  <a:pt x="2196016" y="1787542"/>
                </a:lnTo>
                <a:lnTo>
                  <a:pt x="2189566" y="1793992"/>
                </a:lnTo>
                <a:lnTo>
                  <a:pt x="2186342" y="1787542"/>
                </a:lnTo>
                <a:lnTo>
                  <a:pt x="2170218" y="1800442"/>
                </a:lnTo>
                <a:lnTo>
                  <a:pt x="2163769" y="1806891"/>
                </a:lnTo>
                <a:lnTo>
                  <a:pt x="2154095" y="1810115"/>
                </a:lnTo>
                <a:lnTo>
                  <a:pt x="2150869" y="1813340"/>
                </a:lnTo>
                <a:lnTo>
                  <a:pt x="2147645" y="1810115"/>
                </a:lnTo>
                <a:lnTo>
                  <a:pt x="2141195" y="1823015"/>
                </a:lnTo>
                <a:lnTo>
                  <a:pt x="2131521" y="1829463"/>
                </a:lnTo>
                <a:lnTo>
                  <a:pt x="2131521" y="1832689"/>
                </a:lnTo>
                <a:lnTo>
                  <a:pt x="2128297" y="1839138"/>
                </a:lnTo>
                <a:lnTo>
                  <a:pt x="2134746" y="1845587"/>
                </a:lnTo>
                <a:lnTo>
                  <a:pt x="2128297" y="1848812"/>
                </a:lnTo>
                <a:lnTo>
                  <a:pt x="2125072" y="1855261"/>
                </a:lnTo>
                <a:lnTo>
                  <a:pt x="2131521" y="1863323"/>
                </a:lnTo>
                <a:lnTo>
                  <a:pt x="2144421" y="1869773"/>
                </a:lnTo>
                <a:lnTo>
                  <a:pt x="2144421" y="1860099"/>
                </a:lnTo>
                <a:lnTo>
                  <a:pt x="2147645" y="1860099"/>
                </a:lnTo>
                <a:lnTo>
                  <a:pt x="2147645" y="1869773"/>
                </a:lnTo>
                <a:lnTo>
                  <a:pt x="2144421" y="1872998"/>
                </a:lnTo>
                <a:lnTo>
                  <a:pt x="2137971" y="1872998"/>
                </a:lnTo>
                <a:lnTo>
                  <a:pt x="2131521" y="1872998"/>
                </a:lnTo>
                <a:lnTo>
                  <a:pt x="2131521" y="1869773"/>
                </a:lnTo>
                <a:lnTo>
                  <a:pt x="2128297" y="1872998"/>
                </a:lnTo>
                <a:lnTo>
                  <a:pt x="2125072" y="1876222"/>
                </a:lnTo>
                <a:lnTo>
                  <a:pt x="2118622" y="1869773"/>
                </a:lnTo>
                <a:lnTo>
                  <a:pt x="2115398" y="1876222"/>
                </a:lnTo>
                <a:lnTo>
                  <a:pt x="2112174" y="1879446"/>
                </a:lnTo>
                <a:lnTo>
                  <a:pt x="2096050" y="1879446"/>
                </a:lnTo>
                <a:lnTo>
                  <a:pt x="2086376" y="1882672"/>
                </a:lnTo>
                <a:lnTo>
                  <a:pt x="2073477" y="1889121"/>
                </a:lnTo>
                <a:lnTo>
                  <a:pt x="2067027" y="1889121"/>
                </a:lnTo>
                <a:lnTo>
                  <a:pt x="2064448" y="1894280"/>
                </a:lnTo>
                <a:lnTo>
                  <a:pt x="2070253" y="1892346"/>
                </a:lnTo>
                <a:lnTo>
                  <a:pt x="2076701" y="1892346"/>
                </a:lnTo>
                <a:lnTo>
                  <a:pt x="2086376" y="1892346"/>
                </a:lnTo>
                <a:lnTo>
                  <a:pt x="2099274" y="1885896"/>
                </a:lnTo>
                <a:lnTo>
                  <a:pt x="2105724" y="1889121"/>
                </a:lnTo>
                <a:lnTo>
                  <a:pt x="2089601" y="1895570"/>
                </a:lnTo>
                <a:lnTo>
                  <a:pt x="2083151" y="1898795"/>
                </a:lnTo>
                <a:lnTo>
                  <a:pt x="2070253" y="1902020"/>
                </a:lnTo>
                <a:lnTo>
                  <a:pt x="2060578" y="1902020"/>
                </a:lnTo>
                <a:lnTo>
                  <a:pt x="2060578" y="1898795"/>
                </a:lnTo>
                <a:lnTo>
                  <a:pt x="2054129" y="1905245"/>
                </a:lnTo>
                <a:lnTo>
                  <a:pt x="2060578" y="1911693"/>
                </a:lnTo>
                <a:lnTo>
                  <a:pt x="2057354" y="1927817"/>
                </a:lnTo>
                <a:lnTo>
                  <a:pt x="2047680" y="1937491"/>
                </a:lnTo>
                <a:lnTo>
                  <a:pt x="2041230" y="1950390"/>
                </a:lnTo>
                <a:lnTo>
                  <a:pt x="2041230" y="1943941"/>
                </a:lnTo>
                <a:lnTo>
                  <a:pt x="2031556" y="1937491"/>
                </a:lnTo>
                <a:lnTo>
                  <a:pt x="2028332" y="1940716"/>
                </a:lnTo>
                <a:lnTo>
                  <a:pt x="2031556" y="1947166"/>
                </a:lnTo>
                <a:lnTo>
                  <a:pt x="2038006" y="1963289"/>
                </a:lnTo>
                <a:lnTo>
                  <a:pt x="2031556" y="1976188"/>
                </a:lnTo>
                <a:lnTo>
                  <a:pt x="2025107" y="1989087"/>
                </a:lnTo>
                <a:lnTo>
                  <a:pt x="2018657" y="1998761"/>
                </a:lnTo>
                <a:lnTo>
                  <a:pt x="2015433" y="1995535"/>
                </a:lnTo>
                <a:lnTo>
                  <a:pt x="2018657" y="1989087"/>
                </a:lnTo>
                <a:lnTo>
                  <a:pt x="2021882" y="1979413"/>
                </a:lnTo>
                <a:lnTo>
                  <a:pt x="2021882" y="1972963"/>
                </a:lnTo>
                <a:lnTo>
                  <a:pt x="2015433" y="1966514"/>
                </a:lnTo>
                <a:lnTo>
                  <a:pt x="2012208" y="1963289"/>
                </a:lnTo>
                <a:lnTo>
                  <a:pt x="2012208" y="1960064"/>
                </a:lnTo>
                <a:lnTo>
                  <a:pt x="2008983" y="1947166"/>
                </a:lnTo>
                <a:lnTo>
                  <a:pt x="2012208" y="1937491"/>
                </a:lnTo>
                <a:lnTo>
                  <a:pt x="2015433" y="1937491"/>
                </a:lnTo>
                <a:lnTo>
                  <a:pt x="2015433" y="1931042"/>
                </a:lnTo>
                <a:lnTo>
                  <a:pt x="2008983" y="1937491"/>
                </a:lnTo>
                <a:lnTo>
                  <a:pt x="2005759" y="1943941"/>
                </a:lnTo>
                <a:lnTo>
                  <a:pt x="2005759" y="1956840"/>
                </a:lnTo>
                <a:lnTo>
                  <a:pt x="2002533" y="1960064"/>
                </a:lnTo>
                <a:lnTo>
                  <a:pt x="2008983" y="1972963"/>
                </a:lnTo>
                <a:lnTo>
                  <a:pt x="2008983" y="1979413"/>
                </a:lnTo>
                <a:lnTo>
                  <a:pt x="2005759" y="1985861"/>
                </a:lnTo>
                <a:lnTo>
                  <a:pt x="2008983" y="1998761"/>
                </a:lnTo>
                <a:lnTo>
                  <a:pt x="2008983" y="2005210"/>
                </a:lnTo>
                <a:lnTo>
                  <a:pt x="2015433" y="2005210"/>
                </a:lnTo>
                <a:lnTo>
                  <a:pt x="2018657" y="2018108"/>
                </a:lnTo>
                <a:lnTo>
                  <a:pt x="2025107" y="2034232"/>
                </a:lnTo>
                <a:lnTo>
                  <a:pt x="2018657" y="2031008"/>
                </a:lnTo>
                <a:lnTo>
                  <a:pt x="2012208" y="2027782"/>
                </a:lnTo>
                <a:lnTo>
                  <a:pt x="1999309" y="2031008"/>
                </a:lnTo>
                <a:lnTo>
                  <a:pt x="2012208" y="2034232"/>
                </a:lnTo>
                <a:lnTo>
                  <a:pt x="2018657" y="2031008"/>
                </a:lnTo>
                <a:lnTo>
                  <a:pt x="2021882" y="2034232"/>
                </a:lnTo>
                <a:lnTo>
                  <a:pt x="2018657" y="2043906"/>
                </a:lnTo>
                <a:lnTo>
                  <a:pt x="2012208" y="2047131"/>
                </a:lnTo>
                <a:lnTo>
                  <a:pt x="2008983" y="2056805"/>
                </a:lnTo>
                <a:lnTo>
                  <a:pt x="2002533" y="2063255"/>
                </a:lnTo>
                <a:lnTo>
                  <a:pt x="1986410" y="2069703"/>
                </a:lnTo>
                <a:lnTo>
                  <a:pt x="1973512" y="2076153"/>
                </a:lnTo>
                <a:lnTo>
                  <a:pt x="1967062" y="2085827"/>
                </a:lnTo>
                <a:lnTo>
                  <a:pt x="1960612" y="2085827"/>
                </a:lnTo>
                <a:lnTo>
                  <a:pt x="1950939" y="2092276"/>
                </a:lnTo>
                <a:lnTo>
                  <a:pt x="1947714" y="2098726"/>
                </a:lnTo>
                <a:lnTo>
                  <a:pt x="1941265" y="2105176"/>
                </a:lnTo>
                <a:lnTo>
                  <a:pt x="1934815" y="2111625"/>
                </a:lnTo>
                <a:lnTo>
                  <a:pt x="1928365" y="2118074"/>
                </a:lnTo>
                <a:lnTo>
                  <a:pt x="1912242" y="2124524"/>
                </a:lnTo>
                <a:lnTo>
                  <a:pt x="1905793" y="2137423"/>
                </a:lnTo>
                <a:lnTo>
                  <a:pt x="1902568" y="2143871"/>
                </a:lnTo>
                <a:lnTo>
                  <a:pt x="1899344" y="2153546"/>
                </a:lnTo>
                <a:lnTo>
                  <a:pt x="1899344" y="2156771"/>
                </a:lnTo>
                <a:lnTo>
                  <a:pt x="1896119" y="2163220"/>
                </a:lnTo>
                <a:lnTo>
                  <a:pt x="1899344" y="2179344"/>
                </a:lnTo>
                <a:lnTo>
                  <a:pt x="1899344" y="2192242"/>
                </a:lnTo>
                <a:lnTo>
                  <a:pt x="1905793" y="2208365"/>
                </a:lnTo>
                <a:lnTo>
                  <a:pt x="1909018" y="2214815"/>
                </a:lnTo>
                <a:lnTo>
                  <a:pt x="1909018" y="2221265"/>
                </a:lnTo>
                <a:lnTo>
                  <a:pt x="1921917" y="2247062"/>
                </a:lnTo>
                <a:lnTo>
                  <a:pt x="1928365" y="2272859"/>
                </a:lnTo>
                <a:lnTo>
                  <a:pt x="1925141" y="2288983"/>
                </a:lnTo>
                <a:lnTo>
                  <a:pt x="1921917" y="2295433"/>
                </a:lnTo>
                <a:lnTo>
                  <a:pt x="1921917" y="2301882"/>
                </a:lnTo>
                <a:lnTo>
                  <a:pt x="1915467" y="2305106"/>
                </a:lnTo>
                <a:lnTo>
                  <a:pt x="1909018" y="2305106"/>
                </a:lnTo>
                <a:lnTo>
                  <a:pt x="1902568" y="2305106"/>
                </a:lnTo>
                <a:lnTo>
                  <a:pt x="1899344" y="2295433"/>
                </a:lnTo>
                <a:lnTo>
                  <a:pt x="1896119" y="2288983"/>
                </a:lnTo>
                <a:lnTo>
                  <a:pt x="1892894" y="2285759"/>
                </a:lnTo>
                <a:lnTo>
                  <a:pt x="1889670" y="2285759"/>
                </a:lnTo>
                <a:lnTo>
                  <a:pt x="1889670" y="2279309"/>
                </a:lnTo>
                <a:lnTo>
                  <a:pt x="1889670" y="2266410"/>
                </a:lnTo>
                <a:lnTo>
                  <a:pt x="1886444" y="2272859"/>
                </a:lnTo>
                <a:lnTo>
                  <a:pt x="1883220" y="2269635"/>
                </a:lnTo>
                <a:lnTo>
                  <a:pt x="1883220" y="2266410"/>
                </a:lnTo>
                <a:lnTo>
                  <a:pt x="1883220" y="2263186"/>
                </a:lnTo>
                <a:lnTo>
                  <a:pt x="1879996" y="2263186"/>
                </a:lnTo>
                <a:lnTo>
                  <a:pt x="1876771" y="2263186"/>
                </a:lnTo>
                <a:lnTo>
                  <a:pt x="1870321" y="2247062"/>
                </a:lnTo>
                <a:lnTo>
                  <a:pt x="1867097" y="2237388"/>
                </a:lnTo>
                <a:lnTo>
                  <a:pt x="1867097" y="2234163"/>
                </a:lnTo>
                <a:lnTo>
                  <a:pt x="1867097" y="2230939"/>
                </a:lnTo>
                <a:lnTo>
                  <a:pt x="1870321" y="2218039"/>
                </a:lnTo>
                <a:lnTo>
                  <a:pt x="1870321" y="2211591"/>
                </a:lnTo>
                <a:lnTo>
                  <a:pt x="1863872" y="2208365"/>
                </a:lnTo>
                <a:lnTo>
                  <a:pt x="1860647" y="2205141"/>
                </a:lnTo>
                <a:lnTo>
                  <a:pt x="1857423" y="2201917"/>
                </a:lnTo>
                <a:lnTo>
                  <a:pt x="1847749" y="2189018"/>
                </a:lnTo>
                <a:lnTo>
                  <a:pt x="1831625" y="2185793"/>
                </a:lnTo>
                <a:lnTo>
                  <a:pt x="1821951" y="2192242"/>
                </a:lnTo>
                <a:lnTo>
                  <a:pt x="1818726" y="2195467"/>
                </a:lnTo>
                <a:lnTo>
                  <a:pt x="1812277" y="2195467"/>
                </a:lnTo>
                <a:lnTo>
                  <a:pt x="1809052" y="2192242"/>
                </a:lnTo>
                <a:lnTo>
                  <a:pt x="1809052" y="2189018"/>
                </a:lnTo>
                <a:lnTo>
                  <a:pt x="1802603" y="2182568"/>
                </a:lnTo>
                <a:lnTo>
                  <a:pt x="1792929" y="2179344"/>
                </a:lnTo>
                <a:lnTo>
                  <a:pt x="1786480" y="2172894"/>
                </a:lnTo>
                <a:lnTo>
                  <a:pt x="1776805" y="2176118"/>
                </a:lnTo>
                <a:lnTo>
                  <a:pt x="1763907" y="2179344"/>
                </a:lnTo>
                <a:lnTo>
                  <a:pt x="1757457" y="2179344"/>
                </a:lnTo>
                <a:lnTo>
                  <a:pt x="1754232" y="2176118"/>
                </a:lnTo>
                <a:lnTo>
                  <a:pt x="1754232" y="2169670"/>
                </a:lnTo>
                <a:lnTo>
                  <a:pt x="1754232" y="2166444"/>
                </a:lnTo>
                <a:lnTo>
                  <a:pt x="1744558" y="2176118"/>
                </a:lnTo>
                <a:lnTo>
                  <a:pt x="1741334" y="2179344"/>
                </a:lnTo>
                <a:lnTo>
                  <a:pt x="1734884" y="2176118"/>
                </a:lnTo>
                <a:lnTo>
                  <a:pt x="1725210" y="2179344"/>
                </a:lnTo>
                <a:lnTo>
                  <a:pt x="1721985" y="2185793"/>
                </a:lnTo>
                <a:lnTo>
                  <a:pt x="1715536" y="2195467"/>
                </a:lnTo>
                <a:lnTo>
                  <a:pt x="1731660" y="2208365"/>
                </a:lnTo>
                <a:lnTo>
                  <a:pt x="1721985" y="2208365"/>
                </a:lnTo>
                <a:lnTo>
                  <a:pt x="1715536" y="2201917"/>
                </a:lnTo>
                <a:lnTo>
                  <a:pt x="1705863" y="2198691"/>
                </a:lnTo>
                <a:lnTo>
                  <a:pt x="1705863" y="2208365"/>
                </a:lnTo>
                <a:lnTo>
                  <a:pt x="1699413" y="2205141"/>
                </a:lnTo>
                <a:lnTo>
                  <a:pt x="1692963" y="2208365"/>
                </a:lnTo>
                <a:lnTo>
                  <a:pt x="1680065" y="2205141"/>
                </a:lnTo>
                <a:lnTo>
                  <a:pt x="1676840" y="2198691"/>
                </a:lnTo>
                <a:lnTo>
                  <a:pt x="1670391" y="2192242"/>
                </a:lnTo>
                <a:lnTo>
                  <a:pt x="1663942" y="2192242"/>
                </a:lnTo>
                <a:lnTo>
                  <a:pt x="1663942" y="2195467"/>
                </a:lnTo>
                <a:lnTo>
                  <a:pt x="1641368" y="2192242"/>
                </a:lnTo>
                <a:lnTo>
                  <a:pt x="1628469" y="2192242"/>
                </a:lnTo>
                <a:lnTo>
                  <a:pt x="1615571" y="2195467"/>
                </a:lnTo>
                <a:lnTo>
                  <a:pt x="1602672" y="2205141"/>
                </a:lnTo>
                <a:lnTo>
                  <a:pt x="1596222" y="2208365"/>
                </a:lnTo>
                <a:lnTo>
                  <a:pt x="1592998" y="2214815"/>
                </a:lnTo>
                <a:lnTo>
                  <a:pt x="1580100" y="2221265"/>
                </a:lnTo>
                <a:lnTo>
                  <a:pt x="1573650" y="2221265"/>
                </a:lnTo>
                <a:lnTo>
                  <a:pt x="1563975" y="2221265"/>
                </a:lnTo>
                <a:lnTo>
                  <a:pt x="1560751" y="2224489"/>
                </a:lnTo>
                <a:lnTo>
                  <a:pt x="1560751" y="2230939"/>
                </a:lnTo>
                <a:lnTo>
                  <a:pt x="1554302" y="2234163"/>
                </a:lnTo>
                <a:lnTo>
                  <a:pt x="1554302" y="2237388"/>
                </a:lnTo>
                <a:lnTo>
                  <a:pt x="1547853" y="2240612"/>
                </a:lnTo>
                <a:lnTo>
                  <a:pt x="1547853" y="2250286"/>
                </a:lnTo>
                <a:lnTo>
                  <a:pt x="1544627" y="2253512"/>
                </a:lnTo>
                <a:lnTo>
                  <a:pt x="1544627" y="2256736"/>
                </a:lnTo>
                <a:lnTo>
                  <a:pt x="1544627" y="2266410"/>
                </a:lnTo>
                <a:lnTo>
                  <a:pt x="1545949" y="2271696"/>
                </a:lnTo>
                <a:cubicBezTo>
                  <a:pt x="1549472" y="2273846"/>
                  <a:pt x="1551811" y="2276385"/>
                  <a:pt x="1552690" y="2282533"/>
                </a:cubicBezTo>
                <a:cubicBezTo>
                  <a:pt x="1553051" y="2285058"/>
                  <a:pt x="1551078" y="2287371"/>
                  <a:pt x="1550272" y="2289790"/>
                </a:cubicBezTo>
                <a:cubicBezTo>
                  <a:pt x="1550191" y="2289844"/>
                  <a:pt x="1550109" y="2289898"/>
                  <a:pt x="1550028" y="2289952"/>
                </a:cubicBezTo>
                <a:lnTo>
                  <a:pt x="1544626" y="2311556"/>
                </a:lnTo>
                <a:lnTo>
                  <a:pt x="1541402" y="2324454"/>
                </a:lnTo>
                <a:lnTo>
                  <a:pt x="1538177" y="2330904"/>
                </a:lnTo>
                <a:lnTo>
                  <a:pt x="1538177" y="2337354"/>
                </a:lnTo>
                <a:lnTo>
                  <a:pt x="1538177" y="2353477"/>
                </a:lnTo>
                <a:lnTo>
                  <a:pt x="1538177" y="2359927"/>
                </a:lnTo>
                <a:lnTo>
                  <a:pt x="1534952" y="2366375"/>
                </a:lnTo>
                <a:lnTo>
                  <a:pt x="1538177" y="2376050"/>
                </a:lnTo>
                <a:lnTo>
                  <a:pt x="1541402" y="2388948"/>
                </a:lnTo>
                <a:lnTo>
                  <a:pt x="1544626" y="2398622"/>
                </a:lnTo>
                <a:lnTo>
                  <a:pt x="1551076" y="2411522"/>
                </a:lnTo>
                <a:lnTo>
                  <a:pt x="1560750" y="2421195"/>
                </a:lnTo>
                <a:lnTo>
                  <a:pt x="1570424" y="2434095"/>
                </a:lnTo>
                <a:lnTo>
                  <a:pt x="1570424" y="2440543"/>
                </a:lnTo>
                <a:lnTo>
                  <a:pt x="1573649" y="2443769"/>
                </a:lnTo>
                <a:lnTo>
                  <a:pt x="1583323" y="2456667"/>
                </a:lnTo>
                <a:lnTo>
                  <a:pt x="1596221" y="2456667"/>
                </a:lnTo>
                <a:lnTo>
                  <a:pt x="1605895" y="2463116"/>
                </a:lnTo>
                <a:lnTo>
                  <a:pt x="1609120" y="2469566"/>
                </a:lnTo>
                <a:lnTo>
                  <a:pt x="1618794" y="2469566"/>
                </a:lnTo>
                <a:lnTo>
                  <a:pt x="1628468" y="2463116"/>
                </a:lnTo>
                <a:lnTo>
                  <a:pt x="1638142" y="2463116"/>
                </a:lnTo>
                <a:lnTo>
                  <a:pt x="1647817" y="2459892"/>
                </a:lnTo>
                <a:lnTo>
                  <a:pt x="1657491" y="2456667"/>
                </a:lnTo>
                <a:lnTo>
                  <a:pt x="1667165" y="2456667"/>
                </a:lnTo>
                <a:lnTo>
                  <a:pt x="1667165" y="2463116"/>
                </a:lnTo>
                <a:lnTo>
                  <a:pt x="1680064" y="2459892"/>
                </a:lnTo>
                <a:lnTo>
                  <a:pt x="1683288" y="2456667"/>
                </a:lnTo>
                <a:lnTo>
                  <a:pt x="1686514" y="2450218"/>
                </a:lnTo>
                <a:lnTo>
                  <a:pt x="1692962" y="2440543"/>
                </a:lnTo>
                <a:lnTo>
                  <a:pt x="1696187" y="2430869"/>
                </a:lnTo>
                <a:lnTo>
                  <a:pt x="1699412" y="2430869"/>
                </a:lnTo>
                <a:lnTo>
                  <a:pt x="1699412" y="2424420"/>
                </a:lnTo>
                <a:lnTo>
                  <a:pt x="1699412" y="2421195"/>
                </a:lnTo>
                <a:lnTo>
                  <a:pt x="1699412" y="2411522"/>
                </a:lnTo>
                <a:lnTo>
                  <a:pt x="1702636" y="2401848"/>
                </a:lnTo>
                <a:lnTo>
                  <a:pt x="1715535" y="2398622"/>
                </a:lnTo>
                <a:lnTo>
                  <a:pt x="1728434" y="2395398"/>
                </a:lnTo>
                <a:lnTo>
                  <a:pt x="1747782" y="2392174"/>
                </a:lnTo>
                <a:lnTo>
                  <a:pt x="1754232" y="2388948"/>
                </a:lnTo>
                <a:lnTo>
                  <a:pt x="1760681" y="2392174"/>
                </a:lnTo>
                <a:lnTo>
                  <a:pt x="1770355" y="2395398"/>
                </a:lnTo>
                <a:lnTo>
                  <a:pt x="1773580" y="2388948"/>
                </a:lnTo>
                <a:lnTo>
                  <a:pt x="1780029" y="2395398"/>
                </a:lnTo>
                <a:lnTo>
                  <a:pt x="1776805" y="2408297"/>
                </a:lnTo>
                <a:lnTo>
                  <a:pt x="1770355" y="2414746"/>
                </a:lnTo>
                <a:lnTo>
                  <a:pt x="1767130" y="2421195"/>
                </a:lnTo>
                <a:lnTo>
                  <a:pt x="1763906" y="2430869"/>
                </a:lnTo>
                <a:lnTo>
                  <a:pt x="1763906" y="2434095"/>
                </a:lnTo>
                <a:lnTo>
                  <a:pt x="1763906" y="2440543"/>
                </a:lnTo>
                <a:lnTo>
                  <a:pt x="1760681" y="2453442"/>
                </a:lnTo>
                <a:lnTo>
                  <a:pt x="1757456" y="2463116"/>
                </a:lnTo>
                <a:lnTo>
                  <a:pt x="1751007" y="2459892"/>
                </a:lnTo>
                <a:lnTo>
                  <a:pt x="1747782" y="2456667"/>
                </a:lnTo>
                <a:lnTo>
                  <a:pt x="1747782" y="2457461"/>
                </a:lnTo>
                <a:lnTo>
                  <a:pt x="1748589" y="2463922"/>
                </a:lnTo>
                <a:lnTo>
                  <a:pt x="1748589" y="2463923"/>
                </a:lnTo>
                <a:lnTo>
                  <a:pt x="1751008" y="2466342"/>
                </a:lnTo>
                <a:lnTo>
                  <a:pt x="1751008" y="2469566"/>
                </a:lnTo>
                <a:lnTo>
                  <a:pt x="1747783" y="2479240"/>
                </a:lnTo>
                <a:lnTo>
                  <a:pt x="1747783" y="2485689"/>
                </a:lnTo>
                <a:lnTo>
                  <a:pt x="1747783" y="2495363"/>
                </a:lnTo>
                <a:lnTo>
                  <a:pt x="1744558" y="2505037"/>
                </a:lnTo>
                <a:lnTo>
                  <a:pt x="1741334" y="2511487"/>
                </a:lnTo>
                <a:lnTo>
                  <a:pt x="1734884" y="2514711"/>
                </a:lnTo>
                <a:lnTo>
                  <a:pt x="1734884" y="2517937"/>
                </a:lnTo>
                <a:lnTo>
                  <a:pt x="1731660" y="2521161"/>
                </a:lnTo>
                <a:lnTo>
                  <a:pt x="1741334" y="2524386"/>
                </a:lnTo>
                <a:lnTo>
                  <a:pt x="1747783" y="2524386"/>
                </a:lnTo>
                <a:lnTo>
                  <a:pt x="1757457" y="2521161"/>
                </a:lnTo>
                <a:lnTo>
                  <a:pt x="1763907" y="2524386"/>
                </a:lnTo>
                <a:lnTo>
                  <a:pt x="1770356" y="2524386"/>
                </a:lnTo>
                <a:lnTo>
                  <a:pt x="1783255" y="2524386"/>
                </a:lnTo>
                <a:lnTo>
                  <a:pt x="1796154" y="2521161"/>
                </a:lnTo>
                <a:lnTo>
                  <a:pt x="1821951" y="2521161"/>
                </a:lnTo>
                <a:lnTo>
                  <a:pt x="1834850" y="2524386"/>
                </a:lnTo>
                <a:lnTo>
                  <a:pt x="1841299" y="2530835"/>
                </a:lnTo>
                <a:lnTo>
                  <a:pt x="1838074" y="2530835"/>
                </a:lnTo>
                <a:lnTo>
                  <a:pt x="1841299" y="2534060"/>
                </a:lnTo>
                <a:lnTo>
                  <a:pt x="1844524" y="2537284"/>
                </a:lnTo>
                <a:lnTo>
                  <a:pt x="1847749" y="2534060"/>
                </a:lnTo>
                <a:lnTo>
                  <a:pt x="1850973" y="2534060"/>
                </a:lnTo>
                <a:lnTo>
                  <a:pt x="1860647" y="2540510"/>
                </a:lnTo>
                <a:lnTo>
                  <a:pt x="1854197" y="2543734"/>
                </a:lnTo>
                <a:lnTo>
                  <a:pt x="1857423" y="2550184"/>
                </a:lnTo>
                <a:lnTo>
                  <a:pt x="1857423" y="2559857"/>
                </a:lnTo>
                <a:lnTo>
                  <a:pt x="1854197" y="2566307"/>
                </a:lnTo>
                <a:lnTo>
                  <a:pt x="1850973" y="2572756"/>
                </a:lnTo>
                <a:lnTo>
                  <a:pt x="1850973" y="2575981"/>
                </a:lnTo>
                <a:lnTo>
                  <a:pt x="1850973" y="2585655"/>
                </a:lnTo>
                <a:lnTo>
                  <a:pt x="1850973" y="2595329"/>
                </a:lnTo>
                <a:lnTo>
                  <a:pt x="1847749" y="2608228"/>
                </a:lnTo>
                <a:lnTo>
                  <a:pt x="1847749" y="2614678"/>
                </a:lnTo>
                <a:lnTo>
                  <a:pt x="1847749" y="2617902"/>
                </a:lnTo>
                <a:lnTo>
                  <a:pt x="1844524" y="2621126"/>
                </a:lnTo>
                <a:lnTo>
                  <a:pt x="1847749" y="2634025"/>
                </a:lnTo>
                <a:lnTo>
                  <a:pt x="1847749" y="2637250"/>
                </a:lnTo>
                <a:lnTo>
                  <a:pt x="1850973" y="2640475"/>
                </a:lnTo>
                <a:lnTo>
                  <a:pt x="1857423" y="2650149"/>
                </a:lnTo>
                <a:lnTo>
                  <a:pt x="1870321" y="2663047"/>
                </a:lnTo>
                <a:lnTo>
                  <a:pt x="1873546" y="2663047"/>
                </a:lnTo>
                <a:lnTo>
                  <a:pt x="1876771" y="2669497"/>
                </a:lnTo>
                <a:lnTo>
                  <a:pt x="1883220" y="2675946"/>
                </a:lnTo>
                <a:lnTo>
                  <a:pt x="1896119" y="2679171"/>
                </a:lnTo>
                <a:lnTo>
                  <a:pt x="1912242" y="2675946"/>
                </a:lnTo>
                <a:lnTo>
                  <a:pt x="1928365" y="2669497"/>
                </a:lnTo>
                <a:lnTo>
                  <a:pt x="1931591" y="2666272"/>
                </a:lnTo>
                <a:lnTo>
                  <a:pt x="1947714" y="2663047"/>
                </a:lnTo>
                <a:lnTo>
                  <a:pt x="1960612" y="2666272"/>
                </a:lnTo>
                <a:lnTo>
                  <a:pt x="1970286" y="2669497"/>
                </a:lnTo>
                <a:lnTo>
                  <a:pt x="1976736" y="2675946"/>
                </a:lnTo>
                <a:lnTo>
                  <a:pt x="1986410" y="2682396"/>
                </a:lnTo>
                <a:lnTo>
                  <a:pt x="1996085" y="2695294"/>
                </a:lnTo>
                <a:lnTo>
                  <a:pt x="2002533" y="2682396"/>
                </a:lnTo>
                <a:lnTo>
                  <a:pt x="2008983" y="2675946"/>
                </a:lnTo>
                <a:lnTo>
                  <a:pt x="2008983" y="2672722"/>
                </a:lnTo>
                <a:lnTo>
                  <a:pt x="2018657" y="2666272"/>
                </a:lnTo>
                <a:lnTo>
                  <a:pt x="2025107" y="2663047"/>
                </a:lnTo>
                <a:lnTo>
                  <a:pt x="2025107" y="2646924"/>
                </a:lnTo>
                <a:lnTo>
                  <a:pt x="2028332" y="2637250"/>
                </a:lnTo>
                <a:lnTo>
                  <a:pt x="2041230" y="2627576"/>
                </a:lnTo>
                <a:lnTo>
                  <a:pt x="2050904" y="2630801"/>
                </a:lnTo>
                <a:lnTo>
                  <a:pt x="2057354" y="2624352"/>
                </a:lnTo>
                <a:lnTo>
                  <a:pt x="2067027" y="2624352"/>
                </a:lnTo>
                <a:lnTo>
                  <a:pt x="2073477" y="2624352"/>
                </a:lnTo>
                <a:lnTo>
                  <a:pt x="2083151" y="2621126"/>
                </a:lnTo>
                <a:lnTo>
                  <a:pt x="2089601" y="2614678"/>
                </a:lnTo>
                <a:lnTo>
                  <a:pt x="2099274" y="2611452"/>
                </a:lnTo>
                <a:lnTo>
                  <a:pt x="2112174" y="2601778"/>
                </a:lnTo>
                <a:lnTo>
                  <a:pt x="2118622" y="2601778"/>
                </a:lnTo>
                <a:lnTo>
                  <a:pt x="2121848" y="2608228"/>
                </a:lnTo>
                <a:lnTo>
                  <a:pt x="2118622" y="2611452"/>
                </a:lnTo>
                <a:lnTo>
                  <a:pt x="2105724" y="2617902"/>
                </a:lnTo>
                <a:lnTo>
                  <a:pt x="2105724" y="2627576"/>
                </a:lnTo>
                <a:lnTo>
                  <a:pt x="2112174" y="2637250"/>
                </a:lnTo>
                <a:lnTo>
                  <a:pt x="2108948" y="2646924"/>
                </a:lnTo>
                <a:lnTo>
                  <a:pt x="2102499" y="2656599"/>
                </a:lnTo>
                <a:lnTo>
                  <a:pt x="2102499" y="2663047"/>
                </a:lnTo>
                <a:lnTo>
                  <a:pt x="2105724" y="2666272"/>
                </a:lnTo>
                <a:lnTo>
                  <a:pt x="2108948" y="2669497"/>
                </a:lnTo>
                <a:lnTo>
                  <a:pt x="2108948" y="2672722"/>
                </a:lnTo>
                <a:lnTo>
                  <a:pt x="2118622" y="2672722"/>
                </a:lnTo>
                <a:lnTo>
                  <a:pt x="2125072" y="2663047"/>
                </a:lnTo>
                <a:lnTo>
                  <a:pt x="2115398" y="2640475"/>
                </a:lnTo>
                <a:lnTo>
                  <a:pt x="2118622" y="2630801"/>
                </a:lnTo>
                <a:lnTo>
                  <a:pt x="2128297" y="2627576"/>
                </a:lnTo>
                <a:lnTo>
                  <a:pt x="2141195" y="2621126"/>
                </a:lnTo>
                <a:lnTo>
                  <a:pt x="2147645" y="2621126"/>
                </a:lnTo>
                <a:lnTo>
                  <a:pt x="2150869" y="2621126"/>
                </a:lnTo>
                <a:lnTo>
                  <a:pt x="2150869" y="2617902"/>
                </a:lnTo>
                <a:lnTo>
                  <a:pt x="2147645" y="2617902"/>
                </a:lnTo>
                <a:lnTo>
                  <a:pt x="2141195" y="2614678"/>
                </a:lnTo>
                <a:lnTo>
                  <a:pt x="2147645" y="2605003"/>
                </a:lnTo>
                <a:lnTo>
                  <a:pt x="2154095" y="2611452"/>
                </a:lnTo>
                <a:lnTo>
                  <a:pt x="2157319" y="2621126"/>
                </a:lnTo>
                <a:lnTo>
                  <a:pt x="2163769" y="2621126"/>
                </a:lnTo>
                <a:lnTo>
                  <a:pt x="2176667" y="2624352"/>
                </a:lnTo>
                <a:lnTo>
                  <a:pt x="2183116" y="2634025"/>
                </a:lnTo>
                <a:lnTo>
                  <a:pt x="2189566" y="2643699"/>
                </a:lnTo>
                <a:lnTo>
                  <a:pt x="2199240" y="2643699"/>
                </a:lnTo>
                <a:lnTo>
                  <a:pt x="2215363" y="2640475"/>
                </a:lnTo>
                <a:lnTo>
                  <a:pt x="2221813" y="2640475"/>
                </a:lnTo>
                <a:lnTo>
                  <a:pt x="2228263" y="2640475"/>
                </a:lnTo>
                <a:lnTo>
                  <a:pt x="2234711" y="2643699"/>
                </a:lnTo>
                <a:lnTo>
                  <a:pt x="2237937" y="2646924"/>
                </a:lnTo>
                <a:lnTo>
                  <a:pt x="2250835" y="2650149"/>
                </a:lnTo>
                <a:lnTo>
                  <a:pt x="2263734" y="2650149"/>
                </a:lnTo>
                <a:lnTo>
                  <a:pt x="2276632" y="2643699"/>
                </a:lnTo>
                <a:lnTo>
                  <a:pt x="2286307" y="2643699"/>
                </a:lnTo>
                <a:lnTo>
                  <a:pt x="2273408" y="2640475"/>
                </a:lnTo>
                <a:lnTo>
                  <a:pt x="2295981" y="2637250"/>
                </a:lnTo>
                <a:lnTo>
                  <a:pt x="2308879" y="2637250"/>
                </a:lnTo>
                <a:lnTo>
                  <a:pt x="2318554" y="2640475"/>
                </a:lnTo>
                <a:lnTo>
                  <a:pt x="2315329" y="2640475"/>
                </a:lnTo>
                <a:lnTo>
                  <a:pt x="2312104" y="2640475"/>
                </a:lnTo>
                <a:lnTo>
                  <a:pt x="2305655" y="2640475"/>
                </a:lnTo>
                <a:lnTo>
                  <a:pt x="2305655" y="2643699"/>
                </a:lnTo>
                <a:lnTo>
                  <a:pt x="2312104" y="2653373"/>
                </a:lnTo>
                <a:lnTo>
                  <a:pt x="2312104" y="2656599"/>
                </a:lnTo>
                <a:lnTo>
                  <a:pt x="2315329" y="2659823"/>
                </a:lnTo>
                <a:lnTo>
                  <a:pt x="2318554" y="2663047"/>
                </a:lnTo>
                <a:lnTo>
                  <a:pt x="2321778" y="2656599"/>
                </a:lnTo>
                <a:lnTo>
                  <a:pt x="2325003" y="2656599"/>
                </a:lnTo>
                <a:lnTo>
                  <a:pt x="2328228" y="2659823"/>
                </a:lnTo>
                <a:lnTo>
                  <a:pt x="2328228" y="2663047"/>
                </a:lnTo>
                <a:lnTo>
                  <a:pt x="2331452" y="2659823"/>
                </a:lnTo>
                <a:lnTo>
                  <a:pt x="2334677" y="2659823"/>
                </a:lnTo>
                <a:lnTo>
                  <a:pt x="2341126" y="2663047"/>
                </a:lnTo>
                <a:lnTo>
                  <a:pt x="2350800" y="2669497"/>
                </a:lnTo>
                <a:lnTo>
                  <a:pt x="2344352" y="2672722"/>
                </a:lnTo>
                <a:lnTo>
                  <a:pt x="2341126" y="2679171"/>
                </a:lnTo>
                <a:lnTo>
                  <a:pt x="2334677" y="2682396"/>
                </a:lnTo>
                <a:lnTo>
                  <a:pt x="2331452" y="2685620"/>
                </a:lnTo>
                <a:lnTo>
                  <a:pt x="2337902" y="2688846"/>
                </a:lnTo>
                <a:lnTo>
                  <a:pt x="2341126" y="2688846"/>
                </a:lnTo>
                <a:lnTo>
                  <a:pt x="2347576" y="2685620"/>
                </a:lnTo>
                <a:lnTo>
                  <a:pt x="2354025" y="2685620"/>
                </a:lnTo>
                <a:lnTo>
                  <a:pt x="2360475" y="2685620"/>
                </a:lnTo>
                <a:lnTo>
                  <a:pt x="2366924" y="2685620"/>
                </a:lnTo>
                <a:lnTo>
                  <a:pt x="2389497" y="2698520"/>
                </a:lnTo>
                <a:lnTo>
                  <a:pt x="2399171" y="2708193"/>
                </a:lnTo>
                <a:lnTo>
                  <a:pt x="2399171" y="2717867"/>
                </a:lnTo>
                <a:lnTo>
                  <a:pt x="2402396" y="2721092"/>
                </a:lnTo>
                <a:lnTo>
                  <a:pt x="2405620" y="2724317"/>
                </a:lnTo>
                <a:lnTo>
                  <a:pt x="2408845" y="2724317"/>
                </a:lnTo>
                <a:lnTo>
                  <a:pt x="2412070" y="2727541"/>
                </a:lnTo>
                <a:lnTo>
                  <a:pt x="2418519" y="2730767"/>
                </a:lnTo>
                <a:lnTo>
                  <a:pt x="2421744" y="2733991"/>
                </a:lnTo>
                <a:lnTo>
                  <a:pt x="2431418" y="2743665"/>
                </a:lnTo>
                <a:lnTo>
                  <a:pt x="2434643" y="2740440"/>
                </a:lnTo>
                <a:lnTo>
                  <a:pt x="2437867" y="2740440"/>
                </a:lnTo>
                <a:lnTo>
                  <a:pt x="2447541" y="2743665"/>
                </a:lnTo>
                <a:lnTo>
                  <a:pt x="2457215" y="2743665"/>
                </a:lnTo>
                <a:lnTo>
                  <a:pt x="2463665" y="2740440"/>
                </a:lnTo>
                <a:lnTo>
                  <a:pt x="2473339" y="2743665"/>
                </a:lnTo>
                <a:lnTo>
                  <a:pt x="2476564" y="2740440"/>
                </a:lnTo>
                <a:lnTo>
                  <a:pt x="2479788" y="2740440"/>
                </a:lnTo>
                <a:lnTo>
                  <a:pt x="2499136" y="2746890"/>
                </a:lnTo>
                <a:lnTo>
                  <a:pt x="2521709" y="2753339"/>
                </a:lnTo>
                <a:lnTo>
                  <a:pt x="2541057" y="2769462"/>
                </a:lnTo>
                <a:lnTo>
                  <a:pt x="2544282" y="2769462"/>
                </a:lnTo>
                <a:lnTo>
                  <a:pt x="2547507" y="2775912"/>
                </a:lnTo>
                <a:lnTo>
                  <a:pt x="2550731" y="2785584"/>
                </a:lnTo>
                <a:lnTo>
                  <a:pt x="2553955" y="2779136"/>
                </a:lnTo>
                <a:lnTo>
                  <a:pt x="2557179" y="2782360"/>
                </a:lnTo>
                <a:lnTo>
                  <a:pt x="2563629" y="2792034"/>
                </a:lnTo>
                <a:lnTo>
                  <a:pt x="2566854" y="2814607"/>
                </a:lnTo>
                <a:lnTo>
                  <a:pt x="2570079" y="2824281"/>
                </a:lnTo>
                <a:lnTo>
                  <a:pt x="2573303" y="2827506"/>
                </a:lnTo>
                <a:lnTo>
                  <a:pt x="2573303" y="2830731"/>
                </a:lnTo>
                <a:lnTo>
                  <a:pt x="2576528" y="2833955"/>
                </a:lnTo>
                <a:lnTo>
                  <a:pt x="2579753" y="2833955"/>
                </a:lnTo>
                <a:lnTo>
                  <a:pt x="2586202" y="2833955"/>
                </a:lnTo>
                <a:lnTo>
                  <a:pt x="2589426" y="2843629"/>
                </a:lnTo>
                <a:lnTo>
                  <a:pt x="2586202" y="2846854"/>
                </a:lnTo>
                <a:lnTo>
                  <a:pt x="2589426" y="2846854"/>
                </a:lnTo>
                <a:lnTo>
                  <a:pt x="2586202" y="2850079"/>
                </a:lnTo>
                <a:lnTo>
                  <a:pt x="2573303" y="2862978"/>
                </a:lnTo>
                <a:lnTo>
                  <a:pt x="2563629" y="2869426"/>
                </a:lnTo>
                <a:lnTo>
                  <a:pt x="2553955" y="2879101"/>
                </a:lnTo>
                <a:lnTo>
                  <a:pt x="2547506" y="2892000"/>
                </a:lnTo>
                <a:lnTo>
                  <a:pt x="2547506" y="2895225"/>
                </a:lnTo>
                <a:lnTo>
                  <a:pt x="2541056" y="2898449"/>
                </a:lnTo>
                <a:lnTo>
                  <a:pt x="2537832" y="2904899"/>
                </a:lnTo>
                <a:lnTo>
                  <a:pt x="2528158" y="2904899"/>
                </a:lnTo>
                <a:lnTo>
                  <a:pt x="2528158" y="2908123"/>
                </a:lnTo>
                <a:lnTo>
                  <a:pt x="2537832" y="2908123"/>
                </a:lnTo>
                <a:lnTo>
                  <a:pt x="2544281" y="2904899"/>
                </a:lnTo>
                <a:lnTo>
                  <a:pt x="2563629" y="2895225"/>
                </a:lnTo>
                <a:lnTo>
                  <a:pt x="2570079" y="2908123"/>
                </a:lnTo>
                <a:lnTo>
                  <a:pt x="2573303" y="2914573"/>
                </a:lnTo>
                <a:lnTo>
                  <a:pt x="2582978" y="2911348"/>
                </a:lnTo>
                <a:lnTo>
                  <a:pt x="2579753" y="2911348"/>
                </a:lnTo>
                <a:lnTo>
                  <a:pt x="2573303" y="2911348"/>
                </a:lnTo>
                <a:lnTo>
                  <a:pt x="2570079" y="2908123"/>
                </a:lnTo>
                <a:lnTo>
                  <a:pt x="2570079" y="2901674"/>
                </a:lnTo>
                <a:lnTo>
                  <a:pt x="2573303" y="2898449"/>
                </a:lnTo>
                <a:lnTo>
                  <a:pt x="2570079" y="2895225"/>
                </a:lnTo>
                <a:lnTo>
                  <a:pt x="2570079" y="2892000"/>
                </a:lnTo>
                <a:lnTo>
                  <a:pt x="2570079" y="2885550"/>
                </a:lnTo>
                <a:lnTo>
                  <a:pt x="2573303" y="2875876"/>
                </a:lnTo>
                <a:lnTo>
                  <a:pt x="2589426" y="2875876"/>
                </a:lnTo>
                <a:lnTo>
                  <a:pt x="2592652" y="2872652"/>
                </a:lnTo>
                <a:lnTo>
                  <a:pt x="2599101" y="2869426"/>
                </a:lnTo>
                <a:lnTo>
                  <a:pt x="2599101" y="2875876"/>
                </a:lnTo>
                <a:lnTo>
                  <a:pt x="2612000" y="2875876"/>
                </a:lnTo>
                <a:lnTo>
                  <a:pt x="2615224" y="2879101"/>
                </a:lnTo>
                <a:lnTo>
                  <a:pt x="2618449" y="2882326"/>
                </a:lnTo>
                <a:lnTo>
                  <a:pt x="2615224" y="2892000"/>
                </a:lnTo>
                <a:lnTo>
                  <a:pt x="2612000" y="2898449"/>
                </a:lnTo>
                <a:lnTo>
                  <a:pt x="2612000" y="2901674"/>
                </a:lnTo>
                <a:lnTo>
                  <a:pt x="2608775" y="2901674"/>
                </a:lnTo>
                <a:lnTo>
                  <a:pt x="2602326" y="2901674"/>
                </a:lnTo>
                <a:lnTo>
                  <a:pt x="2592652" y="2911348"/>
                </a:lnTo>
                <a:lnTo>
                  <a:pt x="2599101" y="2911348"/>
                </a:lnTo>
                <a:lnTo>
                  <a:pt x="2612000" y="2904899"/>
                </a:lnTo>
                <a:lnTo>
                  <a:pt x="2615224" y="2904899"/>
                </a:lnTo>
                <a:lnTo>
                  <a:pt x="2618449" y="2904899"/>
                </a:lnTo>
                <a:lnTo>
                  <a:pt x="2618449" y="2901674"/>
                </a:lnTo>
                <a:lnTo>
                  <a:pt x="2621673" y="2898449"/>
                </a:lnTo>
                <a:lnTo>
                  <a:pt x="2624899" y="2892000"/>
                </a:lnTo>
                <a:lnTo>
                  <a:pt x="2624899" y="2888775"/>
                </a:lnTo>
                <a:lnTo>
                  <a:pt x="2634573" y="2885550"/>
                </a:lnTo>
                <a:lnTo>
                  <a:pt x="2637797" y="2888775"/>
                </a:lnTo>
                <a:lnTo>
                  <a:pt x="2647471" y="2888775"/>
                </a:lnTo>
                <a:lnTo>
                  <a:pt x="2660370" y="2892000"/>
                </a:lnTo>
                <a:lnTo>
                  <a:pt x="2673268" y="2895225"/>
                </a:lnTo>
                <a:lnTo>
                  <a:pt x="2686168" y="2901674"/>
                </a:lnTo>
                <a:lnTo>
                  <a:pt x="2689392" y="2904899"/>
                </a:lnTo>
                <a:lnTo>
                  <a:pt x="2692617" y="2904899"/>
                </a:lnTo>
                <a:lnTo>
                  <a:pt x="2695841" y="2904899"/>
                </a:lnTo>
                <a:lnTo>
                  <a:pt x="2702291" y="2911348"/>
                </a:lnTo>
                <a:lnTo>
                  <a:pt x="2705515" y="2911348"/>
                </a:lnTo>
                <a:lnTo>
                  <a:pt x="2705515" y="2917797"/>
                </a:lnTo>
                <a:lnTo>
                  <a:pt x="2708741" y="2921022"/>
                </a:lnTo>
                <a:lnTo>
                  <a:pt x="2705515" y="2927472"/>
                </a:lnTo>
                <a:lnTo>
                  <a:pt x="2702291" y="2933921"/>
                </a:lnTo>
                <a:lnTo>
                  <a:pt x="2699067" y="2943594"/>
                </a:lnTo>
                <a:lnTo>
                  <a:pt x="2705515" y="2937146"/>
                </a:lnTo>
                <a:lnTo>
                  <a:pt x="2708741" y="2927472"/>
                </a:lnTo>
                <a:lnTo>
                  <a:pt x="2718415" y="2927472"/>
                </a:lnTo>
                <a:lnTo>
                  <a:pt x="2721639" y="2927472"/>
                </a:lnTo>
                <a:lnTo>
                  <a:pt x="2731314" y="2924247"/>
                </a:lnTo>
                <a:lnTo>
                  <a:pt x="2744212" y="2927472"/>
                </a:lnTo>
                <a:lnTo>
                  <a:pt x="2763560" y="2933921"/>
                </a:lnTo>
                <a:lnTo>
                  <a:pt x="2782909" y="2933921"/>
                </a:lnTo>
                <a:lnTo>
                  <a:pt x="2789358" y="2933921"/>
                </a:lnTo>
                <a:lnTo>
                  <a:pt x="2802256" y="2933921"/>
                </a:lnTo>
                <a:lnTo>
                  <a:pt x="2824830" y="2946820"/>
                </a:lnTo>
                <a:lnTo>
                  <a:pt x="2837728" y="2953269"/>
                </a:lnTo>
                <a:lnTo>
                  <a:pt x="2847403" y="2962943"/>
                </a:lnTo>
                <a:lnTo>
                  <a:pt x="2892548" y="2982291"/>
                </a:lnTo>
                <a:lnTo>
                  <a:pt x="2902222" y="2982291"/>
                </a:lnTo>
                <a:lnTo>
                  <a:pt x="2915121" y="3008089"/>
                </a:lnTo>
                <a:lnTo>
                  <a:pt x="2918345" y="3020988"/>
                </a:lnTo>
                <a:lnTo>
                  <a:pt x="2918345" y="3030662"/>
                </a:lnTo>
                <a:lnTo>
                  <a:pt x="2918345" y="3043561"/>
                </a:lnTo>
                <a:lnTo>
                  <a:pt x="2918345" y="3050009"/>
                </a:lnTo>
                <a:lnTo>
                  <a:pt x="2915121" y="3056459"/>
                </a:lnTo>
                <a:lnTo>
                  <a:pt x="2915121" y="3059684"/>
                </a:lnTo>
                <a:lnTo>
                  <a:pt x="2911896" y="3066133"/>
                </a:lnTo>
                <a:lnTo>
                  <a:pt x="2905447" y="3075808"/>
                </a:lnTo>
                <a:lnTo>
                  <a:pt x="2895772" y="3085482"/>
                </a:lnTo>
                <a:lnTo>
                  <a:pt x="2889324" y="3095156"/>
                </a:lnTo>
                <a:lnTo>
                  <a:pt x="2882874" y="3101605"/>
                </a:lnTo>
                <a:lnTo>
                  <a:pt x="2879649" y="3104830"/>
                </a:lnTo>
                <a:lnTo>
                  <a:pt x="2869975" y="3111279"/>
                </a:lnTo>
                <a:lnTo>
                  <a:pt x="2866751" y="3114504"/>
                </a:lnTo>
                <a:lnTo>
                  <a:pt x="2866751" y="3117729"/>
                </a:lnTo>
                <a:lnTo>
                  <a:pt x="2863525" y="3124177"/>
                </a:lnTo>
                <a:lnTo>
                  <a:pt x="2857077" y="3137077"/>
                </a:lnTo>
                <a:lnTo>
                  <a:pt x="2840953" y="3156424"/>
                </a:lnTo>
                <a:lnTo>
                  <a:pt x="2837728" y="3159650"/>
                </a:lnTo>
                <a:lnTo>
                  <a:pt x="2831279" y="3159650"/>
                </a:lnTo>
                <a:lnTo>
                  <a:pt x="2828054" y="3166098"/>
                </a:lnTo>
                <a:lnTo>
                  <a:pt x="2828054" y="3169324"/>
                </a:lnTo>
                <a:lnTo>
                  <a:pt x="2828054" y="3178998"/>
                </a:lnTo>
                <a:lnTo>
                  <a:pt x="2828054" y="3191897"/>
                </a:lnTo>
                <a:lnTo>
                  <a:pt x="2828054" y="3204795"/>
                </a:lnTo>
                <a:lnTo>
                  <a:pt x="2828054" y="3217694"/>
                </a:lnTo>
                <a:lnTo>
                  <a:pt x="2828054" y="3227368"/>
                </a:lnTo>
                <a:lnTo>
                  <a:pt x="2828054" y="3230592"/>
                </a:lnTo>
                <a:lnTo>
                  <a:pt x="2824830" y="3246716"/>
                </a:lnTo>
                <a:lnTo>
                  <a:pt x="2821604" y="3259615"/>
                </a:lnTo>
                <a:lnTo>
                  <a:pt x="2821604" y="3262839"/>
                </a:lnTo>
                <a:lnTo>
                  <a:pt x="2818380" y="3272513"/>
                </a:lnTo>
                <a:lnTo>
                  <a:pt x="2811930" y="3291862"/>
                </a:lnTo>
                <a:lnTo>
                  <a:pt x="2811930" y="3304760"/>
                </a:lnTo>
                <a:lnTo>
                  <a:pt x="2808706" y="3307986"/>
                </a:lnTo>
                <a:lnTo>
                  <a:pt x="2805481" y="3311210"/>
                </a:lnTo>
                <a:lnTo>
                  <a:pt x="2802256" y="3317660"/>
                </a:lnTo>
                <a:lnTo>
                  <a:pt x="2799032" y="3324109"/>
                </a:lnTo>
                <a:lnTo>
                  <a:pt x="2792583" y="3333783"/>
                </a:lnTo>
                <a:lnTo>
                  <a:pt x="2789358" y="3337007"/>
                </a:lnTo>
                <a:lnTo>
                  <a:pt x="2786133" y="3340233"/>
                </a:lnTo>
                <a:lnTo>
                  <a:pt x="2782909" y="3356356"/>
                </a:lnTo>
                <a:lnTo>
                  <a:pt x="2782909" y="3366030"/>
                </a:lnTo>
                <a:lnTo>
                  <a:pt x="2770009" y="3369254"/>
                </a:lnTo>
                <a:lnTo>
                  <a:pt x="2760336" y="3378928"/>
                </a:lnTo>
                <a:lnTo>
                  <a:pt x="2760336" y="3382154"/>
                </a:lnTo>
                <a:lnTo>
                  <a:pt x="2757111" y="3385378"/>
                </a:lnTo>
                <a:lnTo>
                  <a:pt x="2728089" y="3388602"/>
                </a:lnTo>
                <a:lnTo>
                  <a:pt x="2718415" y="3385378"/>
                </a:lnTo>
                <a:lnTo>
                  <a:pt x="2711965" y="3385378"/>
                </a:lnTo>
                <a:lnTo>
                  <a:pt x="2705515" y="3385378"/>
                </a:lnTo>
                <a:lnTo>
                  <a:pt x="2702291" y="3388602"/>
                </a:lnTo>
                <a:lnTo>
                  <a:pt x="2702291" y="3395052"/>
                </a:lnTo>
                <a:lnTo>
                  <a:pt x="2689392" y="3401502"/>
                </a:lnTo>
                <a:lnTo>
                  <a:pt x="2676494" y="3404726"/>
                </a:lnTo>
                <a:lnTo>
                  <a:pt x="2663594" y="3411175"/>
                </a:lnTo>
                <a:lnTo>
                  <a:pt x="2650696" y="3417625"/>
                </a:lnTo>
                <a:lnTo>
                  <a:pt x="2650696" y="3420849"/>
                </a:lnTo>
                <a:lnTo>
                  <a:pt x="2647471" y="3424075"/>
                </a:lnTo>
                <a:lnTo>
                  <a:pt x="2644247" y="3427299"/>
                </a:lnTo>
                <a:lnTo>
                  <a:pt x="2631347" y="3436973"/>
                </a:lnTo>
                <a:lnTo>
                  <a:pt x="2621673" y="3443422"/>
                </a:lnTo>
                <a:lnTo>
                  <a:pt x="2618449" y="3449872"/>
                </a:lnTo>
                <a:lnTo>
                  <a:pt x="2618449" y="3456322"/>
                </a:lnTo>
                <a:lnTo>
                  <a:pt x="2615224" y="3465996"/>
                </a:lnTo>
                <a:lnTo>
                  <a:pt x="2615224" y="3469220"/>
                </a:lnTo>
                <a:lnTo>
                  <a:pt x="2615224" y="3485343"/>
                </a:lnTo>
                <a:lnTo>
                  <a:pt x="2615224" y="3498243"/>
                </a:lnTo>
                <a:lnTo>
                  <a:pt x="2615224" y="3511141"/>
                </a:lnTo>
                <a:lnTo>
                  <a:pt x="2615224" y="3517591"/>
                </a:lnTo>
                <a:lnTo>
                  <a:pt x="2612000" y="3524040"/>
                </a:lnTo>
                <a:lnTo>
                  <a:pt x="2592652" y="3543388"/>
                </a:lnTo>
                <a:lnTo>
                  <a:pt x="2582978" y="3556287"/>
                </a:lnTo>
                <a:lnTo>
                  <a:pt x="2579753" y="3565961"/>
                </a:lnTo>
                <a:lnTo>
                  <a:pt x="2563629" y="3591759"/>
                </a:lnTo>
                <a:lnTo>
                  <a:pt x="2541056" y="3611106"/>
                </a:lnTo>
                <a:lnTo>
                  <a:pt x="2541056" y="3604658"/>
                </a:lnTo>
                <a:lnTo>
                  <a:pt x="2544281" y="3604658"/>
                </a:lnTo>
                <a:lnTo>
                  <a:pt x="2550731" y="3601432"/>
                </a:lnTo>
                <a:lnTo>
                  <a:pt x="2560405" y="3591759"/>
                </a:lnTo>
                <a:lnTo>
                  <a:pt x="2563629" y="3585309"/>
                </a:lnTo>
                <a:lnTo>
                  <a:pt x="2570079" y="3575635"/>
                </a:lnTo>
                <a:lnTo>
                  <a:pt x="2573303" y="3565961"/>
                </a:lnTo>
                <a:lnTo>
                  <a:pt x="2570079" y="3562737"/>
                </a:lnTo>
                <a:lnTo>
                  <a:pt x="2566854" y="3565961"/>
                </a:lnTo>
                <a:lnTo>
                  <a:pt x="2557179" y="3559512"/>
                </a:lnTo>
                <a:lnTo>
                  <a:pt x="2550731" y="3588534"/>
                </a:lnTo>
                <a:lnTo>
                  <a:pt x="2541056" y="3591759"/>
                </a:lnTo>
                <a:lnTo>
                  <a:pt x="2537832" y="3601432"/>
                </a:lnTo>
                <a:lnTo>
                  <a:pt x="2537832" y="3607882"/>
                </a:lnTo>
                <a:lnTo>
                  <a:pt x="2537832" y="3614332"/>
                </a:lnTo>
                <a:lnTo>
                  <a:pt x="2534607" y="3620781"/>
                </a:lnTo>
                <a:lnTo>
                  <a:pt x="2528158" y="3636905"/>
                </a:lnTo>
                <a:lnTo>
                  <a:pt x="2521708" y="3643353"/>
                </a:lnTo>
                <a:lnTo>
                  <a:pt x="2512034" y="3653027"/>
                </a:lnTo>
                <a:lnTo>
                  <a:pt x="2512035" y="3653028"/>
                </a:lnTo>
                <a:lnTo>
                  <a:pt x="2505586" y="3665928"/>
                </a:lnTo>
                <a:lnTo>
                  <a:pt x="2502361" y="3672377"/>
                </a:lnTo>
                <a:lnTo>
                  <a:pt x="2495912" y="3678827"/>
                </a:lnTo>
                <a:lnTo>
                  <a:pt x="2483013" y="3685275"/>
                </a:lnTo>
                <a:lnTo>
                  <a:pt x="2476564" y="3685275"/>
                </a:lnTo>
                <a:lnTo>
                  <a:pt x="2473339" y="3685275"/>
                </a:lnTo>
                <a:lnTo>
                  <a:pt x="2460440" y="3682051"/>
                </a:lnTo>
                <a:lnTo>
                  <a:pt x="2450767" y="3685275"/>
                </a:lnTo>
                <a:lnTo>
                  <a:pt x="2437867" y="3678827"/>
                </a:lnTo>
                <a:lnTo>
                  <a:pt x="2434643" y="3675601"/>
                </a:lnTo>
                <a:lnTo>
                  <a:pt x="2428193" y="3672377"/>
                </a:lnTo>
                <a:lnTo>
                  <a:pt x="2421744" y="3672377"/>
                </a:lnTo>
                <a:lnTo>
                  <a:pt x="2415294" y="3672377"/>
                </a:lnTo>
                <a:lnTo>
                  <a:pt x="2408845" y="3665928"/>
                </a:lnTo>
                <a:lnTo>
                  <a:pt x="2402396" y="3665928"/>
                </a:lnTo>
                <a:lnTo>
                  <a:pt x="2402396" y="3669152"/>
                </a:lnTo>
                <a:lnTo>
                  <a:pt x="2399171" y="3669152"/>
                </a:lnTo>
                <a:lnTo>
                  <a:pt x="2402396" y="3675601"/>
                </a:lnTo>
                <a:lnTo>
                  <a:pt x="2412070" y="3682051"/>
                </a:lnTo>
                <a:lnTo>
                  <a:pt x="2424968" y="3691725"/>
                </a:lnTo>
                <a:lnTo>
                  <a:pt x="2428193" y="3698175"/>
                </a:lnTo>
                <a:lnTo>
                  <a:pt x="2428193" y="3704624"/>
                </a:lnTo>
                <a:lnTo>
                  <a:pt x="2424968" y="3714298"/>
                </a:lnTo>
                <a:lnTo>
                  <a:pt x="2434643" y="3723972"/>
                </a:lnTo>
                <a:lnTo>
                  <a:pt x="2437867" y="3727196"/>
                </a:lnTo>
                <a:lnTo>
                  <a:pt x="2437867" y="3740096"/>
                </a:lnTo>
                <a:lnTo>
                  <a:pt x="2428193" y="3756219"/>
                </a:lnTo>
                <a:lnTo>
                  <a:pt x="2421744" y="3769118"/>
                </a:lnTo>
                <a:lnTo>
                  <a:pt x="2421744" y="3772343"/>
                </a:lnTo>
                <a:lnTo>
                  <a:pt x="2415294" y="3775567"/>
                </a:lnTo>
                <a:lnTo>
                  <a:pt x="2402396" y="3782016"/>
                </a:lnTo>
                <a:lnTo>
                  <a:pt x="2350800" y="3794916"/>
                </a:lnTo>
                <a:lnTo>
                  <a:pt x="2325003" y="3794916"/>
                </a:lnTo>
                <a:lnTo>
                  <a:pt x="2321778" y="3794916"/>
                </a:lnTo>
                <a:lnTo>
                  <a:pt x="2321778" y="3791690"/>
                </a:lnTo>
                <a:lnTo>
                  <a:pt x="2315329" y="3791690"/>
                </a:lnTo>
                <a:lnTo>
                  <a:pt x="2315329" y="3794916"/>
                </a:lnTo>
                <a:lnTo>
                  <a:pt x="2315329" y="3804590"/>
                </a:lnTo>
                <a:lnTo>
                  <a:pt x="2318554" y="3804590"/>
                </a:lnTo>
                <a:lnTo>
                  <a:pt x="2321778" y="3807814"/>
                </a:lnTo>
                <a:lnTo>
                  <a:pt x="2321778" y="3814264"/>
                </a:lnTo>
                <a:lnTo>
                  <a:pt x="2318554" y="3820713"/>
                </a:lnTo>
                <a:lnTo>
                  <a:pt x="2315329" y="3820713"/>
                </a:lnTo>
                <a:lnTo>
                  <a:pt x="2315329" y="3823937"/>
                </a:lnTo>
                <a:lnTo>
                  <a:pt x="2315329" y="3830387"/>
                </a:lnTo>
                <a:lnTo>
                  <a:pt x="2312104" y="3833611"/>
                </a:lnTo>
                <a:lnTo>
                  <a:pt x="2315329" y="3840061"/>
                </a:lnTo>
                <a:lnTo>
                  <a:pt x="2318554" y="3843286"/>
                </a:lnTo>
                <a:lnTo>
                  <a:pt x="2315329" y="3849735"/>
                </a:lnTo>
                <a:lnTo>
                  <a:pt x="2305655" y="3856184"/>
                </a:lnTo>
                <a:lnTo>
                  <a:pt x="2295981" y="3859410"/>
                </a:lnTo>
                <a:lnTo>
                  <a:pt x="2283082" y="3859410"/>
                </a:lnTo>
                <a:lnTo>
                  <a:pt x="2266958" y="3849735"/>
                </a:lnTo>
                <a:lnTo>
                  <a:pt x="2263734" y="3846511"/>
                </a:lnTo>
                <a:lnTo>
                  <a:pt x="2260510" y="3846511"/>
                </a:lnTo>
                <a:lnTo>
                  <a:pt x="2254060" y="3856184"/>
                </a:lnTo>
                <a:lnTo>
                  <a:pt x="2257284" y="3869084"/>
                </a:lnTo>
                <a:lnTo>
                  <a:pt x="2257284" y="3878758"/>
                </a:lnTo>
                <a:lnTo>
                  <a:pt x="2254060" y="3881982"/>
                </a:lnTo>
                <a:lnTo>
                  <a:pt x="2266958" y="3894881"/>
                </a:lnTo>
                <a:lnTo>
                  <a:pt x="2276632" y="3894881"/>
                </a:lnTo>
                <a:lnTo>
                  <a:pt x="2273408" y="3888432"/>
                </a:lnTo>
                <a:lnTo>
                  <a:pt x="2286307" y="3885207"/>
                </a:lnTo>
                <a:lnTo>
                  <a:pt x="2289531" y="3898105"/>
                </a:lnTo>
                <a:lnTo>
                  <a:pt x="2286307" y="3907779"/>
                </a:lnTo>
                <a:lnTo>
                  <a:pt x="2276632" y="3907779"/>
                </a:lnTo>
                <a:lnTo>
                  <a:pt x="2273408" y="3904555"/>
                </a:lnTo>
                <a:lnTo>
                  <a:pt x="2273408" y="3901331"/>
                </a:lnTo>
                <a:lnTo>
                  <a:pt x="2263734" y="3898105"/>
                </a:lnTo>
                <a:lnTo>
                  <a:pt x="2257284" y="3904555"/>
                </a:lnTo>
                <a:lnTo>
                  <a:pt x="2266958" y="3911005"/>
                </a:lnTo>
                <a:lnTo>
                  <a:pt x="2257284" y="3920679"/>
                </a:lnTo>
                <a:lnTo>
                  <a:pt x="2254060" y="3923903"/>
                </a:lnTo>
                <a:lnTo>
                  <a:pt x="2254060" y="3927128"/>
                </a:lnTo>
                <a:lnTo>
                  <a:pt x="2250835" y="3933578"/>
                </a:lnTo>
                <a:lnTo>
                  <a:pt x="2250835" y="3943252"/>
                </a:lnTo>
                <a:lnTo>
                  <a:pt x="2247610" y="3959375"/>
                </a:lnTo>
                <a:lnTo>
                  <a:pt x="2234711" y="3969049"/>
                </a:lnTo>
                <a:lnTo>
                  <a:pt x="2225037" y="3975499"/>
                </a:lnTo>
                <a:lnTo>
                  <a:pt x="2212139" y="3985173"/>
                </a:lnTo>
                <a:lnTo>
                  <a:pt x="2202465" y="3998071"/>
                </a:lnTo>
                <a:lnTo>
                  <a:pt x="2199240" y="4010970"/>
                </a:lnTo>
                <a:lnTo>
                  <a:pt x="2208914" y="4027094"/>
                </a:lnTo>
                <a:lnTo>
                  <a:pt x="2215363" y="4036767"/>
                </a:lnTo>
                <a:lnTo>
                  <a:pt x="2225037" y="4036767"/>
                </a:lnTo>
                <a:lnTo>
                  <a:pt x="2231487" y="4039992"/>
                </a:lnTo>
                <a:lnTo>
                  <a:pt x="2234711" y="4039992"/>
                </a:lnTo>
                <a:lnTo>
                  <a:pt x="2241161" y="4046441"/>
                </a:lnTo>
                <a:lnTo>
                  <a:pt x="2241161" y="4056115"/>
                </a:lnTo>
                <a:lnTo>
                  <a:pt x="2237937" y="4062565"/>
                </a:lnTo>
                <a:lnTo>
                  <a:pt x="2237937" y="4069014"/>
                </a:lnTo>
                <a:lnTo>
                  <a:pt x="2231487" y="4075464"/>
                </a:lnTo>
                <a:lnTo>
                  <a:pt x="2221813" y="4081914"/>
                </a:lnTo>
                <a:lnTo>
                  <a:pt x="2208914" y="4094812"/>
                </a:lnTo>
                <a:lnTo>
                  <a:pt x="2199240" y="4104486"/>
                </a:lnTo>
                <a:lnTo>
                  <a:pt x="2199240" y="4110935"/>
                </a:lnTo>
                <a:lnTo>
                  <a:pt x="2196016" y="4127059"/>
                </a:lnTo>
                <a:lnTo>
                  <a:pt x="2192790" y="4136733"/>
                </a:lnTo>
                <a:lnTo>
                  <a:pt x="2186342" y="4139958"/>
                </a:lnTo>
                <a:lnTo>
                  <a:pt x="2183116" y="4139958"/>
                </a:lnTo>
                <a:lnTo>
                  <a:pt x="2179892" y="4143182"/>
                </a:lnTo>
                <a:lnTo>
                  <a:pt x="2176667" y="4143182"/>
                </a:lnTo>
                <a:lnTo>
                  <a:pt x="2166993" y="4152856"/>
                </a:lnTo>
                <a:lnTo>
                  <a:pt x="2166993" y="4162530"/>
                </a:lnTo>
                <a:lnTo>
                  <a:pt x="2166993" y="4168980"/>
                </a:lnTo>
                <a:lnTo>
                  <a:pt x="2166993" y="4172205"/>
                </a:lnTo>
                <a:lnTo>
                  <a:pt x="2170218" y="4181879"/>
                </a:lnTo>
                <a:lnTo>
                  <a:pt x="2170218" y="4188328"/>
                </a:lnTo>
                <a:lnTo>
                  <a:pt x="2176667" y="4204451"/>
                </a:lnTo>
                <a:lnTo>
                  <a:pt x="2183116" y="4217350"/>
                </a:lnTo>
                <a:lnTo>
                  <a:pt x="2173442" y="4214126"/>
                </a:lnTo>
                <a:lnTo>
                  <a:pt x="2163769" y="4210901"/>
                </a:lnTo>
                <a:lnTo>
                  <a:pt x="2162454" y="4210463"/>
                </a:lnTo>
                <a:lnTo>
                  <a:pt x="2163767" y="4210901"/>
                </a:lnTo>
                <a:lnTo>
                  <a:pt x="2173441" y="4214126"/>
                </a:lnTo>
                <a:lnTo>
                  <a:pt x="2183115" y="4217350"/>
                </a:lnTo>
                <a:lnTo>
                  <a:pt x="2166992" y="4214126"/>
                </a:lnTo>
                <a:lnTo>
                  <a:pt x="2158078" y="4217098"/>
                </a:lnTo>
                <a:lnTo>
                  <a:pt x="2156998" y="4217671"/>
                </a:lnTo>
                <a:lnTo>
                  <a:pt x="2150868" y="4223800"/>
                </a:lnTo>
                <a:lnTo>
                  <a:pt x="2141194" y="4227024"/>
                </a:lnTo>
                <a:lnTo>
                  <a:pt x="2134745" y="4230250"/>
                </a:lnTo>
                <a:lnTo>
                  <a:pt x="2128296" y="4236698"/>
                </a:lnTo>
                <a:lnTo>
                  <a:pt x="2125071" y="4256047"/>
                </a:lnTo>
                <a:lnTo>
                  <a:pt x="2125071" y="4268945"/>
                </a:lnTo>
                <a:lnTo>
                  <a:pt x="2102499" y="4265721"/>
                </a:lnTo>
                <a:lnTo>
                  <a:pt x="2096049" y="4262496"/>
                </a:lnTo>
                <a:lnTo>
                  <a:pt x="2092824" y="4259271"/>
                </a:lnTo>
                <a:lnTo>
                  <a:pt x="2079926" y="4252822"/>
                </a:lnTo>
                <a:lnTo>
                  <a:pt x="2073476" y="4239924"/>
                </a:lnTo>
                <a:lnTo>
                  <a:pt x="2070252" y="4230250"/>
                </a:lnTo>
                <a:lnTo>
                  <a:pt x="2070252" y="4220575"/>
                </a:lnTo>
                <a:lnTo>
                  <a:pt x="2076700" y="4214126"/>
                </a:lnTo>
                <a:lnTo>
                  <a:pt x="2073476" y="4207677"/>
                </a:lnTo>
                <a:lnTo>
                  <a:pt x="2070252" y="4204451"/>
                </a:lnTo>
                <a:lnTo>
                  <a:pt x="2067026" y="4198003"/>
                </a:lnTo>
                <a:lnTo>
                  <a:pt x="2067026" y="4188328"/>
                </a:lnTo>
                <a:lnTo>
                  <a:pt x="2067026" y="4178654"/>
                </a:lnTo>
                <a:lnTo>
                  <a:pt x="2054128" y="4168980"/>
                </a:lnTo>
                <a:lnTo>
                  <a:pt x="2063802" y="4168980"/>
                </a:lnTo>
                <a:lnTo>
                  <a:pt x="2057353" y="4159306"/>
                </a:lnTo>
                <a:lnTo>
                  <a:pt x="2057353" y="4156082"/>
                </a:lnTo>
                <a:lnTo>
                  <a:pt x="2057353" y="4149632"/>
                </a:lnTo>
                <a:lnTo>
                  <a:pt x="2050903" y="4146407"/>
                </a:lnTo>
                <a:lnTo>
                  <a:pt x="2054128" y="4139958"/>
                </a:lnTo>
                <a:lnTo>
                  <a:pt x="2060577" y="4136733"/>
                </a:lnTo>
                <a:lnTo>
                  <a:pt x="2057353" y="4127059"/>
                </a:lnTo>
                <a:lnTo>
                  <a:pt x="2060577" y="4123835"/>
                </a:lnTo>
                <a:lnTo>
                  <a:pt x="2054128" y="4117385"/>
                </a:lnTo>
                <a:lnTo>
                  <a:pt x="2050903" y="4107711"/>
                </a:lnTo>
                <a:lnTo>
                  <a:pt x="2050903" y="4098037"/>
                </a:lnTo>
                <a:lnTo>
                  <a:pt x="2050903" y="4085138"/>
                </a:lnTo>
                <a:lnTo>
                  <a:pt x="2050903" y="4072239"/>
                </a:lnTo>
                <a:lnTo>
                  <a:pt x="2057353" y="4069014"/>
                </a:lnTo>
                <a:lnTo>
                  <a:pt x="2067026" y="4069014"/>
                </a:lnTo>
                <a:lnTo>
                  <a:pt x="2070252" y="4062565"/>
                </a:lnTo>
                <a:lnTo>
                  <a:pt x="2057353" y="4062565"/>
                </a:lnTo>
                <a:lnTo>
                  <a:pt x="2047679" y="4062565"/>
                </a:lnTo>
                <a:lnTo>
                  <a:pt x="2044453" y="4059341"/>
                </a:lnTo>
                <a:lnTo>
                  <a:pt x="2047679" y="4052891"/>
                </a:lnTo>
                <a:lnTo>
                  <a:pt x="2050903" y="4052891"/>
                </a:lnTo>
                <a:lnTo>
                  <a:pt x="2057353" y="4043217"/>
                </a:lnTo>
                <a:lnTo>
                  <a:pt x="2057353" y="4046441"/>
                </a:lnTo>
                <a:lnTo>
                  <a:pt x="2060577" y="4036767"/>
                </a:lnTo>
                <a:lnTo>
                  <a:pt x="2050903" y="4030318"/>
                </a:lnTo>
                <a:lnTo>
                  <a:pt x="2041229" y="4030318"/>
                </a:lnTo>
                <a:lnTo>
                  <a:pt x="2028331" y="4027094"/>
                </a:lnTo>
                <a:lnTo>
                  <a:pt x="2028331" y="4033543"/>
                </a:lnTo>
                <a:lnTo>
                  <a:pt x="2025105" y="4033543"/>
                </a:lnTo>
                <a:lnTo>
                  <a:pt x="2025105" y="4023869"/>
                </a:lnTo>
                <a:lnTo>
                  <a:pt x="2031555" y="4017420"/>
                </a:lnTo>
                <a:lnTo>
                  <a:pt x="2038005" y="4014194"/>
                </a:lnTo>
                <a:lnTo>
                  <a:pt x="2044453" y="4001296"/>
                </a:lnTo>
                <a:lnTo>
                  <a:pt x="2050903" y="3998071"/>
                </a:lnTo>
                <a:lnTo>
                  <a:pt x="2057353" y="4001296"/>
                </a:lnTo>
                <a:lnTo>
                  <a:pt x="2063802" y="4010970"/>
                </a:lnTo>
                <a:lnTo>
                  <a:pt x="2067026" y="4007746"/>
                </a:lnTo>
                <a:lnTo>
                  <a:pt x="2067026" y="4001296"/>
                </a:lnTo>
                <a:lnTo>
                  <a:pt x="2070252" y="3988397"/>
                </a:lnTo>
                <a:lnTo>
                  <a:pt x="2076700" y="3972273"/>
                </a:lnTo>
                <a:lnTo>
                  <a:pt x="2083150" y="3969049"/>
                </a:lnTo>
                <a:lnTo>
                  <a:pt x="2089600" y="3962599"/>
                </a:lnTo>
                <a:lnTo>
                  <a:pt x="2086375" y="3959375"/>
                </a:lnTo>
                <a:lnTo>
                  <a:pt x="2083150" y="3965825"/>
                </a:lnTo>
                <a:lnTo>
                  <a:pt x="2073476" y="3972273"/>
                </a:lnTo>
                <a:lnTo>
                  <a:pt x="2070252" y="3965825"/>
                </a:lnTo>
                <a:lnTo>
                  <a:pt x="2073476" y="3959375"/>
                </a:lnTo>
                <a:lnTo>
                  <a:pt x="2083150" y="3956150"/>
                </a:lnTo>
                <a:lnTo>
                  <a:pt x="2076700" y="3949701"/>
                </a:lnTo>
                <a:lnTo>
                  <a:pt x="2076700" y="3946476"/>
                </a:lnTo>
                <a:lnTo>
                  <a:pt x="2083150" y="3936802"/>
                </a:lnTo>
                <a:lnTo>
                  <a:pt x="2083150" y="3904555"/>
                </a:lnTo>
                <a:lnTo>
                  <a:pt x="2086375" y="3891657"/>
                </a:lnTo>
                <a:lnTo>
                  <a:pt x="2086375" y="3881982"/>
                </a:lnTo>
                <a:lnTo>
                  <a:pt x="2089600" y="3875533"/>
                </a:lnTo>
                <a:lnTo>
                  <a:pt x="2083150" y="3869084"/>
                </a:lnTo>
                <a:lnTo>
                  <a:pt x="2079926" y="3872308"/>
                </a:lnTo>
                <a:lnTo>
                  <a:pt x="2079926" y="3875533"/>
                </a:lnTo>
                <a:lnTo>
                  <a:pt x="2070252" y="3875533"/>
                </a:lnTo>
                <a:lnTo>
                  <a:pt x="2067026" y="3875533"/>
                </a:lnTo>
                <a:lnTo>
                  <a:pt x="2067026" y="3872308"/>
                </a:lnTo>
                <a:lnTo>
                  <a:pt x="2060577" y="3852960"/>
                </a:lnTo>
                <a:lnTo>
                  <a:pt x="2063802" y="3843286"/>
                </a:lnTo>
                <a:lnTo>
                  <a:pt x="2067026" y="3830387"/>
                </a:lnTo>
                <a:lnTo>
                  <a:pt x="2070252" y="3820713"/>
                </a:lnTo>
                <a:lnTo>
                  <a:pt x="2073476" y="3817489"/>
                </a:lnTo>
                <a:lnTo>
                  <a:pt x="2076700" y="3811039"/>
                </a:lnTo>
                <a:lnTo>
                  <a:pt x="2076700" y="3801364"/>
                </a:lnTo>
                <a:lnTo>
                  <a:pt x="2076700" y="3798140"/>
                </a:lnTo>
                <a:lnTo>
                  <a:pt x="2070252" y="3785241"/>
                </a:lnTo>
                <a:lnTo>
                  <a:pt x="2070252" y="3775567"/>
                </a:lnTo>
                <a:lnTo>
                  <a:pt x="2067026" y="3765893"/>
                </a:lnTo>
                <a:lnTo>
                  <a:pt x="2067026" y="3749769"/>
                </a:lnTo>
                <a:lnTo>
                  <a:pt x="2070252" y="3746545"/>
                </a:lnTo>
                <a:lnTo>
                  <a:pt x="2073476" y="3746545"/>
                </a:lnTo>
                <a:lnTo>
                  <a:pt x="2076700" y="3746545"/>
                </a:lnTo>
                <a:lnTo>
                  <a:pt x="2079926" y="3736871"/>
                </a:lnTo>
                <a:lnTo>
                  <a:pt x="2079926" y="3733646"/>
                </a:lnTo>
                <a:lnTo>
                  <a:pt x="2083150" y="3723972"/>
                </a:lnTo>
                <a:lnTo>
                  <a:pt x="2086375" y="3714298"/>
                </a:lnTo>
                <a:lnTo>
                  <a:pt x="2089600" y="3701399"/>
                </a:lnTo>
                <a:lnTo>
                  <a:pt x="2099273" y="3688501"/>
                </a:lnTo>
                <a:lnTo>
                  <a:pt x="2102499" y="3672377"/>
                </a:lnTo>
                <a:lnTo>
                  <a:pt x="2102499" y="3665928"/>
                </a:lnTo>
                <a:lnTo>
                  <a:pt x="2105723" y="3659478"/>
                </a:lnTo>
                <a:lnTo>
                  <a:pt x="2112173" y="3646580"/>
                </a:lnTo>
                <a:lnTo>
                  <a:pt x="2108947" y="3636905"/>
                </a:lnTo>
                <a:lnTo>
                  <a:pt x="2115397" y="3633681"/>
                </a:lnTo>
                <a:lnTo>
                  <a:pt x="2112173" y="3601434"/>
                </a:lnTo>
                <a:lnTo>
                  <a:pt x="2112173" y="3585310"/>
                </a:lnTo>
                <a:lnTo>
                  <a:pt x="2108947" y="3572412"/>
                </a:lnTo>
                <a:lnTo>
                  <a:pt x="2112173" y="3565962"/>
                </a:lnTo>
                <a:lnTo>
                  <a:pt x="2118621" y="3559513"/>
                </a:lnTo>
                <a:lnTo>
                  <a:pt x="2118621" y="3546614"/>
                </a:lnTo>
                <a:lnTo>
                  <a:pt x="2115397" y="3530491"/>
                </a:lnTo>
                <a:lnTo>
                  <a:pt x="2115397" y="3527266"/>
                </a:lnTo>
                <a:lnTo>
                  <a:pt x="2121847" y="3517592"/>
                </a:lnTo>
                <a:lnTo>
                  <a:pt x="2125071" y="3501468"/>
                </a:lnTo>
                <a:lnTo>
                  <a:pt x="2128296" y="3498244"/>
                </a:lnTo>
                <a:lnTo>
                  <a:pt x="2128296" y="3491794"/>
                </a:lnTo>
                <a:lnTo>
                  <a:pt x="2128296" y="3485344"/>
                </a:lnTo>
                <a:lnTo>
                  <a:pt x="2131520" y="3478895"/>
                </a:lnTo>
                <a:lnTo>
                  <a:pt x="2134745" y="3446648"/>
                </a:lnTo>
                <a:lnTo>
                  <a:pt x="2134745" y="3433750"/>
                </a:lnTo>
                <a:lnTo>
                  <a:pt x="2134745" y="3427300"/>
                </a:lnTo>
                <a:lnTo>
                  <a:pt x="2134745" y="3417626"/>
                </a:lnTo>
                <a:lnTo>
                  <a:pt x="2137970" y="3407952"/>
                </a:lnTo>
                <a:lnTo>
                  <a:pt x="2137970" y="3404727"/>
                </a:lnTo>
                <a:lnTo>
                  <a:pt x="2137970" y="3398278"/>
                </a:lnTo>
                <a:lnTo>
                  <a:pt x="2137970" y="3388603"/>
                </a:lnTo>
                <a:lnTo>
                  <a:pt x="2141194" y="3378929"/>
                </a:lnTo>
                <a:lnTo>
                  <a:pt x="2144420" y="3366031"/>
                </a:lnTo>
                <a:lnTo>
                  <a:pt x="2144420" y="3356356"/>
                </a:lnTo>
                <a:lnTo>
                  <a:pt x="2147644" y="3349908"/>
                </a:lnTo>
                <a:lnTo>
                  <a:pt x="2144420" y="3343458"/>
                </a:lnTo>
                <a:lnTo>
                  <a:pt x="2144420" y="3337009"/>
                </a:lnTo>
                <a:lnTo>
                  <a:pt x="2144420" y="3324110"/>
                </a:lnTo>
                <a:lnTo>
                  <a:pt x="2144420" y="3307987"/>
                </a:lnTo>
                <a:lnTo>
                  <a:pt x="2141194" y="3301537"/>
                </a:lnTo>
                <a:lnTo>
                  <a:pt x="2141194" y="3295088"/>
                </a:lnTo>
                <a:lnTo>
                  <a:pt x="2141194" y="3288638"/>
                </a:lnTo>
                <a:lnTo>
                  <a:pt x="2141194" y="3286829"/>
                </a:lnTo>
                <a:cubicBezTo>
                  <a:pt x="2139609" y="3284581"/>
                  <a:pt x="2138929" y="3282689"/>
                  <a:pt x="2138622" y="3280267"/>
                </a:cubicBezTo>
                <a:lnTo>
                  <a:pt x="2137970" y="3278964"/>
                </a:lnTo>
                <a:lnTo>
                  <a:pt x="2137971" y="3278963"/>
                </a:lnTo>
                <a:lnTo>
                  <a:pt x="2131521" y="3272514"/>
                </a:lnTo>
                <a:lnTo>
                  <a:pt x="2121848" y="3266066"/>
                </a:lnTo>
                <a:lnTo>
                  <a:pt x="2118622" y="3259616"/>
                </a:lnTo>
                <a:lnTo>
                  <a:pt x="2115398" y="3256391"/>
                </a:lnTo>
                <a:lnTo>
                  <a:pt x="2108948" y="3253167"/>
                </a:lnTo>
                <a:lnTo>
                  <a:pt x="2105724" y="3253167"/>
                </a:lnTo>
                <a:lnTo>
                  <a:pt x="2105724" y="3249942"/>
                </a:lnTo>
                <a:lnTo>
                  <a:pt x="2092825" y="3240267"/>
                </a:lnTo>
                <a:lnTo>
                  <a:pt x="2089601" y="3240267"/>
                </a:lnTo>
                <a:lnTo>
                  <a:pt x="2083151" y="3237043"/>
                </a:lnTo>
                <a:lnTo>
                  <a:pt x="2073477" y="3230594"/>
                </a:lnTo>
                <a:lnTo>
                  <a:pt x="2060578" y="3227369"/>
                </a:lnTo>
                <a:lnTo>
                  <a:pt x="2047680" y="3217695"/>
                </a:lnTo>
                <a:lnTo>
                  <a:pt x="2034780" y="3211246"/>
                </a:lnTo>
                <a:lnTo>
                  <a:pt x="2025107" y="3201572"/>
                </a:lnTo>
                <a:lnTo>
                  <a:pt x="2015433" y="3191898"/>
                </a:lnTo>
                <a:lnTo>
                  <a:pt x="2005759" y="3178999"/>
                </a:lnTo>
                <a:lnTo>
                  <a:pt x="2008983" y="3175774"/>
                </a:lnTo>
                <a:lnTo>
                  <a:pt x="2012208" y="3172549"/>
                </a:lnTo>
                <a:lnTo>
                  <a:pt x="2005759" y="3156426"/>
                </a:lnTo>
                <a:lnTo>
                  <a:pt x="1999309" y="3146752"/>
                </a:lnTo>
                <a:lnTo>
                  <a:pt x="1989635" y="3137078"/>
                </a:lnTo>
                <a:lnTo>
                  <a:pt x="1989635" y="3133853"/>
                </a:lnTo>
                <a:lnTo>
                  <a:pt x="1989635" y="3130628"/>
                </a:lnTo>
                <a:lnTo>
                  <a:pt x="1983186" y="3120954"/>
                </a:lnTo>
                <a:lnTo>
                  <a:pt x="1976736" y="3111280"/>
                </a:lnTo>
                <a:lnTo>
                  <a:pt x="1973512" y="3101606"/>
                </a:lnTo>
                <a:lnTo>
                  <a:pt x="1967062" y="3088707"/>
                </a:lnTo>
                <a:lnTo>
                  <a:pt x="1963838" y="3075808"/>
                </a:lnTo>
                <a:lnTo>
                  <a:pt x="1957388" y="3069359"/>
                </a:lnTo>
                <a:lnTo>
                  <a:pt x="1957388" y="3066134"/>
                </a:lnTo>
                <a:lnTo>
                  <a:pt x="1950939" y="3053236"/>
                </a:lnTo>
                <a:lnTo>
                  <a:pt x="1944489" y="3046786"/>
                </a:lnTo>
                <a:lnTo>
                  <a:pt x="1941265" y="3040337"/>
                </a:lnTo>
                <a:lnTo>
                  <a:pt x="1938040" y="3033887"/>
                </a:lnTo>
                <a:lnTo>
                  <a:pt x="1931591" y="3020989"/>
                </a:lnTo>
                <a:lnTo>
                  <a:pt x="1921917" y="3014539"/>
                </a:lnTo>
                <a:lnTo>
                  <a:pt x="1909018" y="3008090"/>
                </a:lnTo>
                <a:lnTo>
                  <a:pt x="1902568" y="3001640"/>
                </a:lnTo>
                <a:lnTo>
                  <a:pt x="1909018" y="2998416"/>
                </a:lnTo>
                <a:lnTo>
                  <a:pt x="1905793" y="2988742"/>
                </a:lnTo>
                <a:lnTo>
                  <a:pt x="1905793" y="2982292"/>
                </a:lnTo>
                <a:lnTo>
                  <a:pt x="1902568" y="2979068"/>
                </a:lnTo>
                <a:lnTo>
                  <a:pt x="1899344" y="2972618"/>
                </a:lnTo>
                <a:lnTo>
                  <a:pt x="1899344" y="2966169"/>
                </a:lnTo>
                <a:lnTo>
                  <a:pt x="1921916" y="2946821"/>
                </a:lnTo>
                <a:lnTo>
                  <a:pt x="1931590" y="2940371"/>
                </a:lnTo>
                <a:lnTo>
                  <a:pt x="1931590" y="2933922"/>
                </a:lnTo>
                <a:lnTo>
                  <a:pt x="1931590" y="2927472"/>
                </a:lnTo>
                <a:lnTo>
                  <a:pt x="1921916" y="2930697"/>
                </a:lnTo>
                <a:lnTo>
                  <a:pt x="1912242" y="2927472"/>
                </a:lnTo>
                <a:lnTo>
                  <a:pt x="1909017" y="2921023"/>
                </a:lnTo>
                <a:lnTo>
                  <a:pt x="1912242" y="2911350"/>
                </a:lnTo>
                <a:lnTo>
                  <a:pt x="1909017" y="2898450"/>
                </a:lnTo>
                <a:lnTo>
                  <a:pt x="1909017" y="2892001"/>
                </a:lnTo>
                <a:lnTo>
                  <a:pt x="1912242" y="2892001"/>
                </a:lnTo>
                <a:lnTo>
                  <a:pt x="1918690" y="2882327"/>
                </a:lnTo>
                <a:lnTo>
                  <a:pt x="1928364" y="2869428"/>
                </a:lnTo>
                <a:lnTo>
                  <a:pt x="1925140" y="2859754"/>
                </a:lnTo>
                <a:lnTo>
                  <a:pt x="1931590" y="2853304"/>
                </a:lnTo>
                <a:lnTo>
                  <a:pt x="1941264" y="2846855"/>
                </a:lnTo>
                <a:lnTo>
                  <a:pt x="1947713" y="2846855"/>
                </a:lnTo>
                <a:lnTo>
                  <a:pt x="1954163" y="2840406"/>
                </a:lnTo>
                <a:lnTo>
                  <a:pt x="1956581" y="2842019"/>
                </a:lnTo>
                <a:lnTo>
                  <a:pt x="1954164" y="2840406"/>
                </a:lnTo>
                <a:lnTo>
                  <a:pt x="1947714" y="2837182"/>
                </a:lnTo>
                <a:lnTo>
                  <a:pt x="1954164" y="2833956"/>
                </a:lnTo>
                <a:lnTo>
                  <a:pt x="1960612" y="2830732"/>
                </a:lnTo>
                <a:lnTo>
                  <a:pt x="1957388" y="2824282"/>
                </a:lnTo>
                <a:lnTo>
                  <a:pt x="1967062" y="2817833"/>
                </a:lnTo>
                <a:lnTo>
                  <a:pt x="1976736" y="2814608"/>
                </a:lnTo>
                <a:lnTo>
                  <a:pt x="1983186" y="2804935"/>
                </a:lnTo>
                <a:lnTo>
                  <a:pt x="1986410" y="2788811"/>
                </a:lnTo>
                <a:lnTo>
                  <a:pt x="1983186" y="2782361"/>
                </a:lnTo>
                <a:lnTo>
                  <a:pt x="1989635" y="2779136"/>
                </a:lnTo>
                <a:lnTo>
                  <a:pt x="1986410" y="2772687"/>
                </a:lnTo>
                <a:lnTo>
                  <a:pt x="1986410" y="2759788"/>
                </a:lnTo>
                <a:lnTo>
                  <a:pt x="1983186" y="2746890"/>
                </a:lnTo>
                <a:lnTo>
                  <a:pt x="1983186" y="2737215"/>
                </a:lnTo>
                <a:lnTo>
                  <a:pt x="1986410" y="2730767"/>
                </a:lnTo>
                <a:lnTo>
                  <a:pt x="1986410" y="2727541"/>
                </a:lnTo>
                <a:lnTo>
                  <a:pt x="1979961" y="2721092"/>
                </a:lnTo>
                <a:lnTo>
                  <a:pt x="1979961" y="2717867"/>
                </a:lnTo>
                <a:lnTo>
                  <a:pt x="1973512" y="2714643"/>
                </a:lnTo>
                <a:lnTo>
                  <a:pt x="1970286" y="2708193"/>
                </a:lnTo>
                <a:lnTo>
                  <a:pt x="1967062" y="2701744"/>
                </a:lnTo>
                <a:lnTo>
                  <a:pt x="1967062" y="2695294"/>
                </a:lnTo>
                <a:lnTo>
                  <a:pt x="1973512" y="2692070"/>
                </a:lnTo>
                <a:lnTo>
                  <a:pt x="1970286" y="2685620"/>
                </a:lnTo>
                <a:lnTo>
                  <a:pt x="1963838" y="2685620"/>
                </a:lnTo>
                <a:lnTo>
                  <a:pt x="1960612" y="2682396"/>
                </a:lnTo>
                <a:lnTo>
                  <a:pt x="1954164" y="2679171"/>
                </a:lnTo>
                <a:lnTo>
                  <a:pt x="1950939" y="2672722"/>
                </a:lnTo>
                <a:lnTo>
                  <a:pt x="1944489" y="2672722"/>
                </a:lnTo>
                <a:lnTo>
                  <a:pt x="1938040" y="2675946"/>
                </a:lnTo>
                <a:lnTo>
                  <a:pt x="1934815" y="2679171"/>
                </a:lnTo>
                <a:lnTo>
                  <a:pt x="1931591" y="2685620"/>
                </a:lnTo>
                <a:lnTo>
                  <a:pt x="1925141" y="2688846"/>
                </a:lnTo>
                <a:lnTo>
                  <a:pt x="1918692" y="2692070"/>
                </a:lnTo>
                <a:lnTo>
                  <a:pt x="1918692" y="2698520"/>
                </a:lnTo>
                <a:lnTo>
                  <a:pt x="1928365" y="2708193"/>
                </a:lnTo>
                <a:lnTo>
                  <a:pt x="1918692" y="2711418"/>
                </a:lnTo>
                <a:lnTo>
                  <a:pt x="1909018" y="2711418"/>
                </a:lnTo>
                <a:lnTo>
                  <a:pt x="1905793" y="2708193"/>
                </a:lnTo>
                <a:lnTo>
                  <a:pt x="1905793" y="2704968"/>
                </a:lnTo>
                <a:lnTo>
                  <a:pt x="1902568" y="2704968"/>
                </a:lnTo>
                <a:lnTo>
                  <a:pt x="1896119" y="2704968"/>
                </a:lnTo>
                <a:lnTo>
                  <a:pt x="1892894" y="2698520"/>
                </a:lnTo>
                <a:lnTo>
                  <a:pt x="1879996" y="2692070"/>
                </a:lnTo>
                <a:lnTo>
                  <a:pt x="1870321" y="2692070"/>
                </a:lnTo>
                <a:lnTo>
                  <a:pt x="1867097" y="2692070"/>
                </a:lnTo>
                <a:lnTo>
                  <a:pt x="1863872" y="2698520"/>
                </a:lnTo>
                <a:lnTo>
                  <a:pt x="1857423" y="2685620"/>
                </a:lnTo>
                <a:lnTo>
                  <a:pt x="1850973" y="2682396"/>
                </a:lnTo>
                <a:lnTo>
                  <a:pt x="1854197" y="2685620"/>
                </a:lnTo>
                <a:lnTo>
                  <a:pt x="1857423" y="2688846"/>
                </a:lnTo>
                <a:lnTo>
                  <a:pt x="1847749" y="2685620"/>
                </a:lnTo>
                <a:lnTo>
                  <a:pt x="1847749" y="2679171"/>
                </a:lnTo>
                <a:lnTo>
                  <a:pt x="1841299" y="2669497"/>
                </a:lnTo>
                <a:lnTo>
                  <a:pt x="1831625" y="2663047"/>
                </a:lnTo>
                <a:lnTo>
                  <a:pt x="1828400" y="2659823"/>
                </a:lnTo>
                <a:lnTo>
                  <a:pt x="1821951" y="2656599"/>
                </a:lnTo>
                <a:lnTo>
                  <a:pt x="1815502" y="2663047"/>
                </a:lnTo>
                <a:lnTo>
                  <a:pt x="1812277" y="2659823"/>
                </a:lnTo>
                <a:lnTo>
                  <a:pt x="1799378" y="2646924"/>
                </a:lnTo>
                <a:lnTo>
                  <a:pt x="1799378" y="2643699"/>
                </a:lnTo>
                <a:lnTo>
                  <a:pt x="1802603" y="2640475"/>
                </a:lnTo>
                <a:lnTo>
                  <a:pt x="1805828" y="2640475"/>
                </a:lnTo>
                <a:lnTo>
                  <a:pt x="1802603" y="2637250"/>
                </a:lnTo>
                <a:lnTo>
                  <a:pt x="1802603" y="2634025"/>
                </a:lnTo>
                <a:lnTo>
                  <a:pt x="1802603" y="2630801"/>
                </a:lnTo>
                <a:lnTo>
                  <a:pt x="1789704" y="2614678"/>
                </a:lnTo>
                <a:lnTo>
                  <a:pt x="1773581" y="2598554"/>
                </a:lnTo>
                <a:lnTo>
                  <a:pt x="1760682" y="2588879"/>
                </a:lnTo>
                <a:lnTo>
                  <a:pt x="1760682" y="2585655"/>
                </a:lnTo>
                <a:lnTo>
                  <a:pt x="1767131" y="2588879"/>
                </a:lnTo>
                <a:lnTo>
                  <a:pt x="1767131" y="2585655"/>
                </a:lnTo>
                <a:lnTo>
                  <a:pt x="1763907" y="2582431"/>
                </a:lnTo>
                <a:lnTo>
                  <a:pt x="1757457" y="2575981"/>
                </a:lnTo>
                <a:lnTo>
                  <a:pt x="1754232" y="2582431"/>
                </a:lnTo>
                <a:lnTo>
                  <a:pt x="1747783" y="2582431"/>
                </a:lnTo>
                <a:lnTo>
                  <a:pt x="1744558" y="2582431"/>
                </a:lnTo>
                <a:lnTo>
                  <a:pt x="1734884" y="2582431"/>
                </a:lnTo>
                <a:lnTo>
                  <a:pt x="1721985" y="2575981"/>
                </a:lnTo>
                <a:lnTo>
                  <a:pt x="1705863" y="2569531"/>
                </a:lnTo>
                <a:lnTo>
                  <a:pt x="1689739" y="2566307"/>
                </a:lnTo>
                <a:lnTo>
                  <a:pt x="1676840" y="2563082"/>
                </a:lnTo>
                <a:lnTo>
                  <a:pt x="1670391" y="2559857"/>
                </a:lnTo>
                <a:lnTo>
                  <a:pt x="1660716" y="2553408"/>
                </a:lnTo>
                <a:lnTo>
                  <a:pt x="1662178" y="2549024"/>
                </a:lnTo>
                <a:lnTo>
                  <a:pt x="1662177" y="2549023"/>
                </a:lnTo>
                <a:lnTo>
                  <a:pt x="1660716" y="2553408"/>
                </a:lnTo>
                <a:lnTo>
                  <a:pt x="1638142" y="2530835"/>
                </a:lnTo>
                <a:lnTo>
                  <a:pt x="1628468" y="2521161"/>
                </a:lnTo>
                <a:lnTo>
                  <a:pt x="1615570" y="2514711"/>
                </a:lnTo>
                <a:lnTo>
                  <a:pt x="1605895" y="2511487"/>
                </a:lnTo>
                <a:lnTo>
                  <a:pt x="1602671" y="2508263"/>
                </a:lnTo>
                <a:lnTo>
                  <a:pt x="1596221" y="2514711"/>
                </a:lnTo>
                <a:lnTo>
                  <a:pt x="1586547" y="2521161"/>
                </a:lnTo>
                <a:lnTo>
                  <a:pt x="1573649" y="2527610"/>
                </a:lnTo>
                <a:lnTo>
                  <a:pt x="1551076" y="2521161"/>
                </a:lnTo>
                <a:lnTo>
                  <a:pt x="1534952" y="2517937"/>
                </a:lnTo>
                <a:lnTo>
                  <a:pt x="1525279" y="2514711"/>
                </a:lnTo>
                <a:lnTo>
                  <a:pt x="1515605" y="2508263"/>
                </a:lnTo>
                <a:lnTo>
                  <a:pt x="1499481" y="2501813"/>
                </a:lnTo>
                <a:lnTo>
                  <a:pt x="1486582" y="2498588"/>
                </a:lnTo>
                <a:lnTo>
                  <a:pt x="1473684" y="2492139"/>
                </a:lnTo>
                <a:lnTo>
                  <a:pt x="1460785" y="2485689"/>
                </a:lnTo>
                <a:lnTo>
                  <a:pt x="1451111" y="2479240"/>
                </a:lnTo>
                <a:lnTo>
                  <a:pt x="1444661" y="2472790"/>
                </a:lnTo>
                <a:lnTo>
                  <a:pt x="1441437" y="2476016"/>
                </a:lnTo>
                <a:lnTo>
                  <a:pt x="1434987" y="2472790"/>
                </a:lnTo>
                <a:lnTo>
                  <a:pt x="1422088" y="2469566"/>
                </a:lnTo>
                <a:lnTo>
                  <a:pt x="1409190" y="2459892"/>
                </a:lnTo>
                <a:lnTo>
                  <a:pt x="1399515" y="2453442"/>
                </a:lnTo>
                <a:lnTo>
                  <a:pt x="1386617" y="2446993"/>
                </a:lnTo>
                <a:lnTo>
                  <a:pt x="1373717" y="2437319"/>
                </a:lnTo>
                <a:lnTo>
                  <a:pt x="1367269" y="2424420"/>
                </a:lnTo>
                <a:lnTo>
                  <a:pt x="1364043" y="2417971"/>
                </a:lnTo>
                <a:lnTo>
                  <a:pt x="1367269" y="2414746"/>
                </a:lnTo>
                <a:lnTo>
                  <a:pt x="1370493" y="2408297"/>
                </a:lnTo>
                <a:lnTo>
                  <a:pt x="1373717" y="2401848"/>
                </a:lnTo>
                <a:lnTo>
                  <a:pt x="1373717" y="2395398"/>
                </a:lnTo>
                <a:lnTo>
                  <a:pt x="1370493" y="2388948"/>
                </a:lnTo>
                <a:lnTo>
                  <a:pt x="1367269" y="2382499"/>
                </a:lnTo>
                <a:lnTo>
                  <a:pt x="1367269" y="2379274"/>
                </a:lnTo>
                <a:lnTo>
                  <a:pt x="1357595" y="2359927"/>
                </a:lnTo>
                <a:lnTo>
                  <a:pt x="1338246" y="2340578"/>
                </a:lnTo>
                <a:lnTo>
                  <a:pt x="1328572" y="2327680"/>
                </a:lnTo>
                <a:lnTo>
                  <a:pt x="1318898" y="2321230"/>
                </a:lnTo>
                <a:lnTo>
                  <a:pt x="1309224" y="2311556"/>
                </a:lnTo>
                <a:lnTo>
                  <a:pt x="1299550" y="2301882"/>
                </a:lnTo>
                <a:lnTo>
                  <a:pt x="1289875" y="2295433"/>
                </a:lnTo>
                <a:lnTo>
                  <a:pt x="1283426" y="2288983"/>
                </a:lnTo>
                <a:lnTo>
                  <a:pt x="1286651" y="2279309"/>
                </a:lnTo>
                <a:lnTo>
                  <a:pt x="1286651" y="2272859"/>
                </a:lnTo>
                <a:lnTo>
                  <a:pt x="1283426" y="2266410"/>
                </a:lnTo>
                <a:lnTo>
                  <a:pt x="1276977" y="2266410"/>
                </a:lnTo>
                <a:lnTo>
                  <a:pt x="1273752" y="2263186"/>
                </a:lnTo>
                <a:lnTo>
                  <a:pt x="1264078" y="2256736"/>
                </a:lnTo>
                <a:lnTo>
                  <a:pt x="1257628" y="2243838"/>
                </a:lnTo>
                <a:lnTo>
                  <a:pt x="1260854" y="2240612"/>
                </a:lnTo>
                <a:lnTo>
                  <a:pt x="1254404" y="2237388"/>
                </a:lnTo>
                <a:lnTo>
                  <a:pt x="1251180" y="2237388"/>
                </a:lnTo>
                <a:lnTo>
                  <a:pt x="1247955" y="2237388"/>
                </a:lnTo>
                <a:lnTo>
                  <a:pt x="1244730" y="2234163"/>
                </a:lnTo>
                <a:lnTo>
                  <a:pt x="1231831" y="2221265"/>
                </a:lnTo>
                <a:lnTo>
                  <a:pt x="1225382" y="2214815"/>
                </a:lnTo>
                <a:lnTo>
                  <a:pt x="1222157" y="2208365"/>
                </a:lnTo>
                <a:lnTo>
                  <a:pt x="1222157" y="2201917"/>
                </a:lnTo>
                <a:lnTo>
                  <a:pt x="1215707" y="2195467"/>
                </a:lnTo>
                <a:lnTo>
                  <a:pt x="1209258" y="2185793"/>
                </a:lnTo>
                <a:lnTo>
                  <a:pt x="1206034" y="2172894"/>
                </a:lnTo>
                <a:lnTo>
                  <a:pt x="1202809" y="2166444"/>
                </a:lnTo>
                <a:lnTo>
                  <a:pt x="1199584" y="2153546"/>
                </a:lnTo>
                <a:lnTo>
                  <a:pt x="1189910" y="2153546"/>
                </a:lnTo>
                <a:lnTo>
                  <a:pt x="1183460" y="2147097"/>
                </a:lnTo>
                <a:lnTo>
                  <a:pt x="1177012" y="2147097"/>
                </a:lnTo>
                <a:lnTo>
                  <a:pt x="1164113" y="2140647"/>
                </a:lnTo>
                <a:lnTo>
                  <a:pt x="1167337" y="2143871"/>
                </a:lnTo>
                <a:lnTo>
                  <a:pt x="1164113" y="2147097"/>
                </a:lnTo>
                <a:lnTo>
                  <a:pt x="1164113" y="2150321"/>
                </a:lnTo>
                <a:lnTo>
                  <a:pt x="1167337" y="2163220"/>
                </a:lnTo>
                <a:lnTo>
                  <a:pt x="1167337" y="2166444"/>
                </a:lnTo>
                <a:lnTo>
                  <a:pt x="1170562" y="2172894"/>
                </a:lnTo>
                <a:lnTo>
                  <a:pt x="1167337" y="2182568"/>
                </a:lnTo>
                <a:lnTo>
                  <a:pt x="1170562" y="2185793"/>
                </a:lnTo>
                <a:lnTo>
                  <a:pt x="1183460" y="2195467"/>
                </a:lnTo>
                <a:lnTo>
                  <a:pt x="1193135" y="2205141"/>
                </a:lnTo>
                <a:lnTo>
                  <a:pt x="1202809" y="2218039"/>
                </a:lnTo>
                <a:lnTo>
                  <a:pt x="1209258" y="2230939"/>
                </a:lnTo>
                <a:lnTo>
                  <a:pt x="1209258" y="2237388"/>
                </a:lnTo>
                <a:lnTo>
                  <a:pt x="1212483" y="2243838"/>
                </a:lnTo>
                <a:lnTo>
                  <a:pt x="1218933" y="2250286"/>
                </a:lnTo>
                <a:lnTo>
                  <a:pt x="1222157" y="2256736"/>
                </a:lnTo>
                <a:lnTo>
                  <a:pt x="1228607" y="2259961"/>
                </a:lnTo>
                <a:lnTo>
                  <a:pt x="1231831" y="2263186"/>
                </a:lnTo>
                <a:lnTo>
                  <a:pt x="1235056" y="2266410"/>
                </a:lnTo>
                <a:lnTo>
                  <a:pt x="1238281" y="2272859"/>
                </a:lnTo>
                <a:lnTo>
                  <a:pt x="1241506" y="2282533"/>
                </a:lnTo>
                <a:lnTo>
                  <a:pt x="1241506" y="2288983"/>
                </a:lnTo>
                <a:lnTo>
                  <a:pt x="1247955" y="2301882"/>
                </a:lnTo>
                <a:lnTo>
                  <a:pt x="1251180" y="2308331"/>
                </a:lnTo>
                <a:lnTo>
                  <a:pt x="1254404" y="2314780"/>
                </a:lnTo>
                <a:lnTo>
                  <a:pt x="1254404" y="2324454"/>
                </a:lnTo>
                <a:lnTo>
                  <a:pt x="1264078" y="2327680"/>
                </a:lnTo>
                <a:lnTo>
                  <a:pt x="1264078" y="2324454"/>
                </a:lnTo>
                <a:lnTo>
                  <a:pt x="1267303" y="2324454"/>
                </a:lnTo>
                <a:lnTo>
                  <a:pt x="1276977" y="2337354"/>
                </a:lnTo>
                <a:lnTo>
                  <a:pt x="1283426" y="2347027"/>
                </a:lnTo>
                <a:lnTo>
                  <a:pt x="1276977" y="2356701"/>
                </a:lnTo>
                <a:lnTo>
                  <a:pt x="1267303" y="2356701"/>
                </a:lnTo>
                <a:lnTo>
                  <a:pt x="1267303" y="2347027"/>
                </a:lnTo>
                <a:lnTo>
                  <a:pt x="1264078" y="2343803"/>
                </a:lnTo>
                <a:lnTo>
                  <a:pt x="1257628" y="2340578"/>
                </a:lnTo>
                <a:lnTo>
                  <a:pt x="1235056" y="2321230"/>
                </a:lnTo>
                <a:lnTo>
                  <a:pt x="1228607" y="2314780"/>
                </a:lnTo>
                <a:lnTo>
                  <a:pt x="1225382" y="2314780"/>
                </a:lnTo>
                <a:lnTo>
                  <a:pt x="1222157" y="2308331"/>
                </a:lnTo>
                <a:lnTo>
                  <a:pt x="1225382" y="2298657"/>
                </a:lnTo>
                <a:lnTo>
                  <a:pt x="1218933" y="2285759"/>
                </a:lnTo>
                <a:lnTo>
                  <a:pt x="1215707" y="2279309"/>
                </a:lnTo>
                <a:lnTo>
                  <a:pt x="1212483" y="2276084"/>
                </a:lnTo>
                <a:lnTo>
                  <a:pt x="1199584" y="2269635"/>
                </a:lnTo>
                <a:lnTo>
                  <a:pt x="1193135" y="2266410"/>
                </a:lnTo>
                <a:lnTo>
                  <a:pt x="1189910" y="2263186"/>
                </a:lnTo>
                <a:lnTo>
                  <a:pt x="1164113" y="2243838"/>
                </a:lnTo>
                <a:lnTo>
                  <a:pt x="1180236" y="2237388"/>
                </a:lnTo>
                <a:lnTo>
                  <a:pt x="1180236" y="2227714"/>
                </a:lnTo>
                <a:lnTo>
                  <a:pt x="1180236" y="2221265"/>
                </a:lnTo>
                <a:lnTo>
                  <a:pt x="1170562" y="2211591"/>
                </a:lnTo>
                <a:lnTo>
                  <a:pt x="1157663" y="2201917"/>
                </a:lnTo>
                <a:lnTo>
                  <a:pt x="1147989" y="2195467"/>
                </a:lnTo>
                <a:lnTo>
                  <a:pt x="1144765" y="2182568"/>
                </a:lnTo>
                <a:lnTo>
                  <a:pt x="1141540" y="2179344"/>
                </a:lnTo>
                <a:lnTo>
                  <a:pt x="1141540" y="2176118"/>
                </a:lnTo>
                <a:lnTo>
                  <a:pt x="1138315" y="2166444"/>
                </a:lnTo>
                <a:lnTo>
                  <a:pt x="1128641" y="2153546"/>
                </a:lnTo>
                <a:lnTo>
                  <a:pt x="1125417" y="2143871"/>
                </a:lnTo>
                <a:lnTo>
                  <a:pt x="1115742" y="2121299"/>
                </a:lnTo>
                <a:lnTo>
                  <a:pt x="1115743" y="2121299"/>
                </a:lnTo>
                <a:lnTo>
                  <a:pt x="1102845" y="2098726"/>
                </a:lnTo>
                <a:lnTo>
                  <a:pt x="1093170" y="2089052"/>
                </a:lnTo>
                <a:lnTo>
                  <a:pt x="1083496" y="2082603"/>
                </a:lnTo>
                <a:lnTo>
                  <a:pt x="1054474" y="2072929"/>
                </a:lnTo>
                <a:lnTo>
                  <a:pt x="1041575" y="2069703"/>
                </a:lnTo>
                <a:lnTo>
                  <a:pt x="1038351" y="2060029"/>
                </a:lnTo>
                <a:lnTo>
                  <a:pt x="1022227" y="2037457"/>
                </a:lnTo>
                <a:lnTo>
                  <a:pt x="1009328" y="2021334"/>
                </a:lnTo>
                <a:lnTo>
                  <a:pt x="1009328" y="2014884"/>
                </a:lnTo>
                <a:lnTo>
                  <a:pt x="1012554" y="2011659"/>
                </a:lnTo>
                <a:lnTo>
                  <a:pt x="1009328" y="2005210"/>
                </a:lnTo>
                <a:lnTo>
                  <a:pt x="1006104" y="2005210"/>
                </a:lnTo>
                <a:lnTo>
                  <a:pt x="999654" y="1998761"/>
                </a:lnTo>
                <a:lnTo>
                  <a:pt x="996430" y="1985861"/>
                </a:lnTo>
                <a:lnTo>
                  <a:pt x="996430" y="1979413"/>
                </a:lnTo>
                <a:lnTo>
                  <a:pt x="989980" y="1976188"/>
                </a:lnTo>
                <a:lnTo>
                  <a:pt x="983531" y="1963289"/>
                </a:lnTo>
                <a:lnTo>
                  <a:pt x="977081" y="1956840"/>
                </a:lnTo>
                <a:lnTo>
                  <a:pt x="970632" y="1950390"/>
                </a:lnTo>
                <a:lnTo>
                  <a:pt x="967407" y="1937491"/>
                </a:lnTo>
                <a:lnTo>
                  <a:pt x="970632" y="1931042"/>
                </a:lnTo>
                <a:lnTo>
                  <a:pt x="967407" y="1924593"/>
                </a:lnTo>
                <a:lnTo>
                  <a:pt x="960957" y="1914919"/>
                </a:lnTo>
                <a:lnTo>
                  <a:pt x="954509" y="1902020"/>
                </a:lnTo>
                <a:lnTo>
                  <a:pt x="960957" y="1895570"/>
                </a:lnTo>
                <a:lnTo>
                  <a:pt x="960957" y="1889121"/>
                </a:lnTo>
                <a:lnTo>
                  <a:pt x="960957" y="1872998"/>
                </a:lnTo>
                <a:lnTo>
                  <a:pt x="957733" y="1863323"/>
                </a:lnTo>
                <a:lnTo>
                  <a:pt x="957733" y="1856874"/>
                </a:lnTo>
                <a:lnTo>
                  <a:pt x="954509" y="1848812"/>
                </a:lnTo>
                <a:lnTo>
                  <a:pt x="954509" y="1839138"/>
                </a:lnTo>
                <a:lnTo>
                  <a:pt x="954509" y="1829463"/>
                </a:lnTo>
                <a:lnTo>
                  <a:pt x="957733" y="1823015"/>
                </a:lnTo>
                <a:lnTo>
                  <a:pt x="960957" y="1806891"/>
                </a:lnTo>
                <a:lnTo>
                  <a:pt x="960957" y="1781094"/>
                </a:lnTo>
                <a:lnTo>
                  <a:pt x="964183" y="1774644"/>
                </a:lnTo>
                <a:lnTo>
                  <a:pt x="964183" y="1768194"/>
                </a:lnTo>
                <a:lnTo>
                  <a:pt x="964183" y="1748847"/>
                </a:lnTo>
                <a:lnTo>
                  <a:pt x="964183" y="1739172"/>
                </a:lnTo>
                <a:lnTo>
                  <a:pt x="964183" y="1729498"/>
                </a:lnTo>
                <a:lnTo>
                  <a:pt x="970632" y="1719824"/>
                </a:lnTo>
                <a:lnTo>
                  <a:pt x="967407" y="1710150"/>
                </a:lnTo>
                <a:lnTo>
                  <a:pt x="964183" y="1703700"/>
                </a:lnTo>
                <a:lnTo>
                  <a:pt x="957733" y="1697251"/>
                </a:lnTo>
                <a:lnTo>
                  <a:pt x="954509" y="1687577"/>
                </a:lnTo>
                <a:lnTo>
                  <a:pt x="954509" y="1681127"/>
                </a:lnTo>
                <a:lnTo>
                  <a:pt x="948059" y="1677903"/>
                </a:lnTo>
                <a:lnTo>
                  <a:pt x="948059" y="1665004"/>
                </a:lnTo>
                <a:lnTo>
                  <a:pt x="964183" y="1671453"/>
                </a:lnTo>
                <a:lnTo>
                  <a:pt x="983531" y="1674679"/>
                </a:lnTo>
                <a:lnTo>
                  <a:pt x="989980" y="1674679"/>
                </a:lnTo>
                <a:lnTo>
                  <a:pt x="996430" y="1684353"/>
                </a:lnTo>
                <a:lnTo>
                  <a:pt x="996430" y="1697251"/>
                </a:lnTo>
                <a:lnTo>
                  <a:pt x="993206" y="1700476"/>
                </a:lnTo>
                <a:lnTo>
                  <a:pt x="983531" y="1703700"/>
                </a:lnTo>
                <a:lnTo>
                  <a:pt x="986755" y="1706926"/>
                </a:lnTo>
                <a:lnTo>
                  <a:pt x="989980" y="1706926"/>
                </a:lnTo>
                <a:lnTo>
                  <a:pt x="999654" y="1700476"/>
                </a:lnTo>
                <a:lnTo>
                  <a:pt x="999654" y="1697251"/>
                </a:lnTo>
                <a:lnTo>
                  <a:pt x="999654" y="1694027"/>
                </a:lnTo>
                <a:lnTo>
                  <a:pt x="1002880" y="1677903"/>
                </a:lnTo>
                <a:lnTo>
                  <a:pt x="999654" y="1668229"/>
                </a:lnTo>
                <a:lnTo>
                  <a:pt x="996430" y="1665004"/>
                </a:lnTo>
                <a:lnTo>
                  <a:pt x="993206" y="1658555"/>
                </a:lnTo>
                <a:lnTo>
                  <a:pt x="993206" y="1652106"/>
                </a:lnTo>
                <a:lnTo>
                  <a:pt x="989980" y="1645656"/>
                </a:lnTo>
                <a:lnTo>
                  <a:pt x="983531" y="1645656"/>
                </a:lnTo>
                <a:lnTo>
                  <a:pt x="983531" y="1639206"/>
                </a:lnTo>
                <a:lnTo>
                  <a:pt x="973857" y="1629532"/>
                </a:lnTo>
                <a:lnTo>
                  <a:pt x="970632" y="1626308"/>
                </a:lnTo>
                <a:lnTo>
                  <a:pt x="967407" y="1623083"/>
                </a:lnTo>
                <a:lnTo>
                  <a:pt x="964183" y="1623083"/>
                </a:lnTo>
                <a:lnTo>
                  <a:pt x="951284" y="1616634"/>
                </a:lnTo>
                <a:lnTo>
                  <a:pt x="944834" y="1610185"/>
                </a:lnTo>
                <a:lnTo>
                  <a:pt x="951284" y="1603735"/>
                </a:lnTo>
                <a:lnTo>
                  <a:pt x="951284" y="1594061"/>
                </a:lnTo>
                <a:lnTo>
                  <a:pt x="944834" y="1587611"/>
                </a:lnTo>
                <a:lnTo>
                  <a:pt x="938385" y="1597285"/>
                </a:lnTo>
                <a:lnTo>
                  <a:pt x="925486" y="1597285"/>
                </a:lnTo>
                <a:lnTo>
                  <a:pt x="915816" y="1594062"/>
                </a:lnTo>
                <a:lnTo>
                  <a:pt x="922262" y="1597284"/>
                </a:lnTo>
                <a:lnTo>
                  <a:pt x="931936" y="1600510"/>
                </a:lnTo>
                <a:lnTo>
                  <a:pt x="935160" y="1606958"/>
                </a:lnTo>
                <a:lnTo>
                  <a:pt x="938385" y="1613408"/>
                </a:lnTo>
                <a:lnTo>
                  <a:pt x="948059" y="1629531"/>
                </a:lnTo>
                <a:lnTo>
                  <a:pt x="970632" y="1645655"/>
                </a:lnTo>
                <a:lnTo>
                  <a:pt x="977081" y="1658554"/>
                </a:lnTo>
                <a:lnTo>
                  <a:pt x="973857" y="1668228"/>
                </a:lnTo>
                <a:lnTo>
                  <a:pt x="970632" y="1668228"/>
                </a:lnTo>
                <a:lnTo>
                  <a:pt x="941610" y="1655329"/>
                </a:lnTo>
                <a:lnTo>
                  <a:pt x="928710" y="1645655"/>
                </a:lnTo>
                <a:lnTo>
                  <a:pt x="925486" y="1642431"/>
                </a:lnTo>
                <a:lnTo>
                  <a:pt x="922262" y="1632757"/>
                </a:lnTo>
                <a:lnTo>
                  <a:pt x="919036" y="1629531"/>
                </a:lnTo>
                <a:lnTo>
                  <a:pt x="912588" y="1632757"/>
                </a:lnTo>
                <a:lnTo>
                  <a:pt x="906138" y="1632757"/>
                </a:lnTo>
                <a:lnTo>
                  <a:pt x="906138" y="1626307"/>
                </a:lnTo>
                <a:lnTo>
                  <a:pt x="893239" y="1613408"/>
                </a:lnTo>
                <a:lnTo>
                  <a:pt x="883565" y="1606958"/>
                </a:lnTo>
                <a:lnTo>
                  <a:pt x="880341" y="1606958"/>
                </a:lnTo>
                <a:lnTo>
                  <a:pt x="877116" y="1600510"/>
                </a:lnTo>
                <a:lnTo>
                  <a:pt x="870666" y="1594060"/>
                </a:lnTo>
                <a:lnTo>
                  <a:pt x="867442" y="1584386"/>
                </a:lnTo>
                <a:lnTo>
                  <a:pt x="873891" y="1581161"/>
                </a:lnTo>
                <a:lnTo>
                  <a:pt x="883565" y="1581161"/>
                </a:lnTo>
                <a:lnTo>
                  <a:pt x="890015" y="1587610"/>
                </a:lnTo>
                <a:lnTo>
                  <a:pt x="909364" y="1594060"/>
                </a:lnTo>
                <a:lnTo>
                  <a:pt x="915812" y="1594060"/>
                </a:lnTo>
                <a:lnTo>
                  <a:pt x="915812" y="1577937"/>
                </a:lnTo>
                <a:lnTo>
                  <a:pt x="906138" y="1581162"/>
                </a:lnTo>
                <a:lnTo>
                  <a:pt x="896464" y="1581162"/>
                </a:lnTo>
                <a:lnTo>
                  <a:pt x="880341" y="1571487"/>
                </a:lnTo>
                <a:lnTo>
                  <a:pt x="880341" y="1565037"/>
                </a:lnTo>
                <a:lnTo>
                  <a:pt x="880341" y="1558589"/>
                </a:lnTo>
                <a:lnTo>
                  <a:pt x="877116" y="1545689"/>
                </a:lnTo>
                <a:lnTo>
                  <a:pt x="880341" y="1532791"/>
                </a:lnTo>
                <a:lnTo>
                  <a:pt x="880341" y="1526342"/>
                </a:lnTo>
                <a:lnTo>
                  <a:pt x="873891" y="1516668"/>
                </a:lnTo>
                <a:lnTo>
                  <a:pt x="873891" y="1510218"/>
                </a:lnTo>
                <a:lnTo>
                  <a:pt x="870666" y="1513442"/>
                </a:lnTo>
                <a:lnTo>
                  <a:pt x="857768" y="1497319"/>
                </a:lnTo>
                <a:lnTo>
                  <a:pt x="854543" y="1490869"/>
                </a:lnTo>
                <a:lnTo>
                  <a:pt x="857768" y="1484421"/>
                </a:lnTo>
                <a:lnTo>
                  <a:pt x="857768" y="1481195"/>
                </a:lnTo>
                <a:lnTo>
                  <a:pt x="857768" y="1477971"/>
                </a:lnTo>
                <a:lnTo>
                  <a:pt x="860992" y="1474746"/>
                </a:lnTo>
                <a:lnTo>
                  <a:pt x="857768" y="1471522"/>
                </a:lnTo>
                <a:lnTo>
                  <a:pt x="851318" y="1481195"/>
                </a:lnTo>
                <a:lnTo>
                  <a:pt x="848094" y="1481195"/>
                </a:lnTo>
                <a:lnTo>
                  <a:pt x="848094" y="1490869"/>
                </a:lnTo>
                <a:lnTo>
                  <a:pt x="841644" y="1484421"/>
                </a:lnTo>
                <a:lnTo>
                  <a:pt x="831970" y="1471522"/>
                </a:lnTo>
                <a:lnTo>
                  <a:pt x="828746" y="1465072"/>
                </a:lnTo>
                <a:lnTo>
                  <a:pt x="828746" y="1461848"/>
                </a:lnTo>
                <a:lnTo>
                  <a:pt x="825521" y="1461848"/>
                </a:lnTo>
                <a:lnTo>
                  <a:pt x="825521" y="1458623"/>
                </a:lnTo>
                <a:lnTo>
                  <a:pt x="822296" y="1455398"/>
                </a:lnTo>
                <a:lnTo>
                  <a:pt x="825521" y="1442500"/>
                </a:lnTo>
                <a:lnTo>
                  <a:pt x="828746" y="1436050"/>
                </a:lnTo>
                <a:lnTo>
                  <a:pt x="828746" y="1426377"/>
                </a:lnTo>
                <a:lnTo>
                  <a:pt x="819071" y="1439276"/>
                </a:lnTo>
                <a:lnTo>
                  <a:pt x="809397" y="1432826"/>
                </a:lnTo>
                <a:lnTo>
                  <a:pt x="809397" y="1423152"/>
                </a:lnTo>
                <a:lnTo>
                  <a:pt x="812621" y="1419928"/>
                </a:lnTo>
                <a:lnTo>
                  <a:pt x="812621" y="1407029"/>
                </a:lnTo>
                <a:lnTo>
                  <a:pt x="809397" y="1397355"/>
                </a:lnTo>
                <a:lnTo>
                  <a:pt x="802948" y="1394130"/>
                </a:lnTo>
                <a:lnTo>
                  <a:pt x="796499" y="1394130"/>
                </a:lnTo>
                <a:lnTo>
                  <a:pt x="790049" y="1410254"/>
                </a:lnTo>
                <a:lnTo>
                  <a:pt x="783600" y="1403804"/>
                </a:lnTo>
                <a:lnTo>
                  <a:pt x="786825" y="1397355"/>
                </a:lnTo>
                <a:lnTo>
                  <a:pt x="790049" y="1384455"/>
                </a:lnTo>
                <a:lnTo>
                  <a:pt x="780376" y="1371557"/>
                </a:lnTo>
                <a:lnTo>
                  <a:pt x="777150" y="1368333"/>
                </a:lnTo>
                <a:lnTo>
                  <a:pt x="773926" y="1365108"/>
                </a:lnTo>
                <a:lnTo>
                  <a:pt x="761027" y="1348984"/>
                </a:lnTo>
                <a:lnTo>
                  <a:pt x="757802" y="1342534"/>
                </a:lnTo>
                <a:lnTo>
                  <a:pt x="754577" y="1329636"/>
                </a:lnTo>
                <a:lnTo>
                  <a:pt x="744903" y="1310287"/>
                </a:lnTo>
                <a:lnTo>
                  <a:pt x="741679" y="1303839"/>
                </a:lnTo>
                <a:lnTo>
                  <a:pt x="738455" y="1303839"/>
                </a:lnTo>
                <a:lnTo>
                  <a:pt x="725555" y="1290940"/>
                </a:lnTo>
                <a:lnTo>
                  <a:pt x="719106" y="1265142"/>
                </a:lnTo>
                <a:lnTo>
                  <a:pt x="715881" y="1252243"/>
                </a:lnTo>
                <a:lnTo>
                  <a:pt x="709432" y="1261918"/>
                </a:lnTo>
                <a:lnTo>
                  <a:pt x="715881" y="1274816"/>
                </a:lnTo>
                <a:lnTo>
                  <a:pt x="719106" y="1284490"/>
                </a:lnTo>
                <a:lnTo>
                  <a:pt x="722331" y="1300613"/>
                </a:lnTo>
                <a:lnTo>
                  <a:pt x="709432" y="1297389"/>
                </a:lnTo>
                <a:lnTo>
                  <a:pt x="702982" y="1290940"/>
                </a:lnTo>
                <a:lnTo>
                  <a:pt x="699758" y="1278041"/>
                </a:lnTo>
                <a:lnTo>
                  <a:pt x="693308" y="1281266"/>
                </a:lnTo>
                <a:lnTo>
                  <a:pt x="699758" y="1287715"/>
                </a:lnTo>
                <a:lnTo>
                  <a:pt x="699758" y="1297389"/>
                </a:lnTo>
                <a:lnTo>
                  <a:pt x="693308" y="1300613"/>
                </a:lnTo>
                <a:lnTo>
                  <a:pt x="686859" y="1300613"/>
                </a:lnTo>
                <a:lnTo>
                  <a:pt x="664287" y="1284490"/>
                </a:lnTo>
                <a:lnTo>
                  <a:pt x="651387" y="1268367"/>
                </a:lnTo>
                <a:lnTo>
                  <a:pt x="648163" y="1261918"/>
                </a:lnTo>
                <a:lnTo>
                  <a:pt x="641713" y="1261918"/>
                </a:lnTo>
                <a:lnTo>
                  <a:pt x="615916" y="1245794"/>
                </a:lnTo>
                <a:lnTo>
                  <a:pt x="628814" y="1242569"/>
                </a:lnTo>
                <a:lnTo>
                  <a:pt x="628814" y="1232895"/>
                </a:lnTo>
                <a:lnTo>
                  <a:pt x="622365" y="1223221"/>
                </a:lnTo>
                <a:lnTo>
                  <a:pt x="615916" y="1236119"/>
                </a:lnTo>
                <a:lnTo>
                  <a:pt x="603017" y="1239345"/>
                </a:lnTo>
                <a:lnTo>
                  <a:pt x="590119" y="1236119"/>
                </a:lnTo>
                <a:lnTo>
                  <a:pt x="577220" y="1229671"/>
                </a:lnTo>
                <a:lnTo>
                  <a:pt x="564321" y="1223221"/>
                </a:lnTo>
                <a:lnTo>
                  <a:pt x="551422" y="1223221"/>
                </a:lnTo>
                <a:lnTo>
                  <a:pt x="538523" y="1223221"/>
                </a:lnTo>
                <a:lnTo>
                  <a:pt x="522399" y="1226446"/>
                </a:lnTo>
                <a:lnTo>
                  <a:pt x="496602" y="1210322"/>
                </a:lnTo>
                <a:lnTo>
                  <a:pt x="490153" y="1207098"/>
                </a:lnTo>
                <a:lnTo>
                  <a:pt x="486928" y="1200648"/>
                </a:lnTo>
                <a:lnTo>
                  <a:pt x="474030" y="1197424"/>
                </a:lnTo>
                <a:lnTo>
                  <a:pt x="467580" y="1197424"/>
                </a:lnTo>
                <a:lnTo>
                  <a:pt x="464356" y="1184525"/>
                </a:lnTo>
                <a:lnTo>
                  <a:pt x="461131" y="1181300"/>
                </a:lnTo>
                <a:lnTo>
                  <a:pt x="451457" y="1187750"/>
                </a:lnTo>
                <a:lnTo>
                  <a:pt x="435333" y="1184525"/>
                </a:lnTo>
                <a:lnTo>
                  <a:pt x="435333" y="1200648"/>
                </a:lnTo>
                <a:lnTo>
                  <a:pt x="438558" y="1203874"/>
                </a:lnTo>
                <a:lnTo>
                  <a:pt x="438558" y="1207098"/>
                </a:lnTo>
                <a:lnTo>
                  <a:pt x="432109" y="1219997"/>
                </a:lnTo>
                <a:lnTo>
                  <a:pt x="425659" y="1229671"/>
                </a:lnTo>
                <a:lnTo>
                  <a:pt x="409536" y="1229671"/>
                </a:lnTo>
                <a:lnTo>
                  <a:pt x="393412" y="1242569"/>
                </a:lnTo>
                <a:lnTo>
                  <a:pt x="380513" y="1252243"/>
                </a:lnTo>
                <a:lnTo>
                  <a:pt x="367615" y="1261918"/>
                </a:lnTo>
                <a:lnTo>
                  <a:pt x="354716" y="1261918"/>
                </a:lnTo>
                <a:lnTo>
                  <a:pt x="351491" y="1258693"/>
                </a:lnTo>
                <a:lnTo>
                  <a:pt x="351491" y="1252243"/>
                </a:lnTo>
                <a:lnTo>
                  <a:pt x="354716" y="1226446"/>
                </a:lnTo>
                <a:lnTo>
                  <a:pt x="361165" y="1216772"/>
                </a:lnTo>
                <a:lnTo>
                  <a:pt x="364391" y="1203874"/>
                </a:lnTo>
                <a:lnTo>
                  <a:pt x="361165" y="1197424"/>
                </a:lnTo>
                <a:lnTo>
                  <a:pt x="374065" y="1187750"/>
                </a:lnTo>
                <a:lnTo>
                  <a:pt x="386963" y="1181300"/>
                </a:lnTo>
                <a:lnTo>
                  <a:pt x="386963" y="1174851"/>
                </a:lnTo>
                <a:lnTo>
                  <a:pt x="383738" y="1171626"/>
                </a:lnTo>
                <a:lnTo>
                  <a:pt x="380513" y="1168401"/>
                </a:lnTo>
                <a:lnTo>
                  <a:pt x="374065" y="1174851"/>
                </a:lnTo>
                <a:lnTo>
                  <a:pt x="367615" y="1181300"/>
                </a:lnTo>
                <a:lnTo>
                  <a:pt x="354716" y="1190974"/>
                </a:lnTo>
                <a:lnTo>
                  <a:pt x="345042" y="1207098"/>
                </a:lnTo>
                <a:lnTo>
                  <a:pt x="338593" y="1223221"/>
                </a:lnTo>
                <a:lnTo>
                  <a:pt x="328918" y="1236119"/>
                </a:lnTo>
                <a:lnTo>
                  <a:pt x="325694" y="1239345"/>
                </a:lnTo>
                <a:lnTo>
                  <a:pt x="325694" y="1242569"/>
                </a:lnTo>
                <a:lnTo>
                  <a:pt x="319244" y="1245794"/>
                </a:lnTo>
                <a:lnTo>
                  <a:pt x="303121" y="1255468"/>
                </a:lnTo>
                <a:lnTo>
                  <a:pt x="303121" y="1268367"/>
                </a:lnTo>
                <a:lnTo>
                  <a:pt x="306345" y="1268367"/>
                </a:lnTo>
                <a:lnTo>
                  <a:pt x="322469" y="1274816"/>
                </a:lnTo>
                <a:lnTo>
                  <a:pt x="299895" y="1307063"/>
                </a:lnTo>
                <a:lnTo>
                  <a:pt x="280548" y="1313513"/>
                </a:lnTo>
                <a:lnTo>
                  <a:pt x="280548" y="1316737"/>
                </a:lnTo>
                <a:lnTo>
                  <a:pt x="277323" y="1319962"/>
                </a:lnTo>
                <a:lnTo>
                  <a:pt x="274098" y="1323187"/>
                </a:lnTo>
                <a:lnTo>
                  <a:pt x="270874" y="1323187"/>
                </a:lnTo>
                <a:lnTo>
                  <a:pt x="267650" y="1326411"/>
                </a:lnTo>
                <a:lnTo>
                  <a:pt x="267650" y="1329636"/>
                </a:lnTo>
                <a:lnTo>
                  <a:pt x="261200" y="1332861"/>
                </a:lnTo>
                <a:lnTo>
                  <a:pt x="251526" y="1339310"/>
                </a:lnTo>
                <a:lnTo>
                  <a:pt x="254750" y="1345760"/>
                </a:lnTo>
                <a:lnTo>
                  <a:pt x="248301" y="1352209"/>
                </a:lnTo>
                <a:lnTo>
                  <a:pt x="232177" y="1358658"/>
                </a:lnTo>
                <a:lnTo>
                  <a:pt x="222504" y="1365108"/>
                </a:lnTo>
                <a:lnTo>
                  <a:pt x="209604" y="1374782"/>
                </a:lnTo>
                <a:lnTo>
                  <a:pt x="212829" y="1381231"/>
                </a:lnTo>
                <a:lnTo>
                  <a:pt x="216053" y="1384455"/>
                </a:lnTo>
                <a:lnTo>
                  <a:pt x="206379" y="1390905"/>
                </a:lnTo>
                <a:lnTo>
                  <a:pt x="190256" y="1397355"/>
                </a:lnTo>
                <a:lnTo>
                  <a:pt x="183806" y="1397355"/>
                </a:lnTo>
                <a:lnTo>
                  <a:pt x="180582" y="1397355"/>
                </a:lnTo>
                <a:lnTo>
                  <a:pt x="167683" y="1403804"/>
                </a:lnTo>
                <a:lnTo>
                  <a:pt x="164459" y="1410254"/>
                </a:lnTo>
                <a:lnTo>
                  <a:pt x="158009" y="1413478"/>
                </a:lnTo>
                <a:lnTo>
                  <a:pt x="145111" y="1416702"/>
                </a:lnTo>
                <a:lnTo>
                  <a:pt x="138661" y="1416702"/>
                </a:lnTo>
                <a:lnTo>
                  <a:pt x="135437" y="1413478"/>
                </a:lnTo>
                <a:lnTo>
                  <a:pt x="132212" y="1423152"/>
                </a:lnTo>
                <a:lnTo>
                  <a:pt x="128987" y="1426377"/>
                </a:lnTo>
                <a:lnTo>
                  <a:pt x="116089" y="1432826"/>
                </a:lnTo>
                <a:lnTo>
                  <a:pt x="106414" y="1432826"/>
                </a:lnTo>
                <a:lnTo>
                  <a:pt x="103190" y="1426377"/>
                </a:lnTo>
                <a:lnTo>
                  <a:pt x="116089" y="1416702"/>
                </a:lnTo>
                <a:lnTo>
                  <a:pt x="119313" y="1413478"/>
                </a:lnTo>
                <a:lnTo>
                  <a:pt x="125763" y="1403804"/>
                </a:lnTo>
                <a:lnTo>
                  <a:pt x="148335" y="1394130"/>
                </a:lnTo>
                <a:lnTo>
                  <a:pt x="154785" y="1394130"/>
                </a:lnTo>
                <a:lnTo>
                  <a:pt x="161234" y="1390905"/>
                </a:lnTo>
                <a:lnTo>
                  <a:pt x="170908" y="1378007"/>
                </a:lnTo>
                <a:lnTo>
                  <a:pt x="183806" y="1368333"/>
                </a:lnTo>
                <a:lnTo>
                  <a:pt x="196706" y="1358658"/>
                </a:lnTo>
                <a:lnTo>
                  <a:pt x="203155" y="1352209"/>
                </a:lnTo>
                <a:lnTo>
                  <a:pt x="209604" y="1342534"/>
                </a:lnTo>
                <a:lnTo>
                  <a:pt x="216053" y="1336086"/>
                </a:lnTo>
                <a:lnTo>
                  <a:pt x="225729" y="1326411"/>
                </a:lnTo>
                <a:lnTo>
                  <a:pt x="225729" y="1323187"/>
                </a:lnTo>
                <a:lnTo>
                  <a:pt x="225729" y="1313513"/>
                </a:lnTo>
                <a:lnTo>
                  <a:pt x="228953" y="1303839"/>
                </a:lnTo>
                <a:lnTo>
                  <a:pt x="228953" y="1297389"/>
                </a:lnTo>
                <a:lnTo>
                  <a:pt x="241852" y="1281266"/>
                </a:lnTo>
                <a:lnTo>
                  <a:pt x="238627" y="1274816"/>
                </a:lnTo>
                <a:lnTo>
                  <a:pt x="235402" y="1274816"/>
                </a:lnTo>
                <a:lnTo>
                  <a:pt x="232177" y="1278041"/>
                </a:lnTo>
                <a:lnTo>
                  <a:pt x="216053" y="1284490"/>
                </a:lnTo>
                <a:lnTo>
                  <a:pt x="212829" y="1284490"/>
                </a:lnTo>
                <a:lnTo>
                  <a:pt x="206379" y="1287715"/>
                </a:lnTo>
                <a:lnTo>
                  <a:pt x="203155" y="1290940"/>
                </a:lnTo>
                <a:lnTo>
                  <a:pt x="193482" y="1287715"/>
                </a:lnTo>
                <a:lnTo>
                  <a:pt x="180582" y="1274816"/>
                </a:lnTo>
                <a:lnTo>
                  <a:pt x="174132" y="1271592"/>
                </a:lnTo>
                <a:lnTo>
                  <a:pt x="167683" y="1271592"/>
                </a:lnTo>
                <a:lnTo>
                  <a:pt x="154785" y="1274816"/>
                </a:lnTo>
                <a:lnTo>
                  <a:pt x="145111" y="1278041"/>
                </a:lnTo>
                <a:lnTo>
                  <a:pt x="145111" y="1284490"/>
                </a:lnTo>
                <a:lnTo>
                  <a:pt x="141887" y="1284490"/>
                </a:lnTo>
                <a:lnTo>
                  <a:pt x="132212" y="1284490"/>
                </a:lnTo>
                <a:lnTo>
                  <a:pt x="135437" y="1278041"/>
                </a:lnTo>
                <a:lnTo>
                  <a:pt x="138661" y="1268367"/>
                </a:lnTo>
                <a:lnTo>
                  <a:pt x="132212" y="1265142"/>
                </a:lnTo>
                <a:lnTo>
                  <a:pt x="132212" y="1255468"/>
                </a:lnTo>
                <a:lnTo>
                  <a:pt x="135437" y="1249019"/>
                </a:lnTo>
                <a:lnTo>
                  <a:pt x="135437" y="1242569"/>
                </a:lnTo>
                <a:lnTo>
                  <a:pt x="125763" y="1223221"/>
                </a:lnTo>
                <a:lnTo>
                  <a:pt x="112864" y="1229671"/>
                </a:lnTo>
                <a:lnTo>
                  <a:pt x="93516" y="1236119"/>
                </a:lnTo>
                <a:lnTo>
                  <a:pt x="83841" y="1232895"/>
                </a:lnTo>
                <a:lnTo>
                  <a:pt x="70943" y="1213547"/>
                </a:lnTo>
                <a:lnTo>
                  <a:pt x="61269" y="1207098"/>
                </a:lnTo>
                <a:lnTo>
                  <a:pt x="58044" y="1203874"/>
                </a:lnTo>
                <a:lnTo>
                  <a:pt x="61269" y="1197424"/>
                </a:lnTo>
                <a:lnTo>
                  <a:pt x="67717" y="1187750"/>
                </a:lnTo>
                <a:lnTo>
                  <a:pt x="58044" y="1178075"/>
                </a:lnTo>
                <a:lnTo>
                  <a:pt x="51594" y="1178075"/>
                </a:lnTo>
                <a:lnTo>
                  <a:pt x="41920" y="1161952"/>
                </a:lnTo>
                <a:lnTo>
                  <a:pt x="41920" y="1145829"/>
                </a:lnTo>
                <a:lnTo>
                  <a:pt x="48370" y="1129705"/>
                </a:lnTo>
                <a:lnTo>
                  <a:pt x="58044" y="1116806"/>
                </a:lnTo>
                <a:lnTo>
                  <a:pt x="64493" y="1110357"/>
                </a:lnTo>
                <a:lnTo>
                  <a:pt x="77391" y="1100683"/>
                </a:lnTo>
                <a:lnTo>
                  <a:pt x="70943" y="1100683"/>
                </a:lnTo>
                <a:lnTo>
                  <a:pt x="80617" y="1087784"/>
                </a:lnTo>
                <a:lnTo>
                  <a:pt x="74167" y="1081335"/>
                </a:lnTo>
                <a:lnTo>
                  <a:pt x="80617" y="1078110"/>
                </a:lnTo>
                <a:lnTo>
                  <a:pt x="90291" y="1078110"/>
                </a:lnTo>
                <a:lnTo>
                  <a:pt x="93516" y="1078110"/>
                </a:lnTo>
                <a:lnTo>
                  <a:pt x="90291" y="1091009"/>
                </a:lnTo>
                <a:lnTo>
                  <a:pt x="99964" y="1084559"/>
                </a:lnTo>
                <a:lnTo>
                  <a:pt x="112864" y="1081335"/>
                </a:lnTo>
                <a:lnTo>
                  <a:pt x="112864" y="1078110"/>
                </a:lnTo>
                <a:lnTo>
                  <a:pt x="116089" y="1078110"/>
                </a:lnTo>
                <a:lnTo>
                  <a:pt x="119313" y="1071661"/>
                </a:lnTo>
                <a:lnTo>
                  <a:pt x="125763" y="1065211"/>
                </a:lnTo>
                <a:lnTo>
                  <a:pt x="132212" y="1068436"/>
                </a:lnTo>
                <a:lnTo>
                  <a:pt x="145111" y="1065211"/>
                </a:lnTo>
                <a:lnTo>
                  <a:pt x="154785" y="1055538"/>
                </a:lnTo>
                <a:lnTo>
                  <a:pt x="154785" y="1036189"/>
                </a:lnTo>
                <a:lnTo>
                  <a:pt x="151561" y="1023290"/>
                </a:lnTo>
                <a:lnTo>
                  <a:pt x="151561" y="1007167"/>
                </a:lnTo>
                <a:lnTo>
                  <a:pt x="148335" y="991043"/>
                </a:lnTo>
                <a:lnTo>
                  <a:pt x="132212" y="1000717"/>
                </a:lnTo>
                <a:lnTo>
                  <a:pt x="119313" y="1013616"/>
                </a:lnTo>
                <a:lnTo>
                  <a:pt x="112864" y="1010391"/>
                </a:lnTo>
                <a:lnTo>
                  <a:pt x="106414" y="1007167"/>
                </a:lnTo>
                <a:lnTo>
                  <a:pt x="93516" y="1010391"/>
                </a:lnTo>
                <a:lnTo>
                  <a:pt x="80617" y="1010391"/>
                </a:lnTo>
                <a:lnTo>
                  <a:pt x="67717" y="1016841"/>
                </a:lnTo>
                <a:lnTo>
                  <a:pt x="54819" y="1013616"/>
                </a:lnTo>
                <a:lnTo>
                  <a:pt x="32247" y="1000717"/>
                </a:lnTo>
                <a:lnTo>
                  <a:pt x="29022" y="991043"/>
                </a:lnTo>
                <a:lnTo>
                  <a:pt x="22572" y="984594"/>
                </a:lnTo>
                <a:lnTo>
                  <a:pt x="12898" y="968470"/>
                </a:lnTo>
                <a:lnTo>
                  <a:pt x="0" y="958796"/>
                </a:lnTo>
                <a:lnTo>
                  <a:pt x="0" y="949122"/>
                </a:lnTo>
                <a:lnTo>
                  <a:pt x="25798" y="932999"/>
                </a:lnTo>
                <a:lnTo>
                  <a:pt x="58044" y="913650"/>
                </a:lnTo>
                <a:lnTo>
                  <a:pt x="77391" y="903976"/>
                </a:lnTo>
                <a:lnTo>
                  <a:pt x="96739" y="907201"/>
                </a:lnTo>
                <a:lnTo>
                  <a:pt x="83841" y="926549"/>
                </a:lnTo>
                <a:lnTo>
                  <a:pt x="116089" y="936223"/>
                </a:lnTo>
                <a:lnTo>
                  <a:pt x="135437" y="932999"/>
                </a:lnTo>
                <a:lnTo>
                  <a:pt x="141887" y="923325"/>
                </a:lnTo>
                <a:lnTo>
                  <a:pt x="148335" y="923325"/>
                </a:lnTo>
                <a:lnTo>
                  <a:pt x="145111" y="916875"/>
                </a:lnTo>
                <a:lnTo>
                  <a:pt x="141887" y="913650"/>
                </a:lnTo>
                <a:lnTo>
                  <a:pt x="128987" y="900752"/>
                </a:lnTo>
                <a:lnTo>
                  <a:pt x="112864" y="884628"/>
                </a:lnTo>
                <a:lnTo>
                  <a:pt x="103190" y="878179"/>
                </a:lnTo>
                <a:lnTo>
                  <a:pt x="96739" y="878179"/>
                </a:lnTo>
                <a:lnTo>
                  <a:pt x="93516" y="874954"/>
                </a:lnTo>
                <a:lnTo>
                  <a:pt x="90291" y="858831"/>
                </a:lnTo>
                <a:lnTo>
                  <a:pt x="70943" y="833034"/>
                </a:lnTo>
                <a:lnTo>
                  <a:pt x="70943" y="836258"/>
                </a:lnTo>
                <a:lnTo>
                  <a:pt x="29022" y="804011"/>
                </a:lnTo>
                <a:lnTo>
                  <a:pt x="32247" y="800786"/>
                </a:lnTo>
                <a:lnTo>
                  <a:pt x="38696" y="791113"/>
                </a:lnTo>
                <a:lnTo>
                  <a:pt x="38696" y="778213"/>
                </a:lnTo>
                <a:lnTo>
                  <a:pt x="45145" y="774989"/>
                </a:lnTo>
                <a:lnTo>
                  <a:pt x="74167" y="768540"/>
                </a:lnTo>
                <a:lnTo>
                  <a:pt x="99964" y="752416"/>
                </a:lnTo>
                <a:lnTo>
                  <a:pt x="106414" y="729843"/>
                </a:lnTo>
                <a:lnTo>
                  <a:pt x="112864" y="710495"/>
                </a:lnTo>
                <a:lnTo>
                  <a:pt x="128987" y="687922"/>
                </a:lnTo>
                <a:lnTo>
                  <a:pt x="132212" y="681472"/>
                </a:lnTo>
                <a:lnTo>
                  <a:pt x="138661" y="684698"/>
                </a:lnTo>
                <a:lnTo>
                  <a:pt x="145111" y="684698"/>
                </a:lnTo>
                <a:lnTo>
                  <a:pt x="154785" y="678248"/>
                </a:lnTo>
                <a:lnTo>
                  <a:pt x="193482" y="642777"/>
                </a:lnTo>
                <a:lnTo>
                  <a:pt x="193482" y="652451"/>
                </a:lnTo>
                <a:lnTo>
                  <a:pt x="219279" y="646001"/>
                </a:lnTo>
                <a:lnTo>
                  <a:pt x="245076" y="620204"/>
                </a:lnTo>
                <a:lnTo>
                  <a:pt x="270874" y="626653"/>
                </a:lnTo>
                <a:lnTo>
                  <a:pt x="280548" y="629877"/>
                </a:lnTo>
                <a:lnTo>
                  <a:pt x="283773" y="626653"/>
                </a:lnTo>
                <a:lnTo>
                  <a:pt x="290222" y="633102"/>
                </a:lnTo>
                <a:lnTo>
                  <a:pt x="290222" y="639551"/>
                </a:lnTo>
                <a:lnTo>
                  <a:pt x="303121" y="649225"/>
                </a:lnTo>
                <a:lnTo>
                  <a:pt x="309570" y="642777"/>
                </a:lnTo>
                <a:lnTo>
                  <a:pt x="316020" y="642777"/>
                </a:lnTo>
                <a:lnTo>
                  <a:pt x="332144" y="642777"/>
                </a:lnTo>
                <a:lnTo>
                  <a:pt x="345042" y="649225"/>
                </a:lnTo>
                <a:lnTo>
                  <a:pt x="335368" y="665349"/>
                </a:lnTo>
                <a:lnTo>
                  <a:pt x="341817" y="668574"/>
                </a:lnTo>
                <a:lnTo>
                  <a:pt x="351491" y="671798"/>
                </a:lnTo>
                <a:lnTo>
                  <a:pt x="364391" y="675023"/>
                </a:lnTo>
                <a:lnTo>
                  <a:pt x="377289" y="671798"/>
                </a:lnTo>
                <a:lnTo>
                  <a:pt x="390187" y="668574"/>
                </a:lnTo>
                <a:lnTo>
                  <a:pt x="406312" y="668574"/>
                </a:lnTo>
                <a:lnTo>
                  <a:pt x="432109" y="678248"/>
                </a:lnTo>
                <a:lnTo>
                  <a:pt x="438558" y="681472"/>
                </a:lnTo>
                <a:lnTo>
                  <a:pt x="445007" y="687922"/>
                </a:lnTo>
                <a:lnTo>
                  <a:pt x="457906" y="691146"/>
                </a:lnTo>
                <a:lnTo>
                  <a:pt x="470805" y="687922"/>
                </a:lnTo>
                <a:lnTo>
                  <a:pt x="486928" y="694371"/>
                </a:lnTo>
                <a:lnTo>
                  <a:pt x="509501" y="704045"/>
                </a:lnTo>
                <a:lnTo>
                  <a:pt x="519175" y="697596"/>
                </a:lnTo>
                <a:lnTo>
                  <a:pt x="535299" y="694371"/>
                </a:lnTo>
                <a:lnTo>
                  <a:pt x="551422" y="697596"/>
                </a:lnTo>
                <a:lnTo>
                  <a:pt x="561097" y="710495"/>
                </a:lnTo>
                <a:lnTo>
                  <a:pt x="567546" y="716945"/>
                </a:lnTo>
                <a:lnTo>
                  <a:pt x="570770" y="713719"/>
                </a:lnTo>
                <a:lnTo>
                  <a:pt x="573995" y="716945"/>
                </a:lnTo>
                <a:lnTo>
                  <a:pt x="590119" y="723393"/>
                </a:lnTo>
                <a:lnTo>
                  <a:pt x="590119" y="723392"/>
                </a:lnTo>
                <a:lnTo>
                  <a:pt x="619140" y="726618"/>
                </a:lnTo>
                <a:lnTo>
                  <a:pt x="641713" y="745965"/>
                </a:lnTo>
                <a:lnTo>
                  <a:pt x="648163" y="749190"/>
                </a:lnTo>
                <a:lnTo>
                  <a:pt x="651387" y="755639"/>
                </a:lnTo>
                <a:lnTo>
                  <a:pt x="664287" y="762089"/>
                </a:lnTo>
                <a:lnTo>
                  <a:pt x="673960" y="768538"/>
                </a:lnTo>
                <a:lnTo>
                  <a:pt x="683634" y="771763"/>
                </a:lnTo>
                <a:lnTo>
                  <a:pt x="690084" y="771763"/>
                </a:lnTo>
                <a:lnTo>
                  <a:pt x="702982" y="771763"/>
                </a:lnTo>
                <a:lnTo>
                  <a:pt x="712657" y="771763"/>
                </a:lnTo>
                <a:lnTo>
                  <a:pt x="725555" y="762089"/>
                </a:lnTo>
                <a:lnTo>
                  <a:pt x="748128" y="742741"/>
                </a:lnTo>
                <a:lnTo>
                  <a:pt x="761027" y="739516"/>
                </a:lnTo>
                <a:lnTo>
                  <a:pt x="767476" y="723392"/>
                </a:lnTo>
                <a:lnTo>
                  <a:pt x="793275" y="713718"/>
                </a:lnTo>
                <a:lnTo>
                  <a:pt x="809397" y="700820"/>
                </a:lnTo>
                <a:lnTo>
                  <a:pt x="819071" y="691145"/>
                </a:lnTo>
                <a:lnTo>
                  <a:pt x="838420" y="684697"/>
                </a:lnTo>
                <a:lnTo>
                  <a:pt x="848094" y="697595"/>
                </a:lnTo>
                <a:lnTo>
                  <a:pt x="854543" y="704044"/>
                </a:lnTo>
                <a:lnTo>
                  <a:pt x="860992" y="700820"/>
                </a:lnTo>
                <a:lnTo>
                  <a:pt x="867442" y="694370"/>
                </a:lnTo>
                <a:lnTo>
                  <a:pt x="870666" y="675022"/>
                </a:lnTo>
                <a:lnTo>
                  <a:pt x="877116" y="665348"/>
                </a:lnTo>
                <a:lnTo>
                  <a:pt x="886791" y="675022"/>
                </a:lnTo>
                <a:lnTo>
                  <a:pt x="896464" y="687921"/>
                </a:lnTo>
                <a:lnTo>
                  <a:pt x="899689" y="697595"/>
                </a:lnTo>
                <a:lnTo>
                  <a:pt x="902914" y="704044"/>
                </a:lnTo>
                <a:lnTo>
                  <a:pt x="902914" y="707269"/>
                </a:lnTo>
                <a:lnTo>
                  <a:pt x="909364" y="723392"/>
                </a:lnTo>
                <a:lnTo>
                  <a:pt x="919036" y="739516"/>
                </a:lnTo>
                <a:lnTo>
                  <a:pt x="931936" y="745965"/>
                </a:lnTo>
                <a:lnTo>
                  <a:pt x="938385" y="736291"/>
                </a:lnTo>
                <a:lnTo>
                  <a:pt x="931936" y="736291"/>
                </a:lnTo>
                <a:lnTo>
                  <a:pt x="935160" y="716944"/>
                </a:lnTo>
                <a:lnTo>
                  <a:pt x="938385" y="700820"/>
                </a:lnTo>
                <a:lnTo>
                  <a:pt x="951284" y="691145"/>
                </a:lnTo>
                <a:lnTo>
                  <a:pt x="957733" y="700820"/>
                </a:lnTo>
                <a:lnTo>
                  <a:pt x="960957" y="720168"/>
                </a:lnTo>
                <a:lnTo>
                  <a:pt x="957733" y="726618"/>
                </a:lnTo>
                <a:lnTo>
                  <a:pt x="951284" y="739516"/>
                </a:lnTo>
                <a:lnTo>
                  <a:pt x="964183" y="742741"/>
                </a:lnTo>
                <a:lnTo>
                  <a:pt x="977081" y="739516"/>
                </a:lnTo>
                <a:lnTo>
                  <a:pt x="983531" y="729842"/>
                </a:lnTo>
                <a:lnTo>
                  <a:pt x="983531" y="716944"/>
                </a:lnTo>
                <a:lnTo>
                  <a:pt x="989980" y="713718"/>
                </a:lnTo>
                <a:lnTo>
                  <a:pt x="996430" y="713718"/>
                </a:lnTo>
                <a:lnTo>
                  <a:pt x="1022227" y="716944"/>
                </a:lnTo>
                <a:lnTo>
                  <a:pt x="1035125" y="729842"/>
                </a:lnTo>
                <a:lnTo>
                  <a:pt x="1048025" y="739516"/>
                </a:lnTo>
                <a:lnTo>
                  <a:pt x="1067373" y="745965"/>
                </a:lnTo>
                <a:lnTo>
                  <a:pt x="1080272" y="749190"/>
                </a:lnTo>
                <a:lnTo>
                  <a:pt x="1086721" y="758864"/>
                </a:lnTo>
                <a:lnTo>
                  <a:pt x="1109295" y="768538"/>
                </a:lnTo>
                <a:lnTo>
                  <a:pt x="1122193" y="771763"/>
                </a:lnTo>
                <a:lnTo>
                  <a:pt x="1131868" y="768538"/>
                </a:lnTo>
                <a:lnTo>
                  <a:pt x="1141541" y="765313"/>
                </a:lnTo>
                <a:lnTo>
                  <a:pt x="1157664" y="771763"/>
                </a:lnTo>
                <a:lnTo>
                  <a:pt x="1183462" y="797560"/>
                </a:lnTo>
                <a:lnTo>
                  <a:pt x="1183462" y="810459"/>
                </a:lnTo>
                <a:lnTo>
                  <a:pt x="1177013" y="810459"/>
                </a:lnTo>
                <a:lnTo>
                  <a:pt x="1164114" y="807235"/>
                </a:lnTo>
                <a:lnTo>
                  <a:pt x="1151214" y="826583"/>
                </a:lnTo>
                <a:lnTo>
                  <a:pt x="1147990" y="829807"/>
                </a:lnTo>
                <a:lnTo>
                  <a:pt x="1157664" y="833033"/>
                </a:lnTo>
                <a:lnTo>
                  <a:pt x="1170563" y="836257"/>
                </a:lnTo>
                <a:lnTo>
                  <a:pt x="1177013" y="839481"/>
                </a:lnTo>
                <a:lnTo>
                  <a:pt x="1183462" y="842706"/>
                </a:lnTo>
                <a:lnTo>
                  <a:pt x="1212484" y="842706"/>
                </a:lnTo>
                <a:lnTo>
                  <a:pt x="1222159" y="839481"/>
                </a:lnTo>
                <a:lnTo>
                  <a:pt x="1238282" y="839481"/>
                </a:lnTo>
                <a:lnTo>
                  <a:pt x="1251181" y="833033"/>
                </a:lnTo>
                <a:lnTo>
                  <a:pt x="1264079" y="826583"/>
                </a:lnTo>
                <a:lnTo>
                  <a:pt x="1270529" y="826583"/>
                </a:lnTo>
                <a:lnTo>
                  <a:pt x="1273753" y="833033"/>
                </a:lnTo>
                <a:lnTo>
                  <a:pt x="1280203" y="836257"/>
                </a:lnTo>
                <a:lnTo>
                  <a:pt x="1289877" y="842706"/>
                </a:lnTo>
                <a:lnTo>
                  <a:pt x="1302776" y="852380"/>
                </a:lnTo>
                <a:lnTo>
                  <a:pt x="1312450" y="865279"/>
                </a:lnTo>
                <a:lnTo>
                  <a:pt x="1315674" y="871728"/>
                </a:lnTo>
                <a:lnTo>
                  <a:pt x="1322124" y="887852"/>
                </a:lnTo>
                <a:lnTo>
                  <a:pt x="1331799" y="891077"/>
                </a:lnTo>
                <a:lnTo>
                  <a:pt x="1328573" y="874954"/>
                </a:lnTo>
                <a:lnTo>
                  <a:pt x="1325349" y="871728"/>
                </a:lnTo>
                <a:lnTo>
                  <a:pt x="1315674" y="842706"/>
                </a:lnTo>
                <a:lnTo>
                  <a:pt x="1309225" y="816909"/>
                </a:lnTo>
                <a:lnTo>
                  <a:pt x="1302776" y="810459"/>
                </a:lnTo>
                <a:lnTo>
                  <a:pt x="1296326" y="807235"/>
                </a:lnTo>
                <a:lnTo>
                  <a:pt x="1306000" y="787886"/>
                </a:lnTo>
                <a:lnTo>
                  <a:pt x="1318899" y="784662"/>
                </a:lnTo>
                <a:lnTo>
                  <a:pt x="1344697" y="774988"/>
                </a:lnTo>
                <a:lnTo>
                  <a:pt x="1354371" y="768538"/>
                </a:lnTo>
                <a:lnTo>
                  <a:pt x="1367270" y="778212"/>
                </a:lnTo>
                <a:lnTo>
                  <a:pt x="1370494" y="791112"/>
                </a:lnTo>
                <a:lnTo>
                  <a:pt x="1373718" y="800785"/>
                </a:lnTo>
                <a:lnTo>
                  <a:pt x="1373718" y="804010"/>
                </a:lnTo>
                <a:lnTo>
                  <a:pt x="1376944" y="807235"/>
                </a:lnTo>
                <a:lnTo>
                  <a:pt x="1380168" y="810459"/>
                </a:lnTo>
                <a:lnTo>
                  <a:pt x="1380168" y="807235"/>
                </a:lnTo>
                <a:lnTo>
                  <a:pt x="1389842" y="810459"/>
                </a:lnTo>
                <a:lnTo>
                  <a:pt x="1389842" y="813684"/>
                </a:lnTo>
                <a:lnTo>
                  <a:pt x="1389842" y="820133"/>
                </a:lnTo>
                <a:lnTo>
                  <a:pt x="1402741" y="823358"/>
                </a:lnTo>
                <a:lnTo>
                  <a:pt x="1441438" y="842706"/>
                </a:lnTo>
                <a:lnTo>
                  <a:pt x="1451112" y="842706"/>
                </a:lnTo>
                <a:lnTo>
                  <a:pt x="1457561" y="842706"/>
                </a:lnTo>
                <a:lnTo>
                  <a:pt x="1470460" y="839481"/>
                </a:lnTo>
                <a:lnTo>
                  <a:pt x="1476909" y="836257"/>
                </a:lnTo>
                <a:lnTo>
                  <a:pt x="1480133" y="833033"/>
                </a:lnTo>
                <a:lnTo>
                  <a:pt x="1493033" y="833033"/>
                </a:lnTo>
                <a:lnTo>
                  <a:pt x="1502706" y="836257"/>
                </a:lnTo>
                <a:lnTo>
                  <a:pt x="1512380" y="839481"/>
                </a:lnTo>
                <a:lnTo>
                  <a:pt x="1525280" y="836257"/>
                </a:lnTo>
                <a:lnTo>
                  <a:pt x="1515605" y="823358"/>
                </a:lnTo>
                <a:lnTo>
                  <a:pt x="1518830" y="800785"/>
                </a:lnTo>
                <a:lnTo>
                  <a:pt x="1538178" y="791112"/>
                </a:lnTo>
                <a:lnTo>
                  <a:pt x="1551077" y="797560"/>
                </a:lnTo>
                <a:lnTo>
                  <a:pt x="1554302" y="807235"/>
                </a:lnTo>
                <a:lnTo>
                  <a:pt x="1557527" y="807235"/>
                </a:lnTo>
                <a:lnTo>
                  <a:pt x="1570425" y="807235"/>
                </a:lnTo>
                <a:lnTo>
                  <a:pt x="1580100" y="807235"/>
                </a:lnTo>
                <a:lnTo>
                  <a:pt x="1576874" y="810459"/>
                </a:lnTo>
                <a:lnTo>
                  <a:pt x="1576874" y="823358"/>
                </a:lnTo>
                <a:lnTo>
                  <a:pt x="1570425" y="842706"/>
                </a:lnTo>
                <a:lnTo>
                  <a:pt x="1570425" y="855605"/>
                </a:lnTo>
                <a:lnTo>
                  <a:pt x="1576874" y="868504"/>
                </a:lnTo>
                <a:lnTo>
                  <a:pt x="1586548" y="858830"/>
                </a:lnTo>
                <a:lnTo>
                  <a:pt x="1592998" y="874954"/>
                </a:lnTo>
                <a:lnTo>
                  <a:pt x="1589774" y="836257"/>
                </a:lnTo>
                <a:lnTo>
                  <a:pt x="1599448" y="820133"/>
                </a:lnTo>
                <a:lnTo>
                  <a:pt x="1609121" y="816909"/>
                </a:lnTo>
                <a:lnTo>
                  <a:pt x="1615571" y="810459"/>
                </a:lnTo>
                <a:lnTo>
                  <a:pt x="1631695" y="791112"/>
                </a:lnTo>
                <a:lnTo>
                  <a:pt x="1628469" y="778212"/>
                </a:lnTo>
                <a:lnTo>
                  <a:pt x="1615571" y="778212"/>
                </a:lnTo>
                <a:lnTo>
                  <a:pt x="1612346" y="781437"/>
                </a:lnTo>
                <a:lnTo>
                  <a:pt x="1609121" y="774988"/>
                </a:lnTo>
                <a:lnTo>
                  <a:pt x="1609121" y="765313"/>
                </a:lnTo>
                <a:lnTo>
                  <a:pt x="1612346" y="765313"/>
                </a:lnTo>
                <a:lnTo>
                  <a:pt x="1618795" y="762089"/>
                </a:lnTo>
                <a:lnTo>
                  <a:pt x="1622020" y="755639"/>
                </a:lnTo>
                <a:lnTo>
                  <a:pt x="1634919" y="742741"/>
                </a:lnTo>
                <a:lnTo>
                  <a:pt x="1625245" y="733067"/>
                </a:lnTo>
                <a:lnTo>
                  <a:pt x="1622020" y="736291"/>
                </a:lnTo>
                <a:lnTo>
                  <a:pt x="1612346" y="729842"/>
                </a:lnTo>
                <a:lnTo>
                  <a:pt x="1599448" y="726618"/>
                </a:lnTo>
                <a:lnTo>
                  <a:pt x="1586548" y="716944"/>
                </a:lnTo>
                <a:lnTo>
                  <a:pt x="1573650" y="704044"/>
                </a:lnTo>
                <a:lnTo>
                  <a:pt x="1563975" y="687921"/>
                </a:lnTo>
                <a:lnTo>
                  <a:pt x="1570425" y="665348"/>
                </a:lnTo>
                <a:lnTo>
                  <a:pt x="1563975" y="652449"/>
                </a:lnTo>
                <a:lnTo>
                  <a:pt x="1563975" y="642776"/>
                </a:lnTo>
                <a:lnTo>
                  <a:pt x="1567201" y="629876"/>
                </a:lnTo>
                <a:lnTo>
                  <a:pt x="1563975" y="626652"/>
                </a:lnTo>
                <a:lnTo>
                  <a:pt x="1570425" y="613753"/>
                </a:lnTo>
                <a:lnTo>
                  <a:pt x="1586548" y="587955"/>
                </a:lnTo>
                <a:close/>
                <a:moveTo>
                  <a:pt x="6473575" y="523461"/>
                </a:moveTo>
                <a:lnTo>
                  <a:pt x="6486473" y="523461"/>
                </a:lnTo>
                <a:lnTo>
                  <a:pt x="6499371" y="526686"/>
                </a:lnTo>
                <a:lnTo>
                  <a:pt x="6515495" y="533135"/>
                </a:lnTo>
                <a:lnTo>
                  <a:pt x="6518719" y="542809"/>
                </a:lnTo>
                <a:lnTo>
                  <a:pt x="6518719" y="558933"/>
                </a:lnTo>
                <a:lnTo>
                  <a:pt x="6505821" y="562158"/>
                </a:lnTo>
                <a:lnTo>
                  <a:pt x="6496147" y="555708"/>
                </a:lnTo>
                <a:lnTo>
                  <a:pt x="6476799" y="536361"/>
                </a:lnTo>
                <a:lnTo>
                  <a:pt x="6457451" y="536361"/>
                </a:lnTo>
                <a:lnTo>
                  <a:pt x="6457451" y="529911"/>
                </a:lnTo>
                <a:lnTo>
                  <a:pt x="6463901" y="529911"/>
                </a:lnTo>
                <a:close/>
                <a:moveTo>
                  <a:pt x="5380404" y="517011"/>
                </a:moveTo>
                <a:lnTo>
                  <a:pt x="5390078" y="520236"/>
                </a:lnTo>
                <a:lnTo>
                  <a:pt x="5399752" y="526685"/>
                </a:lnTo>
                <a:lnTo>
                  <a:pt x="5393302" y="536359"/>
                </a:lnTo>
                <a:lnTo>
                  <a:pt x="5383628" y="542808"/>
                </a:lnTo>
                <a:lnTo>
                  <a:pt x="5367505" y="539584"/>
                </a:lnTo>
                <a:close/>
                <a:moveTo>
                  <a:pt x="3147302" y="504113"/>
                </a:moveTo>
                <a:lnTo>
                  <a:pt x="3150527" y="504113"/>
                </a:lnTo>
                <a:lnTo>
                  <a:pt x="3163426" y="507337"/>
                </a:lnTo>
                <a:lnTo>
                  <a:pt x="3176325" y="507337"/>
                </a:lnTo>
                <a:lnTo>
                  <a:pt x="3189224" y="523460"/>
                </a:lnTo>
                <a:lnTo>
                  <a:pt x="3202122" y="533135"/>
                </a:lnTo>
                <a:lnTo>
                  <a:pt x="3198898" y="539584"/>
                </a:lnTo>
                <a:lnTo>
                  <a:pt x="3195673" y="555707"/>
                </a:lnTo>
                <a:lnTo>
                  <a:pt x="3185999" y="555707"/>
                </a:lnTo>
                <a:lnTo>
                  <a:pt x="3173101" y="546034"/>
                </a:lnTo>
                <a:lnTo>
                  <a:pt x="3156977" y="533135"/>
                </a:lnTo>
                <a:lnTo>
                  <a:pt x="3147302" y="520236"/>
                </a:lnTo>
                <a:close/>
                <a:moveTo>
                  <a:pt x="5419099" y="487989"/>
                </a:moveTo>
                <a:lnTo>
                  <a:pt x="5425549" y="500887"/>
                </a:lnTo>
                <a:lnTo>
                  <a:pt x="5425549" y="513786"/>
                </a:lnTo>
                <a:lnTo>
                  <a:pt x="5419099" y="517011"/>
                </a:lnTo>
                <a:lnTo>
                  <a:pt x="5409426" y="513786"/>
                </a:lnTo>
                <a:lnTo>
                  <a:pt x="5402976" y="507337"/>
                </a:lnTo>
                <a:lnTo>
                  <a:pt x="5406201" y="500887"/>
                </a:lnTo>
                <a:close/>
                <a:moveTo>
                  <a:pt x="5315910" y="484764"/>
                </a:moveTo>
                <a:lnTo>
                  <a:pt x="5322359" y="487989"/>
                </a:lnTo>
                <a:lnTo>
                  <a:pt x="5325584" y="491213"/>
                </a:lnTo>
                <a:lnTo>
                  <a:pt x="5315910" y="504113"/>
                </a:lnTo>
                <a:lnTo>
                  <a:pt x="5306236" y="491213"/>
                </a:lnTo>
                <a:close/>
                <a:moveTo>
                  <a:pt x="1560752" y="481540"/>
                </a:moveTo>
                <a:lnTo>
                  <a:pt x="1563977" y="497664"/>
                </a:lnTo>
                <a:lnTo>
                  <a:pt x="1554302" y="497664"/>
                </a:lnTo>
                <a:close/>
                <a:moveTo>
                  <a:pt x="1170564" y="465417"/>
                </a:moveTo>
                <a:lnTo>
                  <a:pt x="1183463" y="484765"/>
                </a:lnTo>
                <a:lnTo>
                  <a:pt x="1202811" y="494440"/>
                </a:lnTo>
                <a:lnTo>
                  <a:pt x="1209261" y="494440"/>
                </a:lnTo>
                <a:lnTo>
                  <a:pt x="1218935" y="497664"/>
                </a:lnTo>
                <a:lnTo>
                  <a:pt x="1235058" y="507338"/>
                </a:lnTo>
                <a:lnTo>
                  <a:pt x="1241507" y="513787"/>
                </a:lnTo>
                <a:lnTo>
                  <a:pt x="1244732" y="536361"/>
                </a:lnTo>
                <a:lnTo>
                  <a:pt x="1251181" y="533135"/>
                </a:lnTo>
                <a:lnTo>
                  <a:pt x="1260856" y="526687"/>
                </a:lnTo>
                <a:lnTo>
                  <a:pt x="1267304" y="529911"/>
                </a:lnTo>
                <a:lnTo>
                  <a:pt x="1273754" y="536361"/>
                </a:lnTo>
                <a:lnTo>
                  <a:pt x="1273754" y="533135"/>
                </a:lnTo>
                <a:lnTo>
                  <a:pt x="1270530" y="513787"/>
                </a:lnTo>
                <a:lnTo>
                  <a:pt x="1257631" y="504114"/>
                </a:lnTo>
                <a:lnTo>
                  <a:pt x="1254406" y="494440"/>
                </a:lnTo>
                <a:lnTo>
                  <a:pt x="1257631" y="494440"/>
                </a:lnTo>
                <a:lnTo>
                  <a:pt x="1270530" y="497664"/>
                </a:lnTo>
                <a:lnTo>
                  <a:pt x="1299551" y="529911"/>
                </a:lnTo>
                <a:lnTo>
                  <a:pt x="1306001" y="558933"/>
                </a:lnTo>
                <a:lnTo>
                  <a:pt x="1309225" y="581506"/>
                </a:lnTo>
                <a:lnTo>
                  <a:pt x="1312451" y="591180"/>
                </a:lnTo>
                <a:lnTo>
                  <a:pt x="1318900" y="594405"/>
                </a:lnTo>
                <a:lnTo>
                  <a:pt x="1322125" y="584731"/>
                </a:lnTo>
                <a:lnTo>
                  <a:pt x="1322125" y="565382"/>
                </a:lnTo>
                <a:lnTo>
                  <a:pt x="1318900" y="539585"/>
                </a:lnTo>
                <a:lnTo>
                  <a:pt x="1309225" y="500888"/>
                </a:lnTo>
                <a:lnTo>
                  <a:pt x="1312451" y="471866"/>
                </a:lnTo>
                <a:lnTo>
                  <a:pt x="1322125" y="468641"/>
                </a:lnTo>
                <a:lnTo>
                  <a:pt x="1338248" y="471866"/>
                </a:lnTo>
                <a:lnTo>
                  <a:pt x="1344698" y="475091"/>
                </a:lnTo>
                <a:lnTo>
                  <a:pt x="1360821" y="491214"/>
                </a:lnTo>
                <a:lnTo>
                  <a:pt x="1367271" y="504114"/>
                </a:lnTo>
                <a:lnTo>
                  <a:pt x="1373719" y="529911"/>
                </a:lnTo>
                <a:lnTo>
                  <a:pt x="1383393" y="558933"/>
                </a:lnTo>
                <a:lnTo>
                  <a:pt x="1389843" y="581506"/>
                </a:lnTo>
                <a:lnTo>
                  <a:pt x="1396292" y="607303"/>
                </a:lnTo>
                <a:lnTo>
                  <a:pt x="1389843" y="626652"/>
                </a:lnTo>
                <a:lnTo>
                  <a:pt x="1399518" y="646000"/>
                </a:lnTo>
                <a:lnTo>
                  <a:pt x="1412416" y="662123"/>
                </a:lnTo>
                <a:lnTo>
                  <a:pt x="1418866" y="665348"/>
                </a:lnTo>
                <a:lnTo>
                  <a:pt x="1425315" y="665348"/>
                </a:lnTo>
                <a:lnTo>
                  <a:pt x="1438213" y="675022"/>
                </a:lnTo>
                <a:lnTo>
                  <a:pt x="1454338" y="687921"/>
                </a:lnTo>
                <a:lnTo>
                  <a:pt x="1467236" y="687921"/>
                </a:lnTo>
                <a:lnTo>
                  <a:pt x="1470460" y="713718"/>
                </a:lnTo>
                <a:lnTo>
                  <a:pt x="1460787" y="723392"/>
                </a:lnTo>
                <a:lnTo>
                  <a:pt x="1451113" y="720168"/>
                </a:lnTo>
                <a:lnTo>
                  <a:pt x="1438213" y="720168"/>
                </a:lnTo>
                <a:lnTo>
                  <a:pt x="1428540" y="726618"/>
                </a:lnTo>
                <a:lnTo>
                  <a:pt x="1425315" y="729842"/>
                </a:lnTo>
                <a:lnTo>
                  <a:pt x="1425315" y="742741"/>
                </a:lnTo>
                <a:lnTo>
                  <a:pt x="1438213" y="733067"/>
                </a:lnTo>
                <a:lnTo>
                  <a:pt x="1447888" y="739516"/>
                </a:lnTo>
                <a:lnTo>
                  <a:pt x="1447888" y="765313"/>
                </a:lnTo>
                <a:lnTo>
                  <a:pt x="1434989" y="771763"/>
                </a:lnTo>
                <a:lnTo>
                  <a:pt x="1409192" y="774988"/>
                </a:lnTo>
                <a:lnTo>
                  <a:pt x="1376945" y="771763"/>
                </a:lnTo>
                <a:lnTo>
                  <a:pt x="1367271" y="755639"/>
                </a:lnTo>
                <a:lnTo>
                  <a:pt x="1364045" y="752415"/>
                </a:lnTo>
                <a:lnTo>
                  <a:pt x="1354372" y="749190"/>
                </a:lnTo>
                <a:lnTo>
                  <a:pt x="1351147" y="742741"/>
                </a:lnTo>
                <a:lnTo>
                  <a:pt x="1347922" y="733067"/>
                </a:lnTo>
                <a:lnTo>
                  <a:pt x="1338248" y="745965"/>
                </a:lnTo>
                <a:lnTo>
                  <a:pt x="1322125" y="765313"/>
                </a:lnTo>
                <a:lnTo>
                  <a:pt x="1309225" y="768538"/>
                </a:lnTo>
                <a:lnTo>
                  <a:pt x="1302777" y="768538"/>
                </a:lnTo>
                <a:lnTo>
                  <a:pt x="1296327" y="778212"/>
                </a:lnTo>
                <a:lnTo>
                  <a:pt x="1283428" y="784662"/>
                </a:lnTo>
                <a:lnTo>
                  <a:pt x="1257631" y="787886"/>
                </a:lnTo>
                <a:lnTo>
                  <a:pt x="1225385" y="794336"/>
                </a:lnTo>
                <a:lnTo>
                  <a:pt x="1199586" y="797560"/>
                </a:lnTo>
                <a:lnTo>
                  <a:pt x="1189912" y="774988"/>
                </a:lnTo>
                <a:lnTo>
                  <a:pt x="1189912" y="762089"/>
                </a:lnTo>
                <a:lnTo>
                  <a:pt x="1186688" y="749190"/>
                </a:lnTo>
                <a:lnTo>
                  <a:pt x="1173789" y="745965"/>
                </a:lnTo>
                <a:lnTo>
                  <a:pt x="1164115" y="749190"/>
                </a:lnTo>
                <a:lnTo>
                  <a:pt x="1138317" y="745965"/>
                </a:lnTo>
                <a:lnTo>
                  <a:pt x="1122194" y="733067"/>
                </a:lnTo>
                <a:lnTo>
                  <a:pt x="1109296" y="713718"/>
                </a:lnTo>
                <a:lnTo>
                  <a:pt x="1106070" y="700820"/>
                </a:lnTo>
                <a:lnTo>
                  <a:pt x="1112520" y="697595"/>
                </a:lnTo>
                <a:lnTo>
                  <a:pt x="1125418" y="691145"/>
                </a:lnTo>
                <a:lnTo>
                  <a:pt x="1151216" y="684697"/>
                </a:lnTo>
                <a:lnTo>
                  <a:pt x="1209261" y="687921"/>
                </a:lnTo>
                <a:lnTo>
                  <a:pt x="1225385" y="687921"/>
                </a:lnTo>
                <a:lnTo>
                  <a:pt x="1238283" y="681471"/>
                </a:lnTo>
                <a:lnTo>
                  <a:pt x="1225385" y="675022"/>
                </a:lnTo>
                <a:lnTo>
                  <a:pt x="1215710" y="668573"/>
                </a:lnTo>
                <a:lnTo>
                  <a:pt x="1183463" y="655674"/>
                </a:lnTo>
                <a:lnTo>
                  <a:pt x="1170564" y="662123"/>
                </a:lnTo>
                <a:lnTo>
                  <a:pt x="1157665" y="662123"/>
                </a:lnTo>
                <a:lnTo>
                  <a:pt x="1125418" y="662123"/>
                </a:lnTo>
                <a:lnTo>
                  <a:pt x="1112520" y="662123"/>
                </a:lnTo>
                <a:lnTo>
                  <a:pt x="1106070" y="662123"/>
                </a:lnTo>
                <a:lnTo>
                  <a:pt x="1096396" y="652449"/>
                </a:lnTo>
                <a:lnTo>
                  <a:pt x="1086723" y="639550"/>
                </a:lnTo>
                <a:lnTo>
                  <a:pt x="1077048" y="597629"/>
                </a:lnTo>
                <a:lnTo>
                  <a:pt x="1070599" y="581506"/>
                </a:lnTo>
                <a:lnTo>
                  <a:pt x="1073823" y="568608"/>
                </a:lnTo>
                <a:lnTo>
                  <a:pt x="1080273" y="546034"/>
                </a:lnTo>
                <a:lnTo>
                  <a:pt x="1086723" y="526687"/>
                </a:lnTo>
                <a:lnTo>
                  <a:pt x="1102846" y="510563"/>
                </a:lnTo>
                <a:lnTo>
                  <a:pt x="1160891" y="468641"/>
                </a:lnTo>
                <a:close/>
                <a:moveTo>
                  <a:pt x="4883801" y="465416"/>
                </a:moveTo>
                <a:lnTo>
                  <a:pt x="4893475" y="471865"/>
                </a:lnTo>
                <a:lnTo>
                  <a:pt x="4912823" y="478315"/>
                </a:lnTo>
                <a:lnTo>
                  <a:pt x="4919272" y="491214"/>
                </a:lnTo>
                <a:lnTo>
                  <a:pt x="4909599" y="500888"/>
                </a:lnTo>
                <a:lnTo>
                  <a:pt x="4906373" y="513786"/>
                </a:lnTo>
                <a:lnTo>
                  <a:pt x="4899925" y="536359"/>
                </a:lnTo>
                <a:lnTo>
                  <a:pt x="4896699" y="552483"/>
                </a:lnTo>
                <a:lnTo>
                  <a:pt x="4893475" y="568607"/>
                </a:lnTo>
                <a:lnTo>
                  <a:pt x="4903149" y="604078"/>
                </a:lnTo>
                <a:lnTo>
                  <a:pt x="4916048" y="629875"/>
                </a:lnTo>
                <a:lnTo>
                  <a:pt x="4928946" y="645999"/>
                </a:lnTo>
                <a:lnTo>
                  <a:pt x="4945070" y="658898"/>
                </a:lnTo>
                <a:lnTo>
                  <a:pt x="4935396" y="668572"/>
                </a:lnTo>
                <a:lnTo>
                  <a:pt x="4925722" y="665348"/>
                </a:lnTo>
                <a:lnTo>
                  <a:pt x="4916048" y="662122"/>
                </a:lnTo>
                <a:lnTo>
                  <a:pt x="4909599" y="665348"/>
                </a:lnTo>
                <a:lnTo>
                  <a:pt x="4899925" y="665348"/>
                </a:lnTo>
                <a:lnTo>
                  <a:pt x="4893475" y="665348"/>
                </a:lnTo>
                <a:lnTo>
                  <a:pt x="4893475" y="668572"/>
                </a:lnTo>
                <a:lnTo>
                  <a:pt x="4890250" y="668572"/>
                </a:lnTo>
                <a:lnTo>
                  <a:pt x="4887025" y="668572"/>
                </a:lnTo>
                <a:lnTo>
                  <a:pt x="4877351" y="652449"/>
                </a:lnTo>
                <a:lnTo>
                  <a:pt x="4864452" y="655673"/>
                </a:lnTo>
                <a:lnTo>
                  <a:pt x="4851554" y="649224"/>
                </a:lnTo>
                <a:lnTo>
                  <a:pt x="4858004" y="645999"/>
                </a:lnTo>
                <a:lnTo>
                  <a:pt x="4854778" y="633101"/>
                </a:lnTo>
                <a:lnTo>
                  <a:pt x="4841880" y="616977"/>
                </a:lnTo>
                <a:lnTo>
                  <a:pt x="4838655" y="610528"/>
                </a:lnTo>
                <a:lnTo>
                  <a:pt x="4835431" y="607303"/>
                </a:lnTo>
                <a:lnTo>
                  <a:pt x="4832205" y="600854"/>
                </a:lnTo>
                <a:lnTo>
                  <a:pt x="4822531" y="607303"/>
                </a:lnTo>
                <a:lnTo>
                  <a:pt x="4812857" y="604078"/>
                </a:lnTo>
                <a:lnTo>
                  <a:pt x="4806408" y="584730"/>
                </a:lnTo>
                <a:lnTo>
                  <a:pt x="4819307" y="558933"/>
                </a:lnTo>
                <a:lnTo>
                  <a:pt x="4825757" y="562157"/>
                </a:lnTo>
                <a:lnTo>
                  <a:pt x="4828981" y="562157"/>
                </a:lnTo>
                <a:lnTo>
                  <a:pt x="4832205" y="549259"/>
                </a:lnTo>
                <a:lnTo>
                  <a:pt x="4835431" y="536359"/>
                </a:lnTo>
                <a:lnTo>
                  <a:pt x="4828981" y="523460"/>
                </a:lnTo>
                <a:lnTo>
                  <a:pt x="4828981" y="513786"/>
                </a:lnTo>
                <a:lnTo>
                  <a:pt x="4838655" y="507337"/>
                </a:lnTo>
                <a:lnTo>
                  <a:pt x="4845104" y="500888"/>
                </a:lnTo>
                <a:lnTo>
                  <a:pt x="4845104" y="487989"/>
                </a:lnTo>
                <a:lnTo>
                  <a:pt x="4854778" y="478315"/>
                </a:lnTo>
                <a:close/>
                <a:moveTo>
                  <a:pt x="3131179" y="462192"/>
                </a:moveTo>
                <a:lnTo>
                  <a:pt x="3147302" y="462192"/>
                </a:lnTo>
                <a:lnTo>
                  <a:pt x="3169875" y="475091"/>
                </a:lnTo>
                <a:lnTo>
                  <a:pt x="3176325" y="478315"/>
                </a:lnTo>
                <a:lnTo>
                  <a:pt x="3176325" y="487989"/>
                </a:lnTo>
                <a:lnTo>
                  <a:pt x="3163426" y="491214"/>
                </a:lnTo>
                <a:lnTo>
                  <a:pt x="3140854" y="487989"/>
                </a:lnTo>
                <a:lnTo>
                  <a:pt x="3118280" y="481539"/>
                </a:lnTo>
                <a:lnTo>
                  <a:pt x="3124730" y="468641"/>
                </a:lnTo>
                <a:close/>
                <a:moveTo>
                  <a:pt x="5225618" y="455742"/>
                </a:moveTo>
                <a:lnTo>
                  <a:pt x="5238517" y="455742"/>
                </a:lnTo>
                <a:lnTo>
                  <a:pt x="5251416" y="471865"/>
                </a:lnTo>
                <a:lnTo>
                  <a:pt x="5248191" y="481539"/>
                </a:lnTo>
                <a:lnTo>
                  <a:pt x="5232068" y="487989"/>
                </a:lnTo>
                <a:lnTo>
                  <a:pt x="5212719" y="491213"/>
                </a:lnTo>
                <a:lnTo>
                  <a:pt x="5215944" y="462192"/>
                </a:lnTo>
                <a:close/>
                <a:moveTo>
                  <a:pt x="6467125" y="442844"/>
                </a:moveTo>
                <a:lnTo>
                  <a:pt x="6492922" y="455743"/>
                </a:lnTo>
                <a:lnTo>
                  <a:pt x="6509045" y="471866"/>
                </a:lnTo>
                <a:lnTo>
                  <a:pt x="6505821" y="484765"/>
                </a:lnTo>
                <a:lnTo>
                  <a:pt x="6476799" y="504114"/>
                </a:lnTo>
                <a:lnTo>
                  <a:pt x="6463901" y="513787"/>
                </a:lnTo>
                <a:lnTo>
                  <a:pt x="6454227" y="526686"/>
                </a:lnTo>
                <a:lnTo>
                  <a:pt x="6447777" y="520237"/>
                </a:lnTo>
                <a:lnTo>
                  <a:pt x="6451001" y="481540"/>
                </a:lnTo>
                <a:lnTo>
                  <a:pt x="6454227" y="458967"/>
                </a:lnTo>
                <a:lnTo>
                  <a:pt x="6457451" y="449293"/>
                </a:lnTo>
                <a:close/>
                <a:moveTo>
                  <a:pt x="1912243" y="436395"/>
                </a:moveTo>
                <a:lnTo>
                  <a:pt x="1938041" y="446069"/>
                </a:lnTo>
                <a:lnTo>
                  <a:pt x="1960614" y="442844"/>
                </a:lnTo>
                <a:lnTo>
                  <a:pt x="1989636" y="455743"/>
                </a:lnTo>
                <a:lnTo>
                  <a:pt x="2012209" y="497664"/>
                </a:lnTo>
                <a:lnTo>
                  <a:pt x="2005760" y="507338"/>
                </a:lnTo>
                <a:lnTo>
                  <a:pt x="1992861" y="507338"/>
                </a:lnTo>
                <a:lnTo>
                  <a:pt x="1979962" y="500888"/>
                </a:lnTo>
                <a:lnTo>
                  <a:pt x="1967063" y="500888"/>
                </a:lnTo>
                <a:lnTo>
                  <a:pt x="1941266" y="513787"/>
                </a:lnTo>
                <a:lnTo>
                  <a:pt x="1918693" y="484765"/>
                </a:lnTo>
                <a:lnTo>
                  <a:pt x="1909019" y="468641"/>
                </a:lnTo>
                <a:lnTo>
                  <a:pt x="1909019" y="449293"/>
                </a:lnTo>
                <a:close/>
                <a:moveTo>
                  <a:pt x="1367271" y="436395"/>
                </a:moveTo>
                <a:lnTo>
                  <a:pt x="1380169" y="439619"/>
                </a:lnTo>
                <a:lnTo>
                  <a:pt x="1393068" y="452518"/>
                </a:lnTo>
                <a:lnTo>
                  <a:pt x="1376945" y="497664"/>
                </a:lnTo>
                <a:lnTo>
                  <a:pt x="1367271" y="494440"/>
                </a:lnTo>
                <a:lnTo>
                  <a:pt x="1347922" y="465417"/>
                </a:lnTo>
                <a:lnTo>
                  <a:pt x="1335024" y="458967"/>
                </a:lnTo>
                <a:lnTo>
                  <a:pt x="1347922" y="439619"/>
                </a:lnTo>
                <a:close/>
                <a:moveTo>
                  <a:pt x="1805829" y="429946"/>
                </a:moveTo>
                <a:lnTo>
                  <a:pt x="1821953" y="436395"/>
                </a:lnTo>
                <a:lnTo>
                  <a:pt x="1812278" y="452518"/>
                </a:lnTo>
                <a:lnTo>
                  <a:pt x="1799379" y="465417"/>
                </a:lnTo>
                <a:lnTo>
                  <a:pt x="1786481" y="494440"/>
                </a:lnTo>
                <a:lnTo>
                  <a:pt x="1780032" y="520237"/>
                </a:lnTo>
                <a:lnTo>
                  <a:pt x="1786481" y="549259"/>
                </a:lnTo>
                <a:lnTo>
                  <a:pt x="1786481" y="565382"/>
                </a:lnTo>
                <a:lnTo>
                  <a:pt x="1799379" y="587955"/>
                </a:lnTo>
                <a:lnTo>
                  <a:pt x="1812278" y="604079"/>
                </a:lnTo>
                <a:lnTo>
                  <a:pt x="1815503" y="607303"/>
                </a:lnTo>
                <a:lnTo>
                  <a:pt x="1812278" y="620203"/>
                </a:lnTo>
                <a:lnTo>
                  <a:pt x="1818727" y="623427"/>
                </a:lnTo>
                <a:lnTo>
                  <a:pt x="1828401" y="607303"/>
                </a:lnTo>
                <a:lnTo>
                  <a:pt x="1828401" y="597629"/>
                </a:lnTo>
                <a:lnTo>
                  <a:pt x="1825177" y="591180"/>
                </a:lnTo>
                <a:lnTo>
                  <a:pt x="1818727" y="591180"/>
                </a:lnTo>
                <a:lnTo>
                  <a:pt x="1812278" y="587955"/>
                </a:lnTo>
                <a:lnTo>
                  <a:pt x="1809053" y="562158"/>
                </a:lnTo>
                <a:lnTo>
                  <a:pt x="1809053" y="549259"/>
                </a:lnTo>
                <a:lnTo>
                  <a:pt x="1818727" y="549259"/>
                </a:lnTo>
                <a:lnTo>
                  <a:pt x="1812278" y="539585"/>
                </a:lnTo>
                <a:lnTo>
                  <a:pt x="1805829" y="533135"/>
                </a:lnTo>
                <a:lnTo>
                  <a:pt x="1805829" y="500888"/>
                </a:lnTo>
                <a:lnTo>
                  <a:pt x="1809053" y="497664"/>
                </a:lnTo>
                <a:lnTo>
                  <a:pt x="1812278" y="491214"/>
                </a:lnTo>
                <a:lnTo>
                  <a:pt x="1818727" y="465417"/>
                </a:lnTo>
                <a:lnTo>
                  <a:pt x="1850974" y="449293"/>
                </a:lnTo>
                <a:lnTo>
                  <a:pt x="1863873" y="439619"/>
                </a:lnTo>
                <a:lnTo>
                  <a:pt x="1876772" y="439619"/>
                </a:lnTo>
                <a:lnTo>
                  <a:pt x="1892895" y="439619"/>
                </a:lnTo>
                <a:lnTo>
                  <a:pt x="1899345" y="452518"/>
                </a:lnTo>
                <a:lnTo>
                  <a:pt x="1902569" y="465417"/>
                </a:lnTo>
                <a:lnTo>
                  <a:pt x="1905794" y="471866"/>
                </a:lnTo>
                <a:lnTo>
                  <a:pt x="1912243" y="484765"/>
                </a:lnTo>
                <a:lnTo>
                  <a:pt x="1918693" y="510563"/>
                </a:lnTo>
                <a:lnTo>
                  <a:pt x="1918693" y="533135"/>
                </a:lnTo>
                <a:lnTo>
                  <a:pt x="1915468" y="562158"/>
                </a:lnTo>
                <a:lnTo>
                  <a:pt x="1921918" y="562158"/>
                </a:lnTo>
                <a:lnTo>
                  <a:pt x="1928366" y="552484"/>
                </a:lnTo>
                <a:lnTo>
                  <a:pt x="1925142" y="542809"/>
                </a:lnTo>
                <a:lnTo>
                  <a:pt x="1931592" y="533135"/>
                </a:lnTo>
                <a:lnTo>
                  <a:pt x="1941266" y="539585"/>
                </a:lnTo>
                <a:lnTo>
                  <a:pt x="1957389" y="539585"/>
                </a:lnTo>
                <a:lnTo>
                  <a:pt x="1960614" y="529911"/>
                </a:lnTo>
                <a:lnTo>
                  <a:pt x="1967063" y="520237"/>
                </a:lnTo>
                <a:lnTo>
                  <a:pt x="2021883" y="526687"/>
                </a:lnTo>
                <a:lnTo>
                  <a:pt x="2031557" y="529911"/>
                </a:lnTo>
                <a:lnTo>
                  <a:pt x="2038007" y="542809"/>
                </a:lnTo>
                <a:lnTo>
                  <a:pt x="2038007" y="558933"/>
                </a:lnTo>
                <a:lnTo>
                  <a:pt x="2054130" y="562158"/>
                </a:lnTo>
                <a:lnTo>
                  <a:pt x="2057355" y="568608"/>
                </a:lnTo>
                <a:lnTo>
                  <a:pt x="2063804" y="584731"/>
                </a:lnTo>
                <a:lnTo>
                  <a:pt x="2070254" y="604079"/>
                </a:lnTo>
                <a:lnTo>
                  <a:pt x="2073478" y="613753"/>
                </a:lnTo>
                <a:lnTo>
                  <a:pt x="2083152" y="613753"/>
                </a:lnTo>
                <a:lnTo>
                  <a:pt x="2089602" y="597629"/>
                </a:lnTo>
                <a:lnTo>
                  <a:pt x="2096051" y="594405"/>
                </a:lnTo>
                <a:lnTo>
                  <a:pt x="2112175" y="600855"/>
                </a:lnTo>
                <a:lnTo>
                  <a:pt x="2121849" y="616977"/>
                </a:lnTo>
                <a:lnTo>
                  <a:pt x="2128298" y="629876"/>
                </a:lnTo>
                <a:lnTo>
                  <a:pt x="2131523" y="629876"/>
                </a:lnTo>
                <a:lnTo>
                  <a:pt x="2137972" y="649224"/>
                </a:lnTo>
                <a:lnTo>
                  <a:pt x="2150870" y="642776"/>
                </a:lnTo>
                <a:lnTo>
                  <a:pt x="2163770" y="652449"/>
                </a:lnTo>
                <a:lnTo>
                  <a:pt x="2176668" y="662123"/>
                </a:lnTo>
                <a:lnTo>
                  <a:pt x="2179893" y="675022"/>
                </a:lnTo>
                <a:lnTo>
                  <a:pt x="2176668" y="687921"/>
                </a:lnTo>
                <a:lnTo>
                  <a:pt x="2183117" y="694370"/>
                </a:lnTo>
                <a:lnTo>
                  <a:pt x="2189567" y="681471"/>
                </a:lnTo>
                <a:lnTo>
                  <a:pt x="2199241" y="687921"/>
                </a:lnTo>
                <a:lnTo>
                  <a:pt x="2212140" y="720168"/>
                </a:lnTo>
                <a:lnTo>
                  <a:pt x="2196017" y="716944"/>
                </a:lnTo>
                <a:lnTo>
                  <a:pt x="2186343" y="723392"/>
                </a:lnTo>
                <a:lnTo>
                  <a:pt x="2205691" y="736291"/>
                </a:lnTo>
                <a:lnTo>
                  <a:pt x="2221814" y="752415"/>
                </a:lnTo>
                <a:lnTo>
                  <a:pt x="2189567" y="752415"/>
                </a:lnTo>
                <a:lnTo>
                  <a:pt x="2196017" y="774988"/>
                </a:lnTo>
                <a:lnTo>
                  <a:pt x="2199241" y="787886"/>
                </a:lnTo>
                <a:lnTo>
                  <a:pt x="2202466" y="791112"/>
                </a:lnTo>
                <a:lnTo>
                  <a:pt x="2212140" y="794336"/>
                </a:lnTo>
                <a:lnTo>
                  <a:pt x="2221814" y="797560"/>
                </a:lnTo>
                <a:lnTo>
                  <a:pt x="2218589" y="797560"/>
                </a:lnTo>
                <a:lnTo>
                  <a:pt x="2231488" y="820133"/>
                </a:lnTo>
                <a:lnTo>
                  <a:pt x="2234712" y="826583"/>
                </a:lnTo>
                <a:lnTo>
                  <a:pt x="2244387" y="823358"/>
                </a:lnTo>
                <a:lnTo>
                  <a:pt x="2247611" y="829807"/>
                </a:lnTo>
                <a:lnTo>
                  <a:pt x="2254061" y="823358"/>
                </a:lnTo>
                <a:lnTo>
                  <a:pt x="2263735" y="826583"/>
                </a:lnTo>
                <a:lnTo>
                  <a:pt x="2273409" y="839481"/>
                </a:lnTo>
                <a:lnTo>
                  <a:pt x="2276633" y="849156"/>
                </a:lnTo>
                <a:lnTo>
                  <a:pt x="2279859" y="865279"/>
                </a:lnTo>
                <a:lnTo>
                  <a:pt x="2289532" y="868504"/>
                </a:lnTo>
                <a:lnTo>
                  <a:pt x="2299206" y="862054"/>
                </a:lnTo>
                <a:lnTo>
                  <a:pt x="2305656" y="884627"/>
                </a:lnTo>
                <a:lnTo>
                  <a:pt x="2305656" y="891077"/>
                </a:lnTo>
                <a:lnTo>
                  <a:pt x="2308880" y="884627"/>
                </a:lnTo>
                <a:lnTo>
                  <a:pt x="2318554" y="878178"/>
                </a:lnTo>
                <a:lnTo>
                  <a:pt x="2334678" y="894301"/>
                </a:lnTo>
                <a:lnTo>
                  <a:pt x="2337903" y="907200"/>
                </a:lnTo>
                <a:lnTo>
                  <a:pt x="2334678" y="916874"/>
                </a:lnTo>
                <a:lnTo>
                  <a:pt x="2328229" y="920099"/>
                </a:lnTo>
                <a:lnTo>
                  <a:pt x="2318554" y="920099"/>
                </a:lnTo>
                <a:lnTo>
                  <a:pt x="2308880" y="923324"/>
                </a:lnTo>
                <a:lnTo>
                  <a:pt x="2325004" y="936222"/>
                </a:lnTo>
                <a:lnTo>
                  <a:pt x="2315330" y="939448"/>
                </a:lnTo>
                <a:lnTo>
                  <a:pt x="2308880" y="955571"/>
                </a:lnTo>
                <a:lnTo>
                  <a:pt x="2295982" y="955571"/>
                </a:lnTo>
                <a:lnTo>
                  <a:pt x="2289532" y="971693"/>
                </a:lnTo>
                <a:lnTo>
                  <a:pt x="2292757" y="974919"/>
                </a:lnTo>
                <a:lnTo>
                  <a:pt x="2289532" y="978143"/>
                </a:lnTo>
                <a:lnTo>
                  <a:pt x="2292757" y="984593"/>
                </a:lnTo>
                <a:lnTo>
                  <a:pt x="2283083" y="991042"/>
                </a:lnTo>
                <a:lnTo>
                  <a:pt x="2279859" y="987817"/>
                </a:lnTo>
                <a:lnTo>
                  <a:pt x="2276633" y="987817"/>
                </a:lnTo>
                <a:lnTo>
                  <a:pt x="2266959" y="978143"/>
                </a:lnTo>
                <a:lnTo>
                  <a:pt x="2260510" y="971693"/>
                </a:lnTo>
                <a:lnTo>
                  <a:pt x="2247611" y="945896"/>
                </a:lnTo>
                <a:lnTo>
                  <a:pt x="2237938" y="929773"/>
                </a:lnTo>
                <a:lnTo>
                  <a:pt x="2228264" y="923324"/>
                </a:lnTo>
                <a:lnTo>
                  <a:pt x="2231488" y="923324"/>
                </a:lnTo>
                <a:lnTo>
                  <a:pt x="2212140" y="910425"/>
                </a:lnTo>
                <a:lnTo>
                  <a:pt x="2202466" y="910425"/>
                </a:lnTo>
                <a:lnTo>
                  <a:pt x="2196017" y="910425"/>
                </a:lnTo>
                <a:lnTo>
                  <a:pt x="2199241" y="926548"/>
                </a:lnTo>
                <a:lnTo>
                  <a:pt x="2208915" y="932998"/>
                </a:lnTo>
                <a:lnTo>
                  <a:pt x="2202466" y="942672"/>
                </a:lnTo>
                <a:lnTo>
                  <a:pt x="2196017" y="942672"/>
                </a:lnTo>
                <a:lnTo>
                  <a:pt x="2189567" y="929773"/>
                </a:lnTo>
                <a:lnTo>
                  <a:pt x="2183117" y="942672"/>
                </a:lnTo>
                <a:lnTo>
                  <a:pt x="2189567" y="955571"/>
                </a:lnTo>
                <a:lnTo>
                  <a:pt x="2199241" y="955571"/>
                </a:lnTo>
                <a:lnTo>
                  <a:pt x="2205691" y="962020"/>
                </a:lnTo>
                <a:lnTo>
                  <a:pt x="2212140" y="965245"/>
                </a:lnTo>
                <a:lnTo>
                  <a:pt x="2208915" y="974919"/>
                </a:lnTo>
                <a:lnTo>
                  <a:pt x="2212140" y="984593"/>
                </a:lnTo>
                <a:lnTo>
                  <a:pt x="2215364" y="987817"/>
                </a:lnTo>
                <a:lnTo>
                  <a:pt x="2218589" y="994267"/>
                </a:lnTo>
                <a:lnTo>
                  <a:pt x="2218589" y="1000716"/>
                </a:lnTo>
                <a:lnTo>
                  <a:pt x="2225038" y="997492"/>
                </a:lnTo>
                <a:lnTo>
                  <a:pt x="2237938" y="994267"/>
                </a:lnTo>
                <a:lnTo>
                  <a:pt x="2244387" y="1000716"/>
                </a:lnTo>
                <a:lnTo>
                  <a:pt x="2244387" y="1010390"/>
                </a:lnTo>
                <a:lnTo>
                  <a:pt x="2244387" y="1013615"/>
                </a:lnTo>
                <a:lnTo>
                  <a:pt x="2254061" y="1016840"/>
                </a:lnTo>
                <a:lnTo>
                  <a:pt x="2250836" y="1032963"/>
                </a:lnTo>
                <a:lnTo>
                  <a:pt x="2257285" y="1049087"/>
                </a:lnTo>
                <a:lnTo>
                  <a:pt x="2266959" y="1058761"/>
                </a:lnTo>
                <a:lnTo>
                  <a:pt x="2266959" y="1074884"/>
                </a:lnTo>
                <a:lnTo>
                  <a:pt x="2263735" y="1074884"/>
                </a:lnTo>
                <a:lnTo>
                  <a:pt x="2260510" y="1065210"/>
                </a:lnTo>
                <a:lnTo>
                  <a:pt x="2254061" y="1055536"/>
                </a:lnTo>
                <a:lnTo>
                  <a:pt x="2257285" y="1068435"/>
                </a:lnTo>
                <a:lnTo>
                  <a:pt x="2260510" y="1081334"/>
                </a:lnTo>
                <a:lnTo>
                  <a:pt x="2260510" y="1084558"/>
                </a:lnTo>
                <a:lnTo>
                  <a:pt x="2263735" y="1091008"/>
                </a:lnTo>
                <a:lnTo>
                  <a:pt x="2263735" y="1097457"/>
                </a:lnTo>
                <a:lnTo>
                  <a:pt x="2250836" y="1110356"/>
                </a:lnTo>
                <a:lnTo>
                  <a:pt x="2241162" y="1094232"/>
                </a:lnTo>
                <a:lnTo>
                  <a:pt x="2234712" y="1091008"/>
                </a:lnTo>
                <a:lnTo>
                  <a:pt x="2231488" y="1091008"/>
                </a:lnTo>
                <a:lnTo>
                  <a:pt x="2218589" y="1084558"/>
                </a:lnTo>
                <a:lnTo>
                  <a:pt x="2205691" y="1071660"/>
                </a:lnTo>
                <a:lnTo>
                  <a:pt x="2199241" y="1068435"/>
                </a:lnTo>
                <a:lnTo>
                  <a:pt x="2196017" y="1071660"/>
                </a:lnTo>
                <a:lnTo>
                  <a:pt x="2192791" y="1065210"/>
                </a:lnTo>
                <a:lnTo>
                  <a:pt x="2183117" y="1055536"/>
                </a:lnTo>
                <a:lnTo>
                  <a:pt x="2170219" y="1055536"/>
                </a:lnTo>
                <a:lnTo>
                  <a:pt x="2179893" y="1068435"/>
                </a:lnTo>
                <a:lnTo>
                  <a:pt x="2192791" y="1084558"/>
                </a:lnTo>
                <a:lnTo>
                  <a:pt x="2199241" y="1087784"/>
                </a:lnTo>
                <a:lnTo>
                  <a:pt x="2199241" y="1094232"/>
                </a:lnTo>
                <a:lnTo>
                  <a:pt x="2205691" y="1091008"/>
                </a:lnTo>
                <a:lnTo>
                  <a:pt x="2212140" y="1100682"/>
                </a:lnTo>
                <a:lnTo>
                  <a:pt x="2225038" y="1116805"/>
                </a:lnTo>
                <a:lnTo>
                  <a:pt x="2228264" y="1116805"/>
                </a:lnTo>
                <a:lnTo>
                  <a:pt x="2234712" y="1126479"/>
                </a:lnTo>
                <a:lnTo>
                  <a:pt x="2237938" y="1139378"/>
                </a:lnTo>
                <a:lnTo>
                  <a:pt x="2234712" y="1142603"/>
                </a:lnTo>
                <a:lnTo>
                  <a:pt x="2208915" y="1132929"/>
                </a:lnTo>
                <a:lnTo>
                  <a:pt x="2179893" y="1123255"/>
                </a:lnTo>
                <a:lnTo>
                  <a:pt x="2170219" y="1120030"/>
                </a:lnTo>
                <a:lnTo>
                  <a:pt x="2160544" y="1107131"/>
                </a:lnTo>
                <a:lnTo>
                  <a:pt x="2157320" y="1107131"/>
                </a:lnTo>
                <a:lnTo>
                  <a:pt x="2157320" y="1103906"/>
                </a:lnTo>
                <a:lnTo>
                  <a:pt x="2150870" y="1100682"/>
                </a:lnTo>
                <a:lnTo>
                  <a:pt x="2141196" y="1100682"/>
                </a:lnTo>
                <a:lnTo>
                  <a:pt x="2128298" y="1094232"/>
                </a:lnTo>
                <a:lnTo>
                  <a:pt x="2118623" y="1087784"/>
                </a:lnTo>
                <a:lnTo>
                  <a:pt x="2108949" y="1081334"/>
                </a:lnTo>
                <a:lnTo>
                  <a:pt x="2099276" y="1068435"/>
                </a:lnTo>
                <a:lnTo>
                  <a:pt x="2112175" y="1068435"/>
                </a:lnTo>
                <a:lnTo>
                  <a:pt x="2105725" y="1055536"/>
                </a:lnTo>
                <a:lnTo>
                  <a:pt x="2102500" y="1055536"/>
                </a:lnTo>
                <a:lnTo>
                  <a:pt x="2089602" y="1049087"/>
                </a:lnTo>
                <a:lnTo>
                  <a:pt x="2089602" y="1039413"/>
                </a:lnTo>
                <a:lnTo>
                  <a:pt x="2086376" y="1032963"/>
                </a:lnTo>
                <a:lnTo>
                  <a:pt x="2079928" y="1026514"/>
                </a:lnTo>
                <a:lnTo>
                  <a:pt x="2073478" y="1016840"/>
                </a:lnTo>
                <a:lnTo>
                  <a:pt x="2067029" y="1016840"/>
                </a:lnTo>
                <a:lnTo>
                  <a:pt x="2060579" y="1020064"/>
                </a:lnTo>
                <a:lnTo>
                  <a:pt x="2047681" y="1020064"/>
                </a:lnTo>
                <a:lnTo>
                  <a:pt x="2041231" y="1020064"/>
                </a:lnTo>
                <a:lnTo>
                  <a:pt x="2038007" y="1016840"/>
                </a:lnTo>
                <a:lnTo>
                  <a:pt x="2021883" y="1010390"/>
                </a:lnTo>
                <a:lnTo>
                  <a:pt x="2012209" y="1020064"/>
                </a:lnTo>
                <a:lnTo>
                  <a:pt x="2005760" y="1023289"/>
                </a:lnTo>
                <a:lnTo>
                  <a:pt x="1999310" y="1026514"/>
                </a:lnTo>
                <a:lnTo>
                  <a:pt x="1973513" y="1020064"/>
                </a:lnTo>
                <a:lnTo>
                  <a:pt x="1970287" y="1013615"/>
                </a:lnTo>
                <a:lnTo>
                  <a:pt x="1967063" y="1003940"/>
                </a:lnTo>
                <a:lnTo>
                  <a:pt x="1970287" y="991042"/>
                </a:lnTo>
                <a:lnTo>
                  <a:pt x="1973513" y="987817"/>
                </a:lnTo>
                <a:lnTo>
                  <a:pt x="1983187" y="981369"/>
                </a:lnTo>
                <a:lnTo>
                  <a:pt x="1986411" y="978143"/>
                </a:lnTo>
                <a:lnTo>
                  <a:pt x="1986411" y="968469"/>
                </a:lnTo>
                <a:lnTo>
                  <a:pt x="2021883" y="981369"/>
                </a:lnTo>
                <a:lnTo>
                  <a:pt x="2025108" y="974919"/>
                </a:lnTo>
                <a:lnTo>
                  <a:pt x="2031557" y="974919"/>
                </a:lnTo>
                <a:lnTo>
                  <a:pt x="2044455" y="968469"/>
                </a:lnTo>
                <a:lnTo>
                  <a:pt x="2044455" y="965245"/>
                </a:lnTo>
                <a:lnTo>
                  <a:pt x="2050905" y="968469"/>
                </a:lnTo>
                <a:lnTo>
                  <a:pt x="2057355" y="965245"/>
                </a:lnTo>
                <a:lnTo>
                  <a:pt x="2070254" y="962020"/>
                </a:lnTo>
                <a:lnTo>
                  <a:pt x="2060579" y="945896"/>
                </a:lnTo>
                <a:lnTo>
                  <a:pt x="2050905" y="929773"/>
                </a:lnTo>
                <a:lnTo>
                  <a:pt x="2054130" y="923324"/>
                </a:lnTo>
                <a:lnTo>
                  <a:pt x="2063804" y="913649"/>
                </a:lnTo>
                <a:lnTo>
                  <a:pt x="2073478" y="900751"/>
                </a:lnTo>
                <a:lnTo>
                  <a:pt x="2079928" y="894301"/>
                </a:lnTo>
                <a:lnTo>
                  <a:pt x="2083152" y="887852"/>
                </a:lnTo>
                <a:lnTo>
                  <a:pt x="2089602" y="878178"/>
                </a:lnTo>
                <a:lnTo>
                  <a:pt x="2099276" y="865279"/>
                </a:lnTo>
                <a:lnTo>
                  <a:pt x="2096051" y="858830"/>
                </a:lnTo>
                <a:lnTo>
                  <a:pt x="2089602" y="839481"/>
                </a:lnTo>
                <a:lnTo>
                  <a:pt x="2083152" y="829807"/>
                </a:lnTo>
                <a:lnTo>
                  <a:pt x="2079928" y="820133"/>
                </a:lnTo>
                <a:lnTo>
                  <a:pt x="2076702" y="800785"/>
                </a:lnTo>
                <a:lnTo>
                  <a:pt x="2070254" y="807235"/>
                </a:lnTo>
                <a:lnTo>
                  <a:pt x="2063804" y="800785"/>
                </a:lnTo>
                <a:lnTo>
                  <a:pt x="2057355" y="794336"/>
                </a:lnTo>
                <a:lnTo>
                  <a:pt x="2047681" y="784662"/>
                </a:lnTo>
                <a:lnTo>
                  <a:pt x="2041231" y="774988"/>
                </a:lnTo>
                <a:lnTo>
                  <a:pt x="2034781" y="771763"/>
                </a:lnTo>
                <a:lnTo>
                  <a:pt x="2031557" y="768538"/>
                </a:lnTo>
                <a:lnTo>
                  <a:pt x="2031557" y="765313"/>
                </a:lnTo>
                <a:lnTo>
                  <a:pt x="2025108" y="771763"/>
                </a:lnTo>
                <a:lnTo>
                  <a:pt x="2012209" y="778212"/>
                </a:lnTo>
                <a:lnTo>
                  <a:pt x="2002534" y="784662"/>
                </a:lnTo>
                <a:lnTo>
                  <a:pt x="2002534" y="781437"/>
                </a:lnTo>
                <a:lnTo>
                  <a:pt x="2002534" y="765313"/>
                </a:lnTo>
                <a:lnTo>
                  <a:pt x="2012209" y="762089"/>
                </a:lnTo>
                <a:lnTo>
                  <a:pt x="2025108" y="758864"/>
                </a:lnTo>
                <a:lnTo>
                  <a:pt x="2025108" y="752415"/>
                </a:lnTo>
                <a:lnTo>
                  <a:pt x="2021883" y="745965"/>
                </a:lnTo>
                <a:lnTo>
                  <a:pt x="2008984" y="736291"/>
                </a:lnTo>
                <a:lnTo>
                  <a:pt x="1996086" y="726618"/>
                </a:lnTo>
                <a:lnTo>
                  <a:pt x="1989636" y="723392"/>
                </a:lnTo>
                <a:lnTo>
                  <a:pt x="1989636" y="707269"/>
                </a:lnTo>
                <a:lnTo>
                  <a:pt x="1979962" y="716944"/>
                </a:lnTo>
                <a:lnTo>
                  <a:pt x="1976737" y="687921"/>
                </a:lnTo>
                <a:lnTo>
                  <a:pt x="1954164" y="687921"/>
                </a:lnTo>
                <a:lnTo>
                  <a:pt x="1957389" y="707269"/>
                </a:lnTo>
                <a:lnTo>
                  <a:pt x="1941266" y="710494"/>
                </a:lnTo>
                <a:lnTo>
                  <a:pt x="1931592" y="704044"/>
                </a:lnTo>
                <a:lnTo>
                  <a:pt x="1918693" y="700820"/>
                </a:lnTo>
                <a:lnTo>
                  <a:pt x="1899345" y="694370"/>
                </a:lnTo>
                <a:lnTo>
                  <a:pt x="1889671" y="694370"/>
                </a:lnTo>
                <a:lnTo>
                  <a:pt x="1889671" y="710494"/>
                </a:lnTo>
                <a:lnTo>
                  <a:pt x="1886446" y="713718"/>
                </a:lnTo>
                <a:lnTo>
                  <a:pt x="1870322" y="710494"/>
                </a:lnTo>
                <a:lnTo>
                  <a:pt x="1834851" y="704044"/>
                </a:lnTo>
                <a:lnTo>
                  <a:pt x="1805829" y="694370"/>
                </a:lnTo>
                <a:lnTo>
                  <a:pt x="1812278" y="704044"/>
                </a:lnTo>
                <a:lnTo>
                  <a:pt x="1796155" y="697595"/>
                </a:lnTo>
                <a:lnTo>
                  <a:pt x="1786481" y="691145"/>
                </a:lnTo>
                <a:lnTo>
                  <a:pt x="1783256" y="681471"/>
                </a:lnTo>
                <a:lnTo>
                  <a:pt x="1786481" y="675022"/>
                </a:lnTo>
                <a:lnTo>
                  <a:pt x="1783256" y="678247"/>
                </a:lnTo>
                <a:lnTo>
                  <a:pt x="1783256" y="681471"/>
                </a:lnTo>
                <a:lnTo>
                  <a:pt x="1767132" y="684697"/>
                </a:lnTo>
                <a:lnTo>
                  <a:pt x="1754233" y="687921"/>
                </a:lnTo>
                <a:lnTo>
                  <a:pt x="1741335" y="675022"/>
                </a:lnTo>
                <a:lnTo>
                  <a:pt x="1728436" y="662123"/>
                </a:lnTo>
                <a:lnTo>
                  <a:pt x="1721986" y="649224"/>
                </a:lnTo>
                <a:lnTo>
                  <a:pt x="1721986" y="636326"/>
                </a:lnTo>
                <a:lnTo>
                  <a:pt x="1738110" y="633101"/>
                </a:lnTo>
                <a:lnTo>
                  <a:pt x="1763908" y="639550"/>
                </a:lnTo>
                <a:lnTo>
                  <a:pt x="1770357" y="636326"/>
                </a:lnTo>
                <a:lnTo>
                  <a:pt x="1757458" y="623427"/>
                </a:lnTo>
                <a:lnTo>
                  <a:pt x="1747785" y="620203"/>
                </a:lnTo>
                <a:lnTo>
                  <a:pt x="1725211" y="616977"/>
                </a:lnTo>
                <a:lnTo>
                  <a:pt x="1709088" y="604079"/>
                </a:lnTo>
                <a:lnTo>
                  <a:pt x="1709088" y="571832"/>
                </a:lnTo>
                <a:lnTo>
                  <a:pt x="1715538" y="555708"/>
                </a:lnTo>
                <a:lnTo>
                  <a:pt x="1712312" y="536361"/>
                </a:lnTo>
                <a:lnTo>
                  <a:pt x="1721986" y="513787"/>
                </a:lnTo>
                <a:lnTo>
                  <a:pt x="1721986" y="497664"/>
                </a:lnTo>
                <a:lnTo>
                  <a:pt x="1728436" y="481540"/>
                </a:lnTo>
                <a:lnTo>
                  <a:pt x="1751009" y="446069"/>
                </a:lnTo>
                <a:close/>
                <a:moveTo>
                  <a:pt x="6405856" y="426720"/>
                </a:moveTo>
                <a:lnTo>
                  <a:pt x="6418754" y="433170"/>
                </a:lnTo>
                <a:lnTo>
                  <a:pt x="6428428" y="442844"/>
                </a:lnTo>
                <a:lnTo>
                  <a:pt x="6441327" y="446069"/>
                </a:lnTo>
                <a:lnTo>
                  <a:pt x="6451001" y="449293"/>
                </a:lnTo>
                <a:lnTo>
                  <a:pt x="6447777" y="491214"/>
                </a:lnTo>
                <a:lnTo>
                  <a:pt x="6444551" y="526686"/>
                </a:lnTo>
                <a:lnTo>
                  <a:pt x="6447777" y="533135"/>
                </a:lnTo>
                <a:lnTo>
                  <a:pt x="6444551" y="536361"/>
                </a:lnTo>
                <a:lnTo>
                  <a:pt x="6438102" y="536361"/>
                </a:lnTo>
                <a:lnTo>
                  <a:pt x="6425204" y="526686"/>
                </a:lnTo>
                <a:lnTo>
                  <a:pt x="6421979" y="520237"/>
                </a:lnTo>
                <a:lnTo>
                  <a:pt x="6415530" y="517012"/>
                </a:lnTo>
                <a:lnTo>
                  <a:pt x="6389733" y="500888"/>
                </a:lnTo>
                <a:lnTo>
                  <a:pt x="6380059" y="494440"/>
                </a:lnTo>
                <a:lnTo>
                  <a:pt x="6386507" y="475091"/>
                </a:lnTo>
                <a:lnTo>
                  <a:pt x="6380059" y="455743"/>
                </a:lnTo>
                <a:lnTo>
                  <a:pt x="6386507" y="433170"/>
                </a:lnTo>
                <a:lnTo>
                  <a:pt x="6396181" y="429946"/>
                </a:lnTo>
                <a:close/>
                <a:moveTo>
                  <a:pt x="1489808" y="420272"/>
                </a:moveTo>
                <a:lnTo>
                  <a:pt x="1502707" y="433170"/>
                </a:lnTo>
                <a:lnTo>
                  <a:pt x="1509157" y="439619"/>
                </a:lnTo>
                <a:lnTo>
                  <a:pt x="1515607" y="436395"/>
                </a:lnTo>
                <a:lnTo>
                  <a:pt x="1528505" y="429946"/>
                </a:lnTo>
                <a:lnTo>
                  <a:pt x="1534955" y="426720"/>
                </a:lnTo>
                <a:lnTo>
                  <a:pt x="1538180" y="423496"/>
                </a:lnTo>
                <a:lnTo>
                  <a:pt x="1544628" y="426720"/>
                </a:lnTo>
                <a:lnTo>
                  <a:pt x="1551078" y="429946"/>
                </a:lnTo>
                <a:lnTo>
                  <a:pt x="1557528" y="446069"/>
                </a:lnTo>
                <a:lnTo>
                  <a:pt x="1551078" y="465417"/>
                </a:lnTo>
                <a:lnTo>
                  <a:pt x="1544628" y="468641"/>
                </a:lnTo>
                <a:lnTo>
                  <a:pt x="1534955" y="475091"/>
                </a:lnTo>
                <a:lnTo>
                  <a:pt x="1528505" y="487990"/>
                </a:lnTo>
                <a:lnTo>
                  <a:pt x="1522055" y="494440"/>
                </a:lnTo>
                <a:lnTo>
                  <a:pt x="1525281" y="504114"/>
                </a:lnTo>
                <a:lnTo>
                  <a:pt x="1525281" y="497664"/>
                </a:lnTo>
                <a:lnTo>
                  <a:pt x="1538180" y="491214"/>
                </a:lnTo>
                <a:lnTo>
                  <a:pt x="1547853" y="494440"/>
                </a:lnTo>
                <a:lnTo>
                  <a:pt x="1551078" y="504114"/>
                </a:lnTo>
                <a:lnTo>
                  <a:pt x="1554302" y="523461"/>
                </a:lnTo>
                <a:lnTo>
                  <a:pt x="1563977" y="513787"/>
                </a:lnTo>
                <a:lnTo>
                  <a:pt x="1570426" y="529911"/>
                </a:lnTo>
                <a:lnTo>
                  <a:pt x="1567202" y="549259"/>
                </a:lnTo>
                <a:lnTo>
                  <a:pt x="1567202" y="558933"/>
                </a:lnTo>
                <a:lnTo>
                  <a:pt x="1567202" y="571832"/>
                </a:lnTo>
                <a:lnTo>
                  <a:pt x="1563977" y="581506"/>
                </a:lnTo>
                <a:lnTo>
                  <a:pt x="1551078" y="591180"/>
                </a:lnTo>
                <a:lnTo>
                  <a:pt x="1541404" y="594405"/>
                </a:lnTo>
                <a:lnTo>
                  <a:pt x="1531729" y="604079"/>
                </a:lnTo>
                <a:lnTo>
                  <a:pt x="1518831" y="616977"/>
                </a:lnTo>
                <a:lnTo>
                  <a:pt x="1512381" y="610529"/>
                </a:lnTo>
                <a:lnTo>
                  <a:pt x="1509157" y="610529"/>
                </a:lnTo>
                <a:lnTo>
                  <a:pt x="1505932" y="607303"/>
                </a:lnTo>
                <a:lnTo>
                  <a:pt x="1493034" y="581506"/>
                </a:lnTo>
                <a:lnTo>
                  <a:pt x="1486584" y="575056"/>
                </a:lnTo>
                <a:lnTo>
                  <a:pt x="1483360" y="568608"/>
                </a:lnTo>
                <a:lnTo>
                  <a:pt x="1470460" y="552484"/>
                </a:lnTo>
                <a:lnTo>
                  <a:pt x="1467236" y="552484"/>
                </a:lnTo>
                <a:lnTo>
                  <a:pt x="1460787" y="546034"/>
                </a:lnTo>
                <a:lnTo>
                  <a:pt x="1444663" y="536361"/>
                </a:lnTo>
                <a:lnTo>
                  <a:pt x="1431764" y="520237"/>
                </a:lnTo>
                <a:lnTo>
                  <a:pt x="1428540" y="510563"/>
                </a:lnTo>
                <a:lnTo>
                  <a:pt x="1434989" y="494440"/>
                </a:lnTo>
                <a:lnTo>
                  <a:pt x="1451113" y="494440"/>
                </a:lnTo>
                <a:lnTo>
                  <a:pt x="1451113" y="497664"/>
                </a:lnTo>
                <a:lnTo>
                  <a:pt x="1470460" y="517012"/>
                </a:lnTo>
                <a:lnTo>
                  <a:pt x="1480134" y="513787"/>
                </a:lnTo>
                <a:lnTo>
                  <a:pt x="1483360" y="507338"/>
                </a:lnTo>
                <a:lnTo>
                  <a:pt x="1489808" y="497664"/>
                </a:lnTo>
                <a:lnTo>
                  <a:pt x="1483360" y="484765"/>
                </a:lnTo>
                <a:lnTo>
                  <a:pt x="1480134" y="487990"/>
                </a:lnTo>
                <a:lnTo>
                  <a:pt x="1473685" y="475091"/>
                </a:lnTo>
                <a:lnTo>
                  <a:pt x="1464011" y="468641"/>
                </a:lnTo>
                <a:lnTo>
                  <a:pt x="1454338" y="455743"/>
                </a:lnTo>
                <a:lnTo>
                  <a:pt x="1464011" y="439619"/>
                </a:lnTo>
                <a:lnTo>
                  <a:pt x="1476910" y="426720"/>
                </a:lnTo>
                <a:close/>
                <a:moveTo>
                  <a:pt x="1541404" y="410597"/>
                </a:moveTo>
                <a:lnTo>
                  <a:pt x="1522055" y="429946"/>
                </a:lnTo>
                <a:lnTo>
                  <a:pt x="1502707" y="426720"/>
                </a:lnTo>
                <a:lnTo>
                  <a:pt x="1512381" y="417046"/>
                </a:lnTo>
                <a:lnTo>
                  <a:pt x="1522055" y="413822"/>
                </a:lnTo>
                <a:close/>
                <a:moveTo>
                  <a:pt x="1638143" y="404148"/>
                </a:moveTo>
                <a:lnTo>
                  <a:pt x="1663942" y="420272"/>
                </a:lnTo>
                <a:lnTo>
                  <a:pt x="1683289" y="417046"/>
                </a:lnTo>
                <a:lnTo>
                  <a:pt x="1705863" y="423496"/>
                </a:lnTo>
                <a:lnTo>
                  <a:pt x="1692963" y="452518"/>
                </a:lnTo>
                <a:lnTo>
                  <a:pt x="1673616" y="491214"/>
                </a:lnTo>
                <a:lnTo>
                  <a:pt x="1651042" y="513787"/>
                </a:lnTo>
                <a:lnTo>
                  <a:pt x="1638143" y="510563"/>
                </a:lnTo>
                <a:lnTo>
                  <a:pt x="1634919" y="510563"/>
                </a:lnTo>
                <a:lnTo>
                  <a:pt x="1628469" y="510563"/>
                </a:lnTo>
                <a:lnTo>
                  <a:pt x="1618795" y="510563"/>
                </a:lnTo>
                <a:lnTo>
                  <a:pt x="1615571" y="510563"/>
                </a:lnTo>
                <a:lnTo>
                  <a:pt x="1615571" y="517012"/>
                </a:lnTo>
                <a:lnTo>
                  <a:pt x="1622020" y="517012"/>
                </a:lnTo>
                <a:lnTo>
                  <a:pt x="1628469" y="523461"/>
                </a:lnTo>
                <a:lnTo>
                  <a:pt x="1634919" y="533135"/>
                </a:lnTo>
                <a:lnTo>
                  <a:pt x="1628469" y="546034"/>
                </a:lnTo>
                <a:lnTo>
                  <a:pt x="1618795" y="562158"/>
                </a:lnTo>
                <a:lnTo>
                  <a:pt x="1612346" y="565382"/>
                </a:lnTo>
                <a:lnTo>
                  <a:pt x="1596222" y="568608"/>
                </a:lnTo>
                <a:lnTo>
                  <a:pt x="1596222" y="546034"/>
                </a:lnTo>
                <a:lnTo>
                  <a:pt x="1596222" y="529911"/>
                </a:lnTo>
                <a:lnTo>
                  <a:pt x="1589774" y="517012"/>
                </a:lnTo>
                <a:lnTo>
                  <a:pt x="1586548" y="517012"/>
                </a:lnTo>
                <a:lnTo>
                  <a:pt x="1583324" y="475091"/>
                </a:lnTo>
                <a:lnTo>
                  <a:pt x="1586548" y="436395"/>
                </a:lnTo>
                <a:lnTo>
                  <a:pt x="1592998" y="426720"/>
                </a:lnTo>
                <a:lnTo>
                  <a:pt x="1596222" y="417046"/>
                </a:lnTo>
                <a:lnTo>
                  <a:pt x="1612346" y="407372"/>
                </a:lnTo>
                <a:close/>
                <a:moveTo>
                  <a:pt x="3215022" y="384799"/>
                </a:moveTo>
                <a:lnTo>
                  <a:pt x="3221470" y="384799"/>
                </a:lnTo>
                <a:lnTo>
                  <a:pt x="3234369" y="391248"/>
                </a:lnTo>
                <a:lnTo>
                  <a:pt x="3237594" y="404147"/>
                </a:lnTo>
                <a:lnTo>
                  <a:pt x="3234369" y="410597"/>
                </a:lnTo>
                <a:lnTo>
                  <a:pt x="3221470" y="413821"/>
                </a:lnTo>
                <a:lnTo>
                  <a:pt x="3202122" y="404147"/>
                </a:lnTo>
                <a:lnTo>
                  <a:pt x="3205347" y="391248"/>
                </a:lnTo>
                <a:close/>
                <a:moveTo>
                  <a:pt x="1002881" y="378350"/>
                </a:moveTo>
                <a:lnTo>
                  <a:pt x="1028678" y="378350"/>
                </a:lnTo>
                <a:lnTo>
                  <a:pt x="1060925" y="397699"/>
                </a:lnTo>
                <a:lnTo>
                  <a:pt x="1086723" y="394473"/>
                </a:lnTo>
                <a:lnTo>
                  <a:pt x="1112520" y="404148"/>
                </a:lnTo>
                <a:lnTo>
                  <a:pt x="1141542" y="436395"/>
                </a:lnTo>
                <a:lnTo>
                  <a:pt x="1151216" y="452518"/>
                </a:lnTo>
                <a:lnTo>
                  <a:pt x="1144767" y="465417"/>
                </a:lnTo>
                <a:lnTo>
                  <a:pt x="1122194" y="481540"/>
                </a:lnTo>
                <a:lnTo>
                  <a:pt x="1086723" y="507338"/>
                </a:lnTo>
                <a:lnTo>
                  <a:pt x="1077048" y="517012"/>
                </a:lnTo>
                <a:lnTo>
                  <a:pt x="1070599" y="520237"/>
                </a:lnTo>
                <a:lnTo>
                  <a:pt x="1067374" y="533135"/>
                </a:lnTo>
                <a:lnTo>
                  <a:pt x="1067374" y="542809"/>
                </a:lnTo>
                <a:lnTo>
                  <a:pt x="1054475" y="552484"/>
                </a:lnTo>
                <a:lnTo>
                  <a:pt x="1044801" y="568608"/>
                </a:lnTo>
                <a:lnTo>
                  <a:pt x="1041576" y="581506"/>
                </a:lnTo>
                <a:lnTo>
                  <a:pt x="1041576" y="597629"/>
                </a:lnTo>
                <a:lnTo>
                  <a:pt x="1028678" y="607303"/>
                </a:lnTo>
                <a:lnTo>
                  <a:pt x="1015779" y="610529"/>
                </a:lnTo>
                <a:lnTo>
                  <a:pt x="1002881" y="616977"/>
                </a:lnTo>
                <a:lnTo>
                  <a:pt x="980308" y="626652"/>
                </a:lnTo>
                <a:lnTo>
                  <a:pt x="973858" y="607303"/>
                </a:lnTo>
                <a:lnTo>
                  <a:pt x="964184" y="591180"/>
                </a:lnTo>
                <a:lnTo>
                  <a:pt x="941611" y="575056"/>
                </a:lnTo>
                <a:lnTo>
                  <a:pt x="925487" y="568608"/>
                </a:lnTo>
                <a:lnTo>
                  <a:pt x="928711" y="549259"/>
                </a:lnTo>
                <a:lnTo>
                  <a:pt x="931937" y="536361"/>
                </a:lnTo>
                <a:lnTo>
                  <a:pt x="941611" y="526687"/>
                </a:lnTo>
                <a:lnTo>
                  <a:pt x="944836" y="504114"/>
                </a:lnTo>
                <a:lnTo>
                  <a:pt x="944836" y="491214"/>
                </a:lnTo>
                <a:lnTo>
                  <a:pt x="944836" y="487990"/>
                </a:lnTo>
                <a:lnTo>
                  <a:pt x="951285" y="471866"/>
                </a:lnTo>
                <a:lnTo>
                  <a:pt x="964184" y="449293"/>
                </a:lnTo>
                <a:lnTo>
                  <a:pt x="954510" y="413822"/>
                </a:lnTo>
                <a:lnTo>
                  <a:pt x="948061" y="394473"/>
                </a:lnTo>
                <a:lnTo>
                  <a:pt x="948061" y="388025"/>
                </a:lnTo>
                <a:lnTo>
                  <a:pt x="977082" y="381575"/>
                </a:lnTo>
                <a:close/>
                <a:moveTo>
                  <a:pt x="6138206" y="371900"/>
                </a:moveTo>
                <a:lnTo>
                  <a:pt x="6151105" y="375124"/>
                </a:lnTo>
                <a:lnTo>
                  <a:pt x="6164004" y="378349"/>
                </a:lnTo>
                <a:lnTo>
                  <a:pt x="6167229" y="381574"/>
                </a:lnTo>
                <a:lnTo>
                  <a:pt x="6164004" y="391248"/>
                </a:lnTo>
                <a:lnTo>
                  <a:pt x="6154329" y="410596"/>
                </a:lnTo>
                <a:lnTo>
                  <a:pt x="6128532" y="397698"/>
                </a:lnTo>
                <a:lnTo>
                  <a:pt x="6125307" y="388024"/>
                </a:lnTo>
                <a:close/>
                <a:moveTo>
                  <a:pt x="3247269" y="333203"/>
                </a:moveTo>
                <a:lnTo>
                  <a:pt x="3253717" y="346103"/>
                </a:lnTo>
                <a:lnTo>
                  <a:pt x="3250493" y="352552"/>
                </a:lnTo>
                <a:lnTo>
                  <a:pt x="3240819" y="359002"/>
                </a:lnTo>
                <a:lnTo>
                  <a:pt x="3234369" y="352552"/>
                </a:lnTo>
                <a:lnTo>
                  <a:pt x="3234369" y="336429"/>
                </a:lnTo>
                <a:close/>
                <a:moveTo>
                  <a:pt x="3289190" y="300956"/>
                </a:moveTo>
                <a:lnTo>
                  <a:pt x="3285964" y="317080"/>
                </a:lnTo>
                <a:lnTo>
                  <a:pt x="3292414" y="326755"/>
                </a:lnTo>
                <a:lnTo>
                  <a:pt x="3285964" y="333203"/>
                </a:lnTo>
                <a:lnTo>
                  <a:pt x="3276290" y="336429"/>
                </a:lnTo>
                <a:lnTo>
                  <a:pt x="3266616" y="329979"/>
                </a:lnTo>
                <a:lnTo>
                  <a:pt x="3276290" y="304182"/>
                </a:lnTo>
                <a:close/>
                <a:moveTo>
                  <a:pt x="1396292" y="297733"/>
                </a:moveTo>
                <a:lnTo>
                  <a:pt x="1412416" y="320305"/>
                </a:lnTo>
                <a:lnTo>
                  <a:pt x="1396292" y="333204"/>
                </a:lnTo>
                <a:lnTo>
                  <a:pt x="1383393" y="323531"/>
                </a:lnTo>
                <a:close/>
                <a:moveTo>
                  <a:pt x="5480369" y="293862"/>
                </a:moveTo>
                <a:lnTo>
                  <a:pt x="5480369" y="313856"/>
                </a:lnTo>
                <a:lnTo>
                  <a:pt x="5477144" y="320304"/>
                </a:lnTo>
                <a:lnTo>
                  <a:pt x="5467470" y="304181"/>
                </a:lnTo>
                <a:close/>
                <a:moveTo>
                  <a:pt x="5480369" y="291282"/>
                </a:moveTo>
                <a:lnTo>
                  <a:pt x="5483593" y="291282"/>
                </a:lnTo>
                <a:lnTo>
                  <a:pt x="5480369" y="293862"/>
                </a:lnTo>
                <a:close/>
                <a:moveTo>
                  <a:pt x="1599449" y="281610"/>
                </a:moveTo>
                <a:lnTo>
                  <a:pt x="1625246" y="300957"/>
                </a:lnTo>
                <a:lnTo>
                  <a:pt x="1628470" y="307407"/>
                </a:lnTo>
                <a:lnTo>
                  <a:pt x="1634920" y="323531"/>
                </a:lnTo>
                <a:lnTo>
                  <a:pt x="1631695" y="362227"/>
                </a:lnTo>
                <a:lnTo>
                  <a:pt x="1612347" y="365451"/>
                </a:lnTo>
                <a:lnTo>
                  <a:pt x="1599449" y="359002"/>
                </a:lnTo>
                <a:lnTo>
                  <a:pt x="1586549" y="349328"/>
                </a:lnTo>
                <a:lnTo>
                  <a:pt x="1570426" y="342878"/>
                </a:lnTo>
                <a:lnTo>
                  <a:pt x="1563977" y="326755"/>
                </a:lnTo>
                <a:lnTo>
                  <a:pt x="1576875" y="310631"/>
                </a:lnTo>
                <a:lnTo>
                  <a:pt x="1580100" y="294508"/>
                </a:lnTo>
                <a:lnTo>
                  <a:pt x="1586549" y="288059"/>
                </a:lnTo>
                <a:close/>
                <a:moveTo>
                  <a:pt x="1573651" y="281610"/>
                </a:moveTo>
                <a:lnTo>
                  <a:pt x="1576875" y="288059"/>
                </a:lnTo>
                <a:lnTo>
                  <a:pt x="1570426" y="297733"/>
                </a:lnTo>
                <a:lnTo>
                  <a:pt x="1554302" y="291284"/>
                </a:lnTo>
                <a:close/>
                <a:moveTo>
                  <a:pt x="6654157" y="265486"/>
                </a:moveTo>
                <a:lnTo>
                  <a:pt x="6660606" y="268710"/>
                </a:lnTo>
                <a:lnTo>
                  <a:pt x="6663831" y="281610"/>
                </a:lnTo>
                <a:lnTo>
                  <a:pt x="6650932" y="304182"/>
                </a:lnTo>
                <a:close/>
                <a:moveTo>
                  <a:pt x="1609123" y="249363"/>
                </a:moveTo>
                <a:lnTo>
                  <a:pt x="1615572" y="265486"/>
                </a:lnTo>
                <a:lnTo>
                  <a:pt x="1609123" y="268710"/>
                </a:lnTo>
                <a:lnTo>
                  <a:pt x="1602673" y="262261"/>
                </a:lnTo>
                <a:lnTo>
                  <a:pt x="1605897" y="252587"/>
                </a:lnTo>
                <a:close/>
                <a:moveTo>
                  <a:pt x="1428540" y="249363"/>
                </a:moveTo>
                <a:lnTo>
                  <a:pt x="1444663" y="249363"/>
                </a:lnTo>
                <a:lnTo>
                  <a:pt x="1428540" y="265486"/>
                </a:lnTo>
                <a:lnTo>
                  <a:pt x="1415640" y="265486"/>
                </a:lnTo>
                <a:close/>
                <a:moveTo>
                  <a:pt x="1954164" y="236463"/>
                </a:moveTo>
                <a:lnTo>
                  <a:pt x="1941266" y="262261"/>
                </a:lnTo>
                <a:lnTo>
                  <a:pt x="1934816" y="259036"/>
                </a:lnTo>
                <a:close/>
                <a:moveTo>
                  <a:pt x="1102846" y="236463"/>
                </a:moveTo>
                <a:lnTo>
                  <a:pt x="1106070" y="239689"/>
                </a:lnTo>
                <a:lnTo>
                  <a:pt x="1096396" y="271936"/>
                </a:lnTo>
                <a:lnTo>
                  <a:pt x="1086723" y="288059"/>
                </a:lnTo>
                <a:lnTo>
                  <a:pt x="1077048" y="291284"/>
                </a:lnTo>
                <a:lnTo>
                  <a:pt x="1064149" y="284834"/>
                </a:lnTo>
                <a:lnTo>
                  <a:pt x="1070599" y="271936"/>
                </a:lnTo>
                <a:lnTo>
                  <a:pt x="1083497" y="255812"/>
                </a:lnTo>
                <a:lnTo>
                  <a:pt x="1096396" y="242913"/>
                </a:lnTo>
                <a:close/>
                <a:moveTo>
                  <a:pt x="1418866" y="233239"/>
                </a:moveTo>
                <a:lnTo>
                  <a:pt x="1434989" y="233239"/>
                </a:lnTo>
                <a:lnTo>
                  <a:pt x="1431764" y="239689"/>
                </a:lnTo>
                <a:lnTo>
                  <a:pt x="1422090" y="242913"/>
                </a:lnTo>
                <a:lnTo>
                  <a:pt x="1409192" y="249363"/>
                </a:lnTo>
                <a:lnTo>
                  <a:pt x="1399518" y="242913"/>
                </a:lnTo>
                <a:close/>
                <a:moveTo>
                  <a:pt x="5786715" y="213890"/>
                </a:moveTo>
                <a:lnTo>
                  <a:pt x="5799613" y="220339"/>
                </a:lnTo>
                <a:lnTo>
                  <a:pt x="5783490" y="230013"/>
                </a:lnTo>
                <a:lnTo>
                  <a:pt x="5770591" y="223564"/>
                </a:lnTo>
                <a:lnTo>
                  <a:pt x="5773816" y="217114"/>
                </a:lnTo>
                <a:close/>
                <a:moveTo>
                  <a:pt x="1409192" y="207442"/>
                </a:moveTo>
                <a:lnTo>
                  <a:pt x="1428540" y="207442"/>
                </a:lnTo>
                <a:lnTo>
                  <a:pt x="1428540" y="220340"/>
                </a:lnTo>
                <a:lnTo>
                  <a:pt x="1425315" y="226790"/>
                </a:lnTo>
                <a:lnTo>
                  <a:pt x="1412416" y="230015"/>
                </a:lnTo>
                <a:lnTo>
                  <a:pt x="1399518" y="230015"/>
                </a:lnTo>
                <a:lnTo>
                  <a:pt x="1386619" y="220340"/>
                </a:lnTo>
                <a:lnTo>
                  <a:pt x="1396292" y="210666"/>
                </a:lnTo>
                <a:close/>
                <a:moveTo>
                  <a:pt x="1480134" y="191318"/>
                </a:moveTo>
                <a:lnTo>
                  <a:pt x="1493034" y="191318"/>
                </a:lnTo>
                <a:lnTo>
                  <a:pt x="1505932" y="200992"/>
                </a:lnTo>
                <a:lnTo>
                  <a:pt x="1509157" y="210666"/>
                </a:lnTo>
                <a:lnTo>
                  <a:pt x="1509157" y="191318"/>
                </a:lnTo>
                <a:lnTo>
                  <a:pt x="1538180" y="197768"/>
                </a:lnTo>
                <a:lnTo>
                  <a:pt x="1541404" y="204216"/>
                </a:lnTo>
                <a:lnTo>
                  <a:pt x="1544628" y="233239"/>
                </a:lnTo>
                <a:lnTo>
                  <a:pt x="1541404" y="249363"/>
                </a:lnTo>
                <a:lnTo>
                  <a:pt x="1538180" y="268710"/>
                </a:lnTo>
                <a:lnTo>
                  <a:pt x="1534955" y="323531"/>
                </a:lnTo>
                <a:lnTo>
                  <a:pt x="1531729" y="333204"/>
                </a:lnTo>
                <a:lnTo>
                  <a:pt x="1509157" y="336429"/>
                </a:lnTo>
                <a:lnTo>
                  <a:pt x="1486584" y="336429"/>
                </a:lnTo>
                <a:lnTo>
                  <a:pt x="1480134" y="323531"/>
                </a:lnTo>
                <a:lnTo>
                  <a:pt x="1476910" y="310631"/>
                </a:lnTo>
                <a:lnTo>
                  <a:pt x="1473685" y="304182"/>
                </a:lnTo>
                <a:lnTo>
                  <a:pt x="1476910" y="297733"/>
                </a:lnTo>
                <a:lnTo>
                  <a:pt x="1470460" y="281610"/>
                </a:lnTo>
                <a:lnTo>
                  <a:pt x="1464011" y="284834"/>
                </a:lnTo>
                <a:lnTo>
                  <a:pt x="1451113" y="284834"/>
                </a:lnTo>
                <a:lnTo>
                  <a:pt x="1434989" y="291284"/>
                </a:lnTo>
                <a:lnTo>
                  <a:pt x="1425315" y="281610"/>
                </a:lnTo>
                <a:lnTo>
                  <a:pt x="1441439" y="259036"/>
                </a:lnTo>
                <a:lnTo>
                  <a:pt x="1454338" y="262261"/>
                </a:lnTo>
                <a:lnTo>
                  <a:pt x="1451113" y="233239"/>
                </a:lnTo>
                <a:lnTo>
                  <a:pt x="1441439" y="226790"/>
                </a:lnTo>
                <a:lnTo>
                  <a:pt x="1447888" y="207442"/>
                </a:lnTo>
                <a:lnTo>
                  <a:pt x="1454338" y="207442"/>
                </a:lnTo>
                <a:lnTo>
                  <a:pt x="1460787" y="207442"/>
                </a:lnTo>
                <a:lnTo>
                  <a:pt x="1467236" y="200992"/>
                </a:lnTo>
                <a:lnTo>
                  <a:pt x="1473685" y="197768"/>
                </a:lnTo>
                <a:close/>
                <a:moveTo>
                  <a:pt x="3266616" y="178419"/>
                </a:moveTo>
                <a:lnTo>
                  <a:pt x="3273066" y="188093"/>
                </a:lnTo>
                <a:lnTo>
                  <a:pt x="3273066" y="220340"/>
                </a:lnTo>
                <a:lnTo>
                  <a:pt x="3276290" y="249362"/>
                </a:lnTo>
                <a:lnTo>
                  <a:pt x="3273066" y="255811"/>
                </a:lnTo>
                <a:lnTo>
                  <a:pt x="3266616" y="223564"/>
                </a:lnTo>
                <a:lnTo>
                  <a:pt x="3263392" y="200991"/>
                </a:lnTo>
                <a:close/>
                <a:moveTo>
                  <a:pt x="1483360" y="178419"/>
                </a:moveTo>
                <a:lnTo>
                  <a:pt x="1483360" y="181644"/>
                </a:lnTo>
                <a:lnTo>
                  <a:pt x="1451113" y="194542"/>
                </a:lnTo>
                <a:close/>
                <a:moveTo>
                  <a:pt x="1396292" y="171969"/>
                </a:moveTo>
                <a:lnTo>
                  <a:pt x="1418866" y="188093"/>
                </a:lnTo>
                <a:lnTo>
                  <a:pt x="1418866" y="197768"/>
                </a:lnTo>
                <a:lnTo>
                  <a:pt x="1409192" y="204216"/>
                </a:lnTo>
                <a:lnTo>
                  <a:pt x="1399518" y="204216"/>
                </a:lnTo>
                <a:lnTo>
                  <a:pt x="1389843" y="200992"/>
                </a:lnTo>
                <a:lnTo>
                  <a:pt x="1386619" y="175195"/>
                </a:lnTo>
                <a:close/>
                <a:moveTo>
                  <a:pt x="1289878" y="171969"/>
                </a:moveTo>
                <a:lnTo>
                  <a:pt x="1299551" y="171969"/>
                </a:lnTo>
                <a:lnTo>
                  <a:pt x="1302777" y="188093"/>
                </a:lnTo>
                <a:lnTo>
                  <a:pt x="1302777" y="210666"/>
                </a:lnTo>
                <a:lnTo>
                  <a:pt x="1312451" y="230015"/>
                </a:lnTo>
                <a:lnTo>
                  <a:pt x="1322125" y="249363"/>
                </a:lnTo>
                <a:lnTo>
                  <a:pt x="1338248" y="252587"/>
                </a:lnTo>
                <a:lnTo>
                  <a:pt x="1351147" y="242913"/>
                </a:lnTo>
                <a:lnTo>
                  <a:pt x="1370495" y="268710"/>
                </a:lnTo>
                <a:lnTo>
                  <a:pt x="1370495" y="288059"/>
                </a:lnTo>
                <a:lnTo>
                  <a:pt x="1364045" y="307407"/>
                </a:lnTo>
                <a:lnTo>
                  <a:pt x="1357596" y="326755"/>
                </a:lnTo>
                <a:lnTo>
                  <a:pt x="1351147" y="333204"/>
                </a:lnTo>
                <a:lnTo>
                  <a:pt x="1328574" y="342878"/>
                </a:lnTo>
                <a:lnTo>
                  <a:pt x="1322125" y="336429"/>
                </a:lnTo>
                <a:lnTo>
                  <a:pt x="1306001" y="342878"/>
                </a:lnTo>
                <a:lnTo>
                  <a:pt x="1299551" y="329980"/>
                </a:lnTo>
                <a:lnTo>
                  <a:pt x="1289878" y="336429"/>
                </a:lnTo>
                <a:lnTo>
                  <a:pt x="1280204" y="346104"/>
                </a:lnTo>
                <a:lnTo>
                  <a:pt x="1267304" y="349328"/>
                </a:lnTo>
                <a:lnTo>
                  <a:pt x="1260856" y="352552"/>
                </a:lnTo>
                <a:lnTo>
                  <a:pt x="1254406" y="362227"/>
                </a:lnTo>
                <a:lnTo>
                  <a:pt x="1238283" y="371901"/>
                </a:lnTo>
                <a:lnTo>
                  <a:pt x="1212485" y="384799"/>
                </a:lnTo>
                <a:lnTo>
                  <a:pt x="1186688" y="378350"/>
                </a:lnTo>
                <a:lnTo>
                  <a:pt x="1177014" y="365451"/>
                </a:lnTo>
                <a:lnTo>
                  <a:pt x="1170564" y="346104"/>
                </a:lnTo>
                <a:lnTo>
                  <a:pt x="1164115" y="336429"/>
                </a:lnTo>
                <a:lnTo>
                  <a:pt x="1154441" y="336429"/>
                </a:lnTo>
                <a:lnTo>
                  <a:pt x="1147991" y="333204"/>
                </a:lnTo>
                <a:lnTo>
                  <a:pt x="1144767" y="336429"/>
                </a:lnTo>
                <a:lnTo>
                  <a:pt x="1135093" y="326755"/>
                </a:lnTo>
                <a:lnTo>
                  <a:pt x="1125418" y="323531"/>
                </a:lnTo>
                <a:lnTo>
                  <a:pt x="1106070" y="317081"/>
                </a:lnTo>
                <a:lnTo>
                  <a:pt x="1106070" y="304182"/>
                </a:lnTo>
                <a:lnTo>
                  <a:pt x="1109296" y="297733"/>
                </a:lnTo>
                <a:lnTo>
                  <a:pt x="1112520" y="284834"/>
                </a:lnTo>
                <a:lnTo>
                  <a:pt x="1118970" y="268710"/>
                </a:lnTo>
                <a:lnTo>
                  <a:pt x="1122194" y="259036"/>
                </a:lnTo>
                <a:lnTo>
                  <a:pt x="1125418" y="236463"/>
                </a:lnTo>
                <a:lnTo>
                  <a:pt x="1131868" y="230015"/>
                </a:lnTo>
                <a:lnTo>
                  <a:pt x="1141542" y="217116"/>
                </a:lnTo>
                <a:lnTo>
                  <a:pt x="1151216" y="204216"/>
                </a:lnTo>
                <a:lnTo>
                  <a:pt x="1180238" y="204216"/>
                </a:lnTo>
                <a:lnTo>
                  <a:pt x="1180238" y="210666"/>
                </a:lnTo>
                <a:lnTo>
                  <a:pt x="1180238" y="220340"/>
                </a:lnTo>
                <a:lnTo>
                  <a:pt x="1183463" y="230015"/>
                </a:lnTo>
                <a:lnTo>
                  <a:pt x="1193136" y="226790"/>
                </a:lnTo>
                <a:lnTo>
                  <a:pt x="1218935" y="236463"/>
                </a:lnTo>
                <a:lnTo>
                  <a:pt x="1231833" y="255812"/>
                </a:lnTo>
                <a:lnTo>
                  <a:pt x="1238283" y="275160"/>
                </a:lnTo>
                <a:lnTo>
                  <a:pt x="1241507" y="284834"/>
                </a:lnTo>
                <a:lnTo>
                  <a:pt x="1251181" y="288059"/>
                </a:lnTo>
                <a:lnTo>
                  <a:pt x="1257631" y="284834"/>
                </a:lnTo>
                <a:lnTo>
                  <a:pt x="1260856" y="288059"/>
                </a:lnTo>
                <a:lnTo>
                  <a:pt x="1286653" y="291284"/>
                </a:lnTo>
                <a:lnTo>
                  <a:pt x="1296327" y="291284"/>
                </a:lnTo>
                <a:lnTo>
                  <a:pt x="1296327" y="275160"/>
                </a:lnTo>
                <a:lnTo>
                  <a:pt x="1289878" y="268710"/>
                </a:lnTo>
                <a:lnTo>
                  <a:pt x="1270530" y="255812"/>
                </a:lnTo>
                <a:lnTo>
                  <a:pt x="1276979" y="252587"/>
                </a:lnTo>
                <a:lnTo>
                  <a:pt x="1286653" y="239689"/>
                </a:lnTo>
                <a:lnTo>
                  <a:pt x="1273754" y="226790"/>
                </a:lnTo>
                <a:lnTo>
                  <a:pt x="1273754" y="200992"/>
                </a:lnTo>
                <a:lnTo>
                  <a:pt x="1280204" y="184868"/>
                </a:lnTo>
                <a:close/>
                <a:moveTo>
                  <a:pt x="1709088" y="168745"/>
                </a:moveTo>
                <a:lnTo>
                  <a:pt x="1715538" y="178419"/>
                </a:lnTo>
                <a:lnTo>
                  <a:pt x="1715538" y="200992"/>
                </a:lnTo>
                <a:lnTo>
                  <a:pt x="1705864" y="197768"/>
                </a:lnTo>
                <a:lnTo>
                  <a:pt x="1699414" y="184868"/>
                </a:lnTo>
                <a:lnTo>
                  <a:pt x="1696189" y="175195"/>
                </a:lnTo>
                <a:lnTo>
                  <a:pt x="1702638" y="171969"/>
                </a:lnTo>
                <a:close/>
                <a:moveTo>
                  <a:pt x="1180238" y="165521"/>
                </a:moveTo>
                <a:lnTo>
                  <a:pt x="1196362" y="175195"/>
                </a:lnTo>
                <a:lnTo>
                  <a:pt x="1180238" y="181644"/>
                </a:lnTo>
                <a:lnTo>
                  <a:pt x="1164115" y="178419"/>
                </a:lnTo>
                <a:close/>
                <a:moveTo>
                  <a:pt x="5164350" y="152620"/>
                </a:moveTo>
                <a:lnTo>
                  <a:pt x="5180473" y="155846"/>
                </a:lnTo>
                <a:lnTo>
                  <a:pt x="5193371" y="175194"/>
                </a:lnTo>
                <a:lnTo>
                  <a:pt x="5190147" y="200991"/>
                </a:lnTo>
                <a:lnTo>
                  <a:pt x="5183697" y="207441"/>
                </a:lnTo>
                <a:lnTo>
                  <a:pt x="5170798" y="226788"/>
                </a:lnTo>
                <a:lnTo>
                  <a:pt x="5141776" y="242912"/>
                </a:lnTo>
                <a:lnTo>
                  <a:pt x="5122429" y="255811"/>
                </a:lnTo>
                <a:lnTo>
                  <a:pt x="5064384" y="284834"/>
                </a:lnTo>
                <a:lnTo>
                  <a:pt x="5009564" y="339653"/>
                </a:lnTo>
                <a:lnTo>
                  <a:pt x="5012788" y="342878"/>
                </a:lnTo>
                <a:lnTo>
                  <a:pt x="4980541" y="378350"/>
                </a:lnTo>
                <a:lnTo>
                  <a:pt x="4967643" y="391248"/>
                </a:lnTo>
                <a:lnTo>
                  <a:pt x="4957969" y="417046"/>
                </a:lnTo>
                <a:lnTo>
                  <a:pt x="4935396" y="462192"/>
                </a:lnTo>
                <a:lnTo>
                  <a:pt x="4922497" y="475091"/>
                </a:lnTo>
                <a:lnTo>
                  <a:pt x="4890250" y="455742"/>
                </a:lnTo>
                <a:lnTo>
                  <a:pt x="4870902" y="462192"/>
                </a:lnTo>
                <a:lnTo>
                  <a:pt x="4861228" y="455742"/>
                </a:lnTo>
                <a:lnTo>
                  <a:pt x="4858004" y="436394"/>
                </a:lnTo>
                <a:lnTo>
                  <a:pt x="4858004" y="429944"/>
                </a:lnTo>
                <a:lnTo>
                  <a:pt x="4874127" y="420271"/>
                </a:lnTo>
                <a:lnTo>
                  <a:pt x="4890250" y="407371"/>
                </a:lnTo>
                <a:lnTo>
                  <a:pt x="4903149" y="410597"/>
                </a:lnTo>
                <a:lnTo>
                  <a:pt x="4906373" y="400923"/>
                </a:lnTo>
                <a:lnTo>
                  <a:pt x="4906373" y="375124"/>
                </a:lnTo>
                <a:lnTo>
                  <a:pt x="4899925" y="371900"/>
                </a:lnTo>
                <a:lnTo>
                  <a:pt x="4899925" y="362226"/>
                </a:lnTo>
                <a:lnTo>
                  <a:pt x="4906373" y="349327"/>
                </a:lnTo>
                <a:lnTo>
                  <a:pt x="4903149" y="333203"/>
                </a:lnTo>
                <a:lnTo>
                  <a:pt x="4909599" y="317080"/>
                </a:lnTo>
                <a:lnTo>
                  <a:pt x="4916048" y="320305"/>
                </a:lnTo>
                <a:lnTo>
                  <a:pt x="4919272" y="313856"/>
                </a:lnTo>
                <a:lnTo>
                  <a:pt x="4951519" y="284834"/>
                </a:lnTo>
                <a:lnTo>
                  <a:pt x="4957969" y="275159"/>
                </a:lnTo>
                <a:lnTo>
                  <a:pt x="4964418" y="268710"/>
                </a:lnTo>
                <a:lnTo>
                  <a:pt x="4977317" y="259035"/>
                </a:lnTo>
                <a:lnTo>
                  <a:pt x="4990216" y="252587"/>
                </a:lnTo>
                <a:lnTo>
                  <a:pt x="5032137" y="220340"/>
                </a:lnTo>
                <a:lnTo>
                  <a:pt x="5048261" y="226788"/>
                </a:lnTo>
                <a:lnTo>
                  <a:pt x="5086956" y="213890"/>
                </a:lnTo>
                <a:lnTo>
                  <a:pt x="5115979" y="194542"/>
                </a:lnTo>
                <a:lnTo>
                  <a:pt x="5125653" y="178419"/>
                </a:lnTo>
                <a:lnTo>
                  <a:pt x="5138551" y="165520"/>
                </a:lnTo>
                <a:close/>
                <a:moveTo>
                  <a:pt x="1576875" y="149397"/>
                </a:moveTo>
                <a:lnTo>
                  <a:pt x="1602673" y="155847"/>
                </a:lnTo>
                <a:lnTo>
                  <a:pt x="1622021" y="162295"/>
                </a:lnTo>
                <a:lnTo>
                  <a:pt x="1631695" y="165521"/>
                </a:lnTo>
                <a:lnTo>
                  <a:pt x="1638144" y="184868"/>
                </a:lnTo>
                <a:lnTo>
                  <a:pt x="1654268" y="188093"/>
                </a:lnTo>
                <a:lnTo>
                  <a:pt x="1670391" y="184868"/>
                </a:lnTo>
                <a:lnTo>
                  <a:pt x="1686515" y="188093"/>
                </a:lnTo>
                <a:lnTo>
                  <a:pt x="1699414" y="204216"/>
                </a:lnTo>
                <a:lnTo>
                  <a:pt x="1686515" y="204216"/>
                </a:lnTo>
                <a:lnTo>
                  <a:pt x="1702638" y="210666"/>
                </a:lnTo>
                <a:lnTo>
                  <a:pt x="1712312" y="217116"/>
                </a:lnTo>
                <a:lnTo>
                  <a:pt x="1725211" y="223565"/>
                </a:lnTo>
                <a:lnTo>
                  <a:pt x="1728436" y="265486"/>
                </a:lnTo>
                <a:lnTo>
                  <a:pt x="1718762" y="281610"/>
                </a:lnTo>
                <a:lnTo>
                  <a:pt x="1725211" y="291284"/>
                </a:lnTo>
                <a:lnTo>
                  <a:pt x="1731661" y="297733"/>
                </a:lnTo>
                <a:lnTo>
                  <a:pt x="1738110" y="294508"/>
                </a:lnTo>
                <a:lnTo>
                  <a:pt x="1741335" y="278384"/>
                </a:lnTo>
                <a:lnTo>
                  <a:pt x="1757458" y="284834"/>
                </a:lnTo>
                <a:lnTo>
                  <a:pt x="1770357" y="281610"/>
                </a:lnTo>
                <a:lnTo>
                  <a:pt x="1802604" y="284834"/>
                </a:lnTo>
                <a:lnTo>
                  <a:pt x="1812278" y="284834"/>
                </a:lnTo>
                <a:lnTo>
                  <a:pt x="1828401" y="281610"/>
                </a:lnTo>
                <a:lnTo>
                  <a:pt x="1841300" y="268710"/>
                </a:lnTo>
                <a:lnTo>
                  <a:pt x="1844525" y="268710"/>
                </a:lnTo>
                <a:lnTo>
                  <a:pt x="1854199" y="271936"/>
                </a:lnTo>
                <a:lnTo>
                  <a:pt x="1879997" y="262261"/>
                </a:lnTo>
                <a:lnTo>
                  <a:pt x="1934816" y="291284"/>
                </a:lnTo>
                <a:lnTo>
                  <a:pt x="1941266" y="317081"/>
                </a:lnTo>
                <a:lnTo>
                  <a:pt x="1941266" y="342878"/>
                </a:lnTo>
                <a:lnTo>
                  <a:pt x="1938041" y="346104"/>
                </a:lnTo>
                <a:lnTo>
                  <a:pt x="1931592" y="349328"/>
                </a:lnTo>
                <a:lnTo>
                  <a:pt x="1925142" y="365451"/>
                </a:lnTo>
                <a:lnTo>
                  <a:pt x="1915468" y="371901"/>
                </a:lnTo>
                <a:lnTo>
                  <a:pt x="1883221" y="378350"/>
                </a:lnTo>
                <a:lnTo>
                  <a:pt x="1870322" y="375125"/>
                </a:lnTo>
                <a:lnTo>
                  <a:pt x="1863873" y="371901"/>
                </a:lnTo>
                <a:lnTo>
                  <a:pt x="1860648" y="368676"/>
                </a:lnTo>
                <a:lnTo>
                  <a:pt x="1831626" y="375125"/>
                </a:lnTo>
                <a:lnTo>
                  <a:pt x="1802604" y="378350"/>
                </a:lnTo>
                <a:lnTo>
                  <a:pt x="1744559" y="378350"/>
                </a:lnTo>
                <a:lnTo>
                  <a:pt x="1741335" y="371901"/>
                </a:lnTo>
                <a:lnTo>
                  <a:pt x="1744559" y="352552"/>
                </a:lnTo>
                <a:lnTo>
                  <a:pt x="1741335" y="342878"/>
                </a:lnTo>
                <a:lnTo>
                  <a:pt x="1731661" y="352552"/>
                </a:lnTo>
                <a:lnTo>
                  <a:pt x="1728436" y="365451"/>
                </a:lnTo>
                <a:lnTo>
                  <a:pt x="1725211" y="371901"/>
                </a:lnTo>
                <a:lnTo>
                  <a:pt x="1699414" y="368676"/>
                </a:lnTo>
                <a:lnTo>
                  <a:pt x="1686515" y="362227"/>
                </a:lnTo>
                <a:lnTo>
                  <a:pt x="1676841" y="365451"/>
                </a:lnTo>
                <a:lnTo>
                  <a:pt x="1670391" y="359002"/>
                </a:lnTo>
                <a:lnTo>
                  <a:pt x="1663943" y="352552"/>
                </a:lnTo>
                <a:lnTo>
                  <a:pt x="1654268" y="310631"/>
                </a:lnTo>
                <a:lnTo>
                  <a:pt x="1663943" y="284834"/>
                </a:lnTo>
                <a:lnTo>
                  <a:pt x="1663943" y="262261"/>
                </a:lnTo>
                <a:lnTo>
                  <a:pt x="1660717" y="255812"/>
                </a:lnTo>
                <a:lnTo>
                  <a:pt x="1654268" y="249363"/>
                </a:lnTo>
                <a:lnTo>
                  <a:pt x="1651043" y="239689"/>
                </a:lnTo>
                <a:lnTo>
                  <a:pt x="1651043" y="236463"/>
                </a:lnTo>
                <a:lnTo>
                  <a:pt x="1641370" y="217116"/>
                </a:lnTo>
                <a:lnTo>
                  <a:pt x="1634920" y="213891"/>
                </a:lnTo>
                <a:lnTo>
                  <a:pt x="1622021" y="223565"/>
                </a:lnTo>
                <a:lnTo>
                  <a:pt x="1602673" y="220340"/>
                </a:lnTo>
                <a:lnTo>
                  <a:pt x="1592999" y="226790"/>
                </a:lnTo>
                <a:lnTo>
                  <a:pt x="1589774" y="220340"/>
                </a:lnTo>
                <a:lnTo>
                  <a:pt x="1580100" y="207442"/>
                </a:lnTo>
                <a:lnTo>
                  <a:pt x="1557528" y="178419"/>
                </a:lnTo>
                <a:lnTo>
                  <a:pt x="1557528" y="162295"/>
                </a:lnTo>
                <a:lnTo>
                  <a:pt x="1563977" y="152621"/>
                </a:lnTo>
                <a:close/>
                <a:moveTo>
                  <a:pt x="5796389" y="133273"/>
                </a:moveTo>
                <a:lnTo>
                  <a:pt x="5799613" y="139722"/>
                </a:lnTo>
                <a:lnTo>
                  <a:pt x="5783490" y="155845"/>
                </a:lnTo>
                <a:lnTo>
                  <a:pt x="5767367" y="155845"/>
                </a:lnTo>
                <a:lnTo>
                  <a:pt x="5780265" y="146171"/>
                </a:lnTo>
                <a:close/>
                <a:moveTo>
                  <a:pt x="6035016" y="120373"/>
                </a:moveTo>
                <a:lnTo>
                  <a:pt x="6041465" y="120373"/>
                </a:lnTo>
                <a:lnTo>
                  <a:pt x="6041465" y="126823"/>
                </a:lnTo>
                <a:lnTo>
                  <a:pt x="6038241" y="130047"/>
                </a:lnTo>
                <a:lnTo>
                  <a:pt x="6031792" y="130047"/>
                </a:lnTo>
                <a:close/>
                <a:moveTo>
                  <a:pt x="2118625" y="107475"/>
                </a:moveTo>
                <a:lnTo>
                  <a:pt x="2131525" y="107475"/>
                </a:lnTo>
                <a:lnTo>
                  <a:pt x="2147648" y="113925"/>
                </a:lnTo>
                <a:lnTo>
                  <a:pt x="2131525" y="117149"/>
                </a:lnTo>
                <a:close/>
                <a:moveTo>
                  <a:pt x="2099278" y="107475"/>
                </a:moveTo>
                <a:lnTo>
                  <a:pt x="2112176" y="113925"/>
                </a:lnTo>
                <a:lnTo>
                  <a:pt x="2118625" y="117149"/>
                </a:lnTo>
                <a:lnTo>
                  <a:pt x="2112176" y="120374"/>
                </a:lnTo>
                <a:lnTo>
                  <a:pt x="2102502" y="123599"/>
                </a:lnTo>
                <a:lnTo>
                  <a:pt x="2089604" y="113925"/>
                </a:lnTo>
                <a:close/>
                <a:moveTo>
                  <a:pt x="1135093" y="101027"/>
                </a:moveTo>
                <a:lnTo>
                  <a:pt x="1144767" y="113925"/>
                </a:lnTo>
                <a:lnTo>
                  <a:pt x="1151216" y="123600"/>
                </a:lnTo>
                <a:lnTo>
                  <a:pt x="1135093" y="133274"/>
                </a:lnTo>
                <a:lnTo>
                  <a:pt x="1141542" y="159071"/>
                </a:lnTo>
                <a:lnTo>
                  <a:pt x="1141542" y="171969"/>
                </a:lnTo>
                <a:lnTo>
                  <a:pt x="1141542" y="184868"/>
                </a:lnTo>
                <a:lnTo>
                  <a:pt x="1122194" y="210666"/>
                </a:lnTo>
                <a:lnTo>
                  <a:pt x="1109296" y="223565"/>
                </a:lnTo>
                <a:lnTo>
                  <a:pt x="1093172" y="210666"/>
                </a:lnTo>
                <a:lnTo>
                  <a:pt x="1096396" y="175195"/>
                </a:lnTo>
                <a:lnTo>
                  <a:pt x="1083497" y="181644"/>
                </a:lnTo>
                <a:lnTo>
                  <a:pt x="1086723" y="184868"/>
                </a:lnTo>
                <a:lnTo>
                  <a:pt x="1080273" y="220340"/>
                </a:lnTo>
                <a:lnTo>
                  <a:pt x="1070599" y="242913"/>
                </a:lnTo>
                <a:lnTo>
                  <a:pt x="1044801" y="265486"/>
                </a:lnTo>
                <a:lnTo>
                  <a:pt x="1038352" y="246137"/>
                </a:lnTo>
                <a:lnTo>
                  <a:pt x="1031902" y="239689"/>
                </a:lnTo>
                <a:lnTo>
                  <a:pt x="1028678" y="242913"/>
                </a:lnTo>
                <a:lnTo>
                  <a:pt x="1012555" y="246137"/>
                </a:lnTo>
                <a:lnTo>
                  <a:pt x="1006105" y="242913"/>
                </a:lnTo>
                <a:lnTo>
                  <a:pt x="1006105" y="249363"/>
                </a:lnTo>
                <a:lnTo>
                  <a:pt x="1002881" y="249363"/>
                </a:lnTo>
                <a:lnTo>
                  <a:pt x="983532" y="239689"/>
                </a:lnTo>
                <a:lnTo>
                  <a:pt x="996431" y="213891"/>
                </a:lnTo>
                <a:lnTo>
                  <a:pt x="1009329" y="207442"/>
                </a:lnTo>
                <a:lnTo>
                  <a:pt x="1019004" y="204216"/>
                </a:lnTo>
                <a:lnTo>
                  <a:pt x="1025453" y="191318"/>
                </a:lnTo>
                <a:lnTo>
                  <a:pt x="1031902" y="184868"/>
                </a:lnTo>
                <a:lnTo>
                  <a:pt x="1044801" y="165521"/>
                </a:lnTo>
                <a:lnTo>
                  <a:pt x="1057700" y="139723"/>
                </a:lnTo>
                <a:lnTo>
                  <a:pt x="1070599" y="120374"/>
                </a:lnTo>
                <a:lnTo>
                  <a:pt x="1083497" y="117150"/>
                </a:lnTo>
                <a:lnTo>
                  <a:pt x="1096396" y="113925"/>
                </a:lnTo>
                <a:lnTo>
                  <a:pt x="1099621" y="117150"/>
                </a:lnTo>
                <a:lnTo>
                  <a:pt x="1115744" y="104251"/>
                </a:lnTo>
                <a:close/>
                <a:moveTo>
                  <a:pt x="1689740" y="88127"/>
                </a:moveTo>
                <a:lnTo>
                  <a:pt x="1699414" y="91353"/>
                </a:lnTo>
                <a:lnTo>
                  <a:pt x="1715538" y="113925"/>
                </a:lnTo>
                <a:lnTo>
                  <a:pt x="1715538" y="123600"/>
                </a:lnTo>
                <a:lnTo>
                  <a:pt x="1712312" y="130048"/>
                </a:lnTo>
                <a:lnTo>
                  <a:pt x="1699414" y="133274"/>
                </a:lnTo>
                <a:lnTo>
                  <a:pt x="1683290" y="113925"/>
                </a:lnTo>
                <a:close/>
                <a:moveTo>
                  <a:pt x="5967297" y="81677"/>
                </a:moveTo>
                <a:lnTo>
                  <a:pt x="5993095" y="97800"/>
                </a:lnTo>
                <a:lnTo>
                  <a:pt x="6012443" y="117149"/>
                </a:lnTo>
                <a:lnTo>
                  <a:pt x="6018893" y="149396"/>
                </a:lnTo>
                <a:lnTo>
                  <a:pt x="6035016" y="159070"/>
                </a:lnTo>
                <a:lnTo>
                  <a:pt x="6022117" y="184867"/>
                </a:lnTo>
                <a:lnTo>
                  <a:pt x="6015669" y="194541"/>
                </a:lnTo>
                <a:lnTo>
                  <a:pt x="6012443" y="191317"/>
                </a:lnTo>
                <a:lnTo>
                  <a:pt x="6012443" y="200991"/>
                </a:lnTo>
                <a:lnTo>
                  <a:pt x="6018893" y="200991"/>
                </a:lnTo>
                <a:lnTo>
                  <a:pt x="6035016" y="200991"/>
                </a:lnTo>
                <a:lnTo>
                  <a:pt x="6047915" y="194541"/>
                </a:lnTo>
                <a:lnTo>
                  <a:pt x="6051139" y="184867"/>
                </a:lnTo>
                <a:lnTo>
                  <a:pt x="6060813" y="181643"/>
                </a:lnTo>
                <a:lnTo>
                  <a:pt x="6086611" y="178418"/>
                </a:lnTo>
                <a:lnTo>
                  <a:pt x="6115633" y="178418"/>
                </a:lnTo>
                <a:lnTo>
                  <a:pt x="6128532" y="184867"/>
                </a:lnTo>
                <a:lnTo>
                  <a:pt x="6141431" y="204215"/>
                </a:lnTo>
                <a:lnTo>
                  <a:pt x="6141431" y="207441"/>
                </a:lnTo>
                <a:lnTo>
                  <a:pt x="6151105" y="213890"/>
                </a:lnTo>
                <a:lnTo>
                  <a:pt x="6164004" y="223564"/>
                </a:lnTo>
                <a:lnTo>
                  <a:pt x="6167229" y="233238"/>
                </a:lnTo>
                <a:lnTo>
                  <a:pt x="6167229" y="239688"/>
                </a:lnTo>
                <a:lnTo>
                  <a:pt x="6170453" y="246136"/>
                </a:lnTo>
                <a:lnTo>
                  <a:pt x="6170453" y="255811"/>
                </a:lnTo>
                <a:lnTo>
                  <a:pt x="6176903" y="252586"/>
                </a:lnTo>
                <a:lnTo>
                  <a:pt x="6173678" y="278383"/>
                </a:lnTo>
                <a:lnTo>
                  <a:pt x="6170453" y="297732"/>
                </a:lnTo>
                <a:lnTo>
                  <a:pt x="6170453" y="310630"/>
                </a:lnTo>
                <a:lnTo>
                  <a:pt x="6164004" y="323529"/>
                </a:lnTo>
                <a:lnTo>
                  <a:pt x="6154329" y="336428"/>
                </a:lnTo>
                <a:lnTo>
                  <a:pt x="6147881" y="342877"/>
                </a:lnTo>
                <a:lnTo>
                  <a:pt x="6138206" y="352551"/>
                </a:lnTo>
                <a:lnTo>
                  <a:pt x="6105960" y="378349"/>
                </a:lnTo>
                <a:lnTo>
                  <a:pt x="6093061" y="394472"/>
                </a:lnTo>
                <a:lnTo>
                  <a:pt x="6089837" y="400922"/>
                </a:lnTo>
                <a:lnTo>
                  <a:pt x="6089837" y="404147"/>
                </a:lnTo>
                <a:lnTo>
                  <a:pt x="6080161" y="410596"/>
                </a:lnTo>
                <a:lnTo>
                  <a:pt x="6070487" y="417045"/>
                </a:lnTo>
                <a:lnTo>
                  <a:pt x="6064038" y="426719"/>
                </a:lnTo>
                <a:lnTo>
                  <a:pt x="6060813" y="436394"/>
                </a:lnTo>
                <a:lnTo>
                  <a:pt x="6031792" y="446068"/>
                </a:lnTo>
                <a:lnTo>
                  <a:pt x="6028567" y="452517"/>
                </a:lnTo>
                <a:lnTo>
                  <a:pt x="6022117" y="468640"/>
                </a:lnTo>
                <a:lnTo>
                  <a:pt x="6028567" y="481539"/>
                </a:lnTo>
                <a:lnTo>
                  <a:pt x="6057589" y="475090"/>
                </a:lnTo>
                <a:lnTo>
                  <a:pt x="6086611" y="458966"/>
                </a:lnTo>
                <a:lnTo>
                  <a:pt x="6099510" y="452517"/>
                </a:lnTo>
                <a:lnTo>
                  <a:pt x="6109184" y="446068"/>
                </a:lnTo>
                <a:lnTo>
                  <a:pt x="6112409" y="439619"/>
                </a:lnTo>
                <a:lnTo>
                  <a:pt x="6105960" y="436394"/>
                </a:lnTo>
                <a:lnTo>
                  <a:pt x="6093061" y="442843"/>
                </a:lnTo>
                <a:lnTo>
                  <a:pt x="6083387" y="436394"/>
                </a:lnTo>
                <a:lnTo>
                  <a:pt x="6089837" y="420271"/>
                </a:lnTo>
                <a:lnTo>
                  <a:pt x="6099510" y="417045"/>
                </a:lnTo>
                <a:lnTo>
                  <a:pt x="6115633" y="417045"/>
                </a:lnTo>
                <a:lnTo>
                  <a:pt x="6118858" y="423495"/>
                </a:lnTo>
                <a:lnTo>
                  <a:pt x="6125307" y="433169"/>
                </a:lnTo>
                <a:lnTo>
                  <a:pt x="6138206" y="439619"/>
                </a:lnTo>
                <a:lnTo>
                  <a:pt x="6151105" y="439619"/>
                </a:lnTo>
                <a:lnTo>
                  <a:pt x="6157555" y="433169"/>
                </a:lnTo>
                <a:lnTo>
                  <a:pt x="6157555" y="420271"/>
                </a:lnTo>
                <a:lnTo>
                  <a:pt x="6164004" y="436394"/>
                </a:lnTo>
                <a:lnTo>
                  <a:pt x="6167229" y="458966"/>
                </a:lnTo>
                <a:lnTo>
                  <a:pt x="6167229" y="455742"/>
                </a:lnTo>
                <a:lnTo>
                  <a:pt x="6180127" y="449292"/>
                </a:lnTo>
                <a:lnTo>
                  <a:pt x="6205925" y="439619"/>
                </a:lnTo>
                <a:lnTo>
                  <a:pt x="6234947" y="442843"/>
                </a:lnTo>
                <a:lnTo>
                  <a:pt x="6263969" y="449292"/>
                </a:lnTo>
                <a:lnTo>
                  <a:pt x="6276868" y="458966"/>
                </a:lnTo>
                <a:lnTo>
                  <a:pt x="6276868" y="478315"/>
                </a:lnTo>
                <a:lnTo>
                  <a:pt x="6283317" y="481539"/>
                </a:lnTo>
                <a:lnTo>
                  <a:pt x="6305891" y="497663"/>
                </a:lnTo>
                <a:lnTo>
                  <a:pt x="6315565" y="494439"/>
                </a:lnTo>
                <a:lnTo>
                  <a:pt x="6344586" y="497663"/>
                </a:lnTo>
                <a:lnTo>
                  <a:pt x="6376833" y="510562"/>
                </a:lnTo>
                <a:lnTo>
                  <a:pt x="6386507" y="513786"/>
                </a:lnTo>
                <a:lnTo>
                  <a:pt x="6396181" y="513786"/>
                </a:lnTo>
                <a:lnTo>
                  <a:pt x="6415530" y="520236"/>
                </a:lnTo>
                <a:lnTo>
                  <a:pt x="6425204" y="529910"/>
                </a:lnTo>
                <a:lnTo>
                  <a:pt x="6428428" y="536359"/>
                </a:lnTo>
                <a:lnTo>
                  <a:pt x="6434877" y="542808"/>
                </a:lnTo>
                <a:lnTo>
                  <a:pt x="6444551" y="549258"/>
                </a:lnTo>
                <a:lnTo>
                  <a:pt x="6454227" y="546034"/>
                </a:lnTo>
                <a:lnTo>
                  <a:pt x="6460675" y="542808"/>
                </a:lnTo>
                <a:lnTo>
                  <a:pt x="6463901" y="539584"/>
                </a:lnTo>
                <a:lnTo>
                  <a:pt x="6470349" y="539584"/>
                </a:lnTo>
                <a:lnTo>
                  <a:pt x="6480024" y="542808"/>
                </a:lnTo>
                <a:lnTo>
                  <a:pt x="6509045" y="584730"/>
                </a:lnTo>
                <a:lnTo>
                  <a:pt x="6518719" y="610528"/>
                </a:lnTo>
                <a:lnTo>
                  <a:pt x="6531619" y="629875"/>
                </a:lnTo>
                <a:lnTo>
                  <a:pt x="6538069" y="639549"/>
                </a:lnTo>
                <a:lnTo>
                  <a:pt x="6544517" y="645999"/>
                </a:lnTo>
                <a:lnTo>
                  <a:pt x="6557416" y="652449"/>
                </a:lnTo>
                <a:lnTo>
                  <a:pt x="6573539" y="610528"/>
                </a:lnTo>
                <a:lnTo>
                  <a:pt x="6583213" y="581505"/>
                </a:lnTo>
                <a:lnTo>
                  <a:pt x="6592887" y="578280"/>
                </a:lnTo>
                <a:lnTo>
                  <a:pt x="6589663" y="584730"/>
                </a:lnTo>
                <a:lnTo>
                  <a:pt x="6596113" y="594404"/>
                </a:lnTo>
                <a:lnTo>
                  <a:pt x="6609011" y="604078"/>
                </a:lnTo>
                <a:lnTo>
                  <a:pt x="6621911" y="610528"/>
                </a:lnTo>
                <a:lnTo>
                  <a:pt x="6634809" y="607302"/>
                </a:lnTo>
                <a:lnTo>
                  <a:pt x="6657381" y="594404"/>
                </a:lnTo>
                <a:lnTo>
                  <a:pt x="6666359" y="597995"/>
                </a:lnTo>
                <a:lnTo>
                  <a:pt x="6666359" y="1414174"/>
                </a:lnTo>
                <a:lnTo>
                  <a:pt x="6654157" y="1426376"/>
                </a:lnTo>
                <a:lnTo>
                  <a:pt x="6644483" y="1442500"/>
                </a:lnTo>
                <a:lnTo>
                  <a:pt x="6654157" y="1445724"/>
                </a:lnTo>
                <a:lnTo>
                  <a:pt x="6660606" y="1445724"/>
                </a:lnTo>
                <a:lnTo>
                  <a:pt x="6666359" y="1445724"/>
                </a:lnTo>
                <a:lnTo>
                  <a:pt x="6666359" y="1786321"/>
                </a:lnTo>
                <a:lnTo>
                  <a:pt x="6660606" y="1793992"/>
                </a:lnTo>
                <a:lnTo>
                  <a:pt x="6650932" y="1803666"/>
                </a:lnTo>
                <a:lnTo>
                  <a:pt x="6650932" y="1810115"/>
                </a:lnTo>
                <a:lnTo>
                  <a:pt x="6634809" y="1823014"/>
                </a:lnTo>
                <a:lnTo>
                  <a:pt x="6609011" y="1839137"/>
                </a:lnTo>
                <a:lnTo>
                  <a:pt x="6602561" y="1842361"/>
                </a:lnTo>
                <a:lnTo>
                  <a:pt x="6596113" y="1842361"/>
                </a:lnTo>
                <a:lnTo>
                  <a:pt x="6589663" y="1839137"/>
                </a:lnTo>
                <a:lnTo>
                  <a:pt x="6583213" y="1839137"/>
                </a:lnTo>
                <a:lnTo>
                  <a:pt x="6579989" y="1829463"/>
                </a:lnTo>
                <a:lnTo>
                  <a:pt x="6576764" y="1823014"/>
                </a:lnTo>
                <a:lnTo>
                  <a:pt x="6567090" y="1832687"/>
                </a:lnTo>
                <a:lnTo>
                  <a:pt x="6557416" y="1842361"/>
                </a:lnTo>
                <a:lnTo>
                  <a:pt x="6550967" y="1848811"/>
                </a:lnTo>
                <a:lnTo>
                  <a:pt x="6544517" y="1855261"/>
                </a:lnTo>
                <a:lnTo>
                  <a:pt x="6538069" y="1855261"/>
                </a:lnTo>
                <a:lnTo>
                  <a:pt x="6528395" y="1863322"/>
                </a:lnTo>
                <a:lnTo>
                  <a:pt x="6521945" y="1872997"/>
                </a:lnTo>
                <a:lnTo>
                  <a:pt x="6525169" y="1885896"/>
                </a:lnTo>
                <a:lnTo>
                  <a:pt x="6525169" y="1895570"/>
                </a:lnTo>
                <a:lnTo>
                  <a:pt x="6521945" y="1898794"/>
                </a:lnTo>
                <a:lnTo>
                  <a:pt x="6505821" y="1911693"/>
                </a:lnTo>
                <a:lnTo>
                  <a:pt x="6483248" y="1921367"/>
                </a:lnTo>
                <a:lnTo>
                  <a:pt x="6476799" y="1927817"/>
                </a:lnTo>
                <a:lnTo>
                  <a:pt x="6476799" y="1934267"/>
                </a:lnTo>
                <a:lnTo>
                  <a:pt x="6473575" y="1940715"/>
                </a:lnTo>
                <a:lnTo>
                  <a:pt x="6476799" y="1943941"/>
                </a:lnTo>
                <a:lnTo>
                  <a:pt x="6480024" y="1943941"/>
                </a:lnTo>
                <a:lnTo>
                  <a:pt x="6486473" y="1947165"/>
                </a:lnTo>
                <a:lnTo>
                  <a:pt x="6496147" y="1956838"/>
                </a:lnTo>
                <a:lnTo>
                  <a:pt x="6496147" y="1956839"/>
                </a:lnTo>
                <a:lnTo>
                  <a:pt x="6509045" y="1985860"/>
                </a:lnTo>
                <a:lnTo>
                  <a:pt x="6518719" y="2008434"/>
                </a:lnTo>
                <a:lnTo>
                  <a:pt x="6521944" y="2027781"/>
                </a:lnTo>
                <a:lnTo>
                  <a:pt x="6518719" y="2040681"/>
                </a:lnTo>
                <a:lnTo>
                  <a:pt x="6515494" y="2053579"/>
                </a:lnTo>
                <a:lnTo>
                  <a:pt x="6505821" y="2053579"/>
                </a:lnTo>
                <a:lnTo>
                  <a:pt x="6496147" y="2060028"/>
                </a:lnTo>
                <a:lnTo>
                  <a:pt x="6489697" y="2060028"/>
                </a:lnTo>
                <a:lnTo>
                  <a:pt x="6486471" y="2056803"/>
                </a:lnTo>
                <a:lnTo>
                  <a:pt x="6483247" y="2060028"/>
                </a:lnTo>
                <a:lnTo>
                  <a:pt x="6483247" y="2063253"/>
                </a:lnTo>
                <a:lnTo>
                  <a:pt x="6473573" y="2069702"/>
                </a:lnTo>
                <a:lnTo>
                  <a:pt x="6470349" y="2069702"/>
                </a:lnTo>
                <a:lnTo>
                  <a:pt x="6460674" y="2072927"/>
                </a:lnTo>
                <a:lnTo>
                  <a:pt x="6454225" y="2076152"/>
                </a:lnTo>
                <a:lnTo>
                  <a:pt x="6451000" y="2063253"/>
                </a:lnTo>
                <a:lnTo>
                  <a:pt x="6447776" y="2053579"/>
                </a:lnTo>
                <a:lnTo>
                  <a:pt x="6451000" y="2047129"/>
                </a:lnTo>
                <a:lnTo>
                  <a:pt x="6457449" y="2031006"/>
                </a:lnTo>
                <a:lnTo>
                  <a:pt x="6454225" y="2018107"/>
                </a:lnTo>
                <a:lnTo>
                  <a:pt x="6454225" y="2014882"/>
                </a:lnTo>
                <a:lnTo>
                  <a:pt x="6447776" y="2011658"/>
                </a:lnTo>
                <a:lnTo>
                  <a:pt x="6444551" y="2008434"/>
                </a:lnTo>
                <a:lnTo>
                  <a:pt x="6460674" y="2005208"/>
                </a:lnTo>
                <a:lnTo>
                  <a:pt x="6457449" y="1985860"/>
                </a:lnTo>
                <a:lnTo>
                  <a:pt x="6454225" y="1982635"/>
                </a:lnTo>
                <a:lnTo>
                  <a:pt x="6457449" y="1982635"/>
                </a:lnTo>
                <a:lnTo>
                  <a:pt x="6457449" y="1979412"/>
                </a:lnTo>
                <a:lnTo>
                  <a:pt x="6444551" y="1979412"/>
                </a:lnTo>
                <a:lnTo>
                  <a:pt x="6434877" y="1979412"/>
                </a:lnTo>
                <a:lnTo>
                  <a:pt x="6428428" y="1985861"/>
                </a:lnTo>
                <a:lnTo>
                  <a:pt x="6425204" y="1979412"/>
                </a:lnTo>
                <a:lnTo>
                  <a:pt x="6415530" y="1972962"/>
                </a:lnTo>
                <a:lnTo>
                  <a:pt x="6415530" y="1969738"/>
                </a:lnTo>
                <a:lnTo>
                  <a:pt x="6418754" y="1963288"/>
                </a:lnTo>
                <a:lnTo>
                  <a:pt x="6425204" y="1953614"/>
                </a:lnTo>
                <a:lnTo>
                  <a:pt x="6431653" y="1937491"/>
                </a:lnTo>
                <a:lnTo>
                  <a:pt x="6418754" y="1927817"/>
                </a:lnTo>
                <a:lnTo>
                  <a:pt x="6415530" y="1927817"/>
                </a:lnTo>
                <a:lnTo>
                  <a:pt x="6412305" y="1927817"/>
                </a:lnTo>
                <a:lnTo>
                  <a:pt x="6409081" y="1924592"/>
                </a:lnTo>
                <a:lnTo>
                  <a:pt x="6409081" y="1922335"/>
                </a:lnTo>
                <a:cubicBezTo>
                  <a:pt x="6408227" y="1922527"/>
                  <a:pt x="6407443" y="1922359"/>
                  <a:pt x="6406661" y="1922173"/>
                </a:cubicBezTo>
                <a:lnTo>
                  <a:pt x="6405693" y="1921528"/>
                </a:lnTo>
                <a:lnTo>
                  <a:pt x="6402631" y="1924591"/>
                </a:lnTo>
                <a:lnTo>
                  <a:pt x="6389733" y="1924591"/>
                </a:lnTo>
                <a:lnTo>
                  <a:pt x="6380059" y="1927816"/>
                </a:lnTo>
                <a:lnTo>
                  <a:pt x="6363934" y="1934266"/>
                </a:lnTo>
                <a:lnTo>
                  <a:pt x="6354260" y="1947164"/>
                </a:lnTo>
                <a:lnTo>
                  <a:pt x="6347811" y="1950389"/>
                </a:lnTo>
                <a:lnTo>
                  <a:pt x="6344586" y="1953613"/>
                </a:lnTo>
                <a:lnTo>
                  <a:pt x="6338137" y="1956838"/>
                </a:lnTo>
                <a:lnTo>
                  <a:pt x="6334913" y="1950389"/>
                </a:lnTo>
                <a:lnTo>
                  <a:pt x="6338137" y="1950389"/>
                </a:lnTo>
                <a:lnTo>
                  <a:pt x="6344586" y="1947164"/>
                </a:lnTo>
                <a:lnTo>
                  <a:pt x="6347811" y="1943939"/>
                </a:lnTo>
                <a:lnTo>
                  <a:pt x="6347811" y="1940714"/>
                </a:lnTo>
                <a:lnTo>
                  <a:pt x="6347811" y="1937490"/>
                </a:lnTo>
                <a:lnTo>
                  <a:pt x="6344586" y="1934266"/>
                </a:lnTo>
                <a:lnTo>
                  <a:pt x="6338137" y="1934266"/>
                </a:lnTo>
                <a:lnTo>
                  <a:pt x="6344586" y="1924591"/>
                </a:lnTo>
                <a:lnTo>
                  <a:pt x="6347811" y="1921366"/>
                </a:lnTo>
                <a:lnTo>
                  <a:pt x="6354260" y="1914917"/>
                </a:lnTo>
                <a:lnTo>
                  <a:pt x="6360709" y="1905243"/>
                </a:lnTo>
                <a:lnTo>
                  <a:pt x="6357485" y="1898793"/>
                </a:lnTo>
                <a:lnTo>
                  <a:pt x="6344586" y="1895569"/>
                </a:lnTo>
                <a:lnTo>
                  <a:pt x="6338137" y="1892345"/>
                </a:lnTo>
                <a:lnTo>
                  <a:pt x="6325239" y="1905243"/>
                </a:lnTo>
                <a:lnTo>
                  <a:pt x="6322013" y="1908467"/>
                </a:lnTo>
                <a:lnTo>
                  <a:pt x="6322013" y="1911692"/>
                </a:lnTo>
                <a:lnTo>
                  <a:pt x="6315565" y="1914917"/>
                </a:lnTo>
                <a:lnTo>
                  <a:pt x="6296215" y="1937490"/>
                </a:lnTo>
                <a:lnTo>
                  <a:pt x="6283317" y="1943939"/>
                </a:lnTo>
                <a:lnTo>
                  <a:pt x="6273643" y="1947164"/>
                </a:lnTo>
                <a:lnTo>
                  <a:pt x="6270418" y="1943939"/>
                </a:lnTo>
                <a:lnTo>
                  <a:pt x="6267194" y="1940714"/>
                </a:lnTo>
                <a:lnTo>
                  <a:pt x="6260745" y="1947164"/>
                </a:lnTo>
                <a:lnTo>
                  <a:pt x="6257520" y="1956838"/>
                </a:lnTo>
                <a:lnTo>
                  <a:pt x="6263969" y="1966513"/>
                </a:lnTo>
                <a:lnTo>
                  <a:pt x="6267194" y="1972961"/>
                </a:lnTo>
                <a:lnTo>
                  <a:pt x="6276868" y="1972961"/>
                </a:lnTo>
                <a:lnTo>
                  <a:pt x="6286541" y="1969737"/>
                </a:lnTo>
                <a:lnTo>
                  <a:pt x="6286541" y="1972961"/>
                </a:lnTo>
                <a:lnTo>
                  <a:pt x="6289767" y="1982635"/>
                </a:lnTo>
                <a:lnTo>
                  <a:pt x="6289767" y="1992310"/>
                </a:lnTo>
                <a:lnTo>
                  <a:pt x="6292991" y="1998759"/>
                </a:lnTo>
                <a:lnTo>
                  <a:pt x="6305891" y="1998759"/>
                </a:lnTo>
                <a:lnTo>
                  <a:pt x="6309115" y="1995534"/>
                </a:lnTo>
                <a:lnTo>
                  <a:pt x="6318789" y="1985860"/>
                </a:lnTo>
                <a:lnTo>
                  <a:pt x="6318789" y="1982635"/>
                </a:lnTo>
                <a:lnTo>
                  <a:pt x="6322013" y="1982635"/>
                </a:lnTo>
                <a:lnTo>
                  <a:pt x="6328463" y="1979411"/>
                </a:lnTo>
                <a:lnTo>
                  <a:pt x="6338137" y="1989085"/>
                </a:lnTo>
                <a:lnTo>
                  <a:pt x="6344586" y="1992310"/>
                </a:lnTo>
                <a:lnTo>
                  <a:pt x="6354260" y="1989085"/>
                </a:lnTo>
                <a:lnTo>
                  <a:pt x="6357485" y="1989085"/>
                </a:lnTo>
                <a:lnTo>
                  <a:pt x="6360709" y="1992310"/>
                </a:lnTo>
                <a:lnTo>
                  <a:pt x="6363934" y="1992310"/>
                </a:lnTo>
                <a:lnTo>
                  <a:pt x="6370383" y="1992310"/>
                </a:lnTo>
                <a:lnTo>
                  <a:pt x="6367159" y="1998759"/>
                </a:lnTo>
                <a:lnTo>
                  <a:pt x="6363934" y="2008434"/>
                </a:lnTo>
                <a:lnTo>
                  <a:pt x="6360709" y="2005208"/>
                </a:lnTo>
                <a:lnTo>
                  <a:pt x="6351036" y="2008434"/>
                </a:lnTo>
                <a:lnTo>
                  <a:pt x="6338137" y="2011658"/>
                </a:lnTo>
                <a:lnTo>
                  <a:pt x="6331688" y="2014882"/>
                </a:lnTo>
                <a:lnTo>
                  <a:pt x="6328463" y="2021332"/>
                </a:lnTo>
                <a:lnTo>
                  <a:pt x="6325239" y="2027781"/>
                </a:lnTo>
                <a:lnTo>
                  <a:pt x="6318789" y="2027781"/>
                </a:lnTo>
                <a:lnTo>
                  <a:pt x="6312339" y="2037455"/>
                </a:lnTo>
                <a:lnTo>
                  <a:pt x="6296215" y="2053579"/>
                </a:lnTo>
                <a:lnTo>
                  <a:pt x="6292991" y="2063253"/>
                </a:lnTo>
                <a:lnTo>
                  <a:pt x="6302665" y="2069702"/>
                </a:lnTo>
                <a:lnTo>
                  <a:pt x="6318789" y="2076152"/>
                </a:lnTo>
                <a:lnTo>
                  <a:pt x="6322013" y="2085826"/>
                </a:lnTo>
                <a:lnTo>
                  <a:pt x="6322013" y="2092275"/>
                </a:lnTo>
                <a:lnTo>
                  <a:pt x="6328463" y="2105174"/>
                </a:lnTo>
                <a:lnTo>
                  <a:pt x="6331688" y="2114849"/>
                </a:lnTo>
                <a:lnTo>
                  <a:pt x="6331688" y="2121297"/>
                </a:lnTo>
                <a:lnTo>
                  <a:pt x="6338137" y="2124522"/>
                </a:lnTo>
                <a:lnTo>
                  <a:pt x="6344586" y="2130971"/>
                </a:lnTo>
                <a:lnTo>
                  <a:pt x="6354260" y="2140646"/>
                </a:lnTo>
                <a:lnTo>
                  <a:pt x="6341362" y="2140646"/>
                </a:lnTo>
                <a:lnTo>
                  <a:pt x="6328463" y="2134196"/>
                </a:lnTo>
                <a:lnTo>
                  <a:pt x="6328463" y="2140646"/>
                </a:lnTo>
                <a:lnTo>
                  <a:pt x="6334913" y="2140646"/>
                </a:lnTo>
                <a:lnTo>
                  <a:pt x="6344586" y="2150320"/>
                </a:lnTo>
                <a:lnTo>
                  <a:pt x="6354260" y="2163218"/>
                </a:lnTo>
                <a:lnTo>
                  <a:pt x="6344586" y="2166443"/>
                </a:lnTo>
                <a:lnTo>
                  <a:pt x="6325239" y="2176117"/>
                </a:lnTo>
                <a:lnTo>
                  <a:pt x="6322013" y="2176117"/>
                </a:lnTo>
                <a:lnTo>
                  <a:pt x="6315565" y="2182567"/>
                </a:lnTo>
                <a:lnTo>
                  <a:pt x="6318789" y="2182567"/>
                </a:lnTo>
                <a:lnTo>
                  <a:pt x="6325239" y="2182567"/>
                </a:lnTo>
                <a:lnTo>
                  <a:pt x="6338137" y="2179342"/>
                </a:lnTo>
                <a:lnTo>
                  <a:pt x="6344586" y="2182567"/>
                </a:lnTo>
                <a:lnTo>
                  <a:pt x="6357485" y="2189017"/>
                </a:lnTo>
                <a:lnTo>
                  <a:pt x="6351036" y="2195465"/>
                </a:lnTo>
                <a:lnTo>
                  <a:pt x="6354260" y="2201915"/>
                </a:lnTo>
                <a:lnTo>
                  <a:pt x="6354260" y="2208364"/>
                </a:lnTo>
                <a:lnTo>
                  <a:pt x="6351036" y="2211589"/>
                </a:lnTo>
                <a:lnTo>
                  <a:pt x="6347811" y="2224488"/>
                </a:lnTo>
                <a:lnTo>
                  <a:pt x="6341362" y="2230937"/>
                </a:lnTo>
                <a:lnTo>
                  <a:pt x="6328463" y="2237386"/>
                </a:lnTo>
                <a:lnTo>
                  <a:pt x="6328463" y="2243836"/>
                </a:lnTo>
                <a:lnTo>
                  <a:pt x="6322013" y="2253510"/>
                </a:lnTo>
                <a:lnTo>
                  <a:pt x="6318789" y="2259959"/>
                </a:lnTo>
                <a:lnTo>
                  <a:pt x="6312339" y="2266409"/>
                </a:lnTo>
                <a:lnTo>
                  <a:pt x="6305891" y="2266409"/>
                </a:lnTo>
                <a:lnTo>
                  <a:pt x="6302665" y="2269633"/>
                </a:lnTo>
                <a:lnTo>
                  <a:pt x="6305891" y="2272858"/>
                </a:lnTo>
                <a:lnTo>
                  <a:pt x="6305891" y="2279307"/>
                </a:lnTo>
                <a:lnTo>
                  <a:pt x="6305891" y="2285757"/>
                </a:lnTo>
                <a:lnTo>
                  <a:pt x="6302665" y="2295430"/>
                </a:lnTo>
                <a:lnTo>
                  <a:pt x="6302665" y="2301880"/>
                </a:lnTo>
                <a:lnTo>
                  <a:pt x="6286541" y="2311554"/>
                </a:lnTo>
                <a:lnTo>
                  <a:pt x="6283317" y="2318004"/>
                </a:lnTo>
                <a:lnTo>
                  <a:pt x="6280093" y="2321229"/>
                </a:lnTo>
                <a:lnTo>
                  <a:pt x="6267194" y="2330903"/>
                </a:lnTo>
                <a:lnTo>
                  <a:pt x="6260745" y="2334127"/>
                </a:lnTo>
                <a:lnTo>
                  <a:pt x="6257520" y="2337352"/>
                </a:lnTo>
                <a:lnTo>
                  <a:pt x="6254295" y="2337352"/>
                </a:lnTo>
                <a:lnTo>
                  <a:pt x="6251071" y="2343801"/>
                </a:lnTo>
                <a:lnTo>
                  <a:pt x="6244621" y="2343801"/>
                </a:lnTo>
                <a:lnTo>
                  <a:pt x="6241397" y="2347026"/>
                </a:lnTo>
                <a:lnTo>
                  <a:pt x="6241397" y="2350251"/>
                </a:lnTo>
                <a:lnTo>
                  <a:pt x="6238172" y="2353475"/>
                </a:lnTo>
                <a:lnTo>
                  <a:pt x="6234947" y="2353475"/>
                </a:lnTo>
                <a:lnTo>
                  <a:pt x="6231723" y="2359925"/>
                </a:lnTo>
                <a:lnTo>
                  <a:pt x="6218823" y="2363150"/>
                </a:lnTo>
                <a:lnTo>
                  <a:pt x="6215599" y="2363150"/>
                </a:lnTo>
                <a:lnTo>
                  <a:pt x="6212373" y="2366374"/>
                </a:lnTo>
                <a:lnTo>
                  <a:pt x="6205925" y="2363150"/>
                </a:lnTo>
                <a:lnTo>
                  <a:pt x="6199475" y="2366374"/>
                </a:lnTo>
                <a:lnTo>
                  <a:pt x="6189801" y="2369598"/>
                </a:lnTo>
                <a:lnTo>
                  <a:pt x="6183352" y="2366374"/>
                </a:lnTo>
                <a:lnTo>
                  <a:pt x="6180127" y="2369598"/>
                </a:lnTo>
                <a:lnTo>
                  <a:pt x="6176903" y="2369598"/>
                </a:lnTo>
                <a:lnTo>
                  <a:pt x="6170453" y="2359925"/>
                </a:lnTo>
                <a:lnTo>
                  <a:pt x="6170453" y="2353475"/>
                </a:lnTo>
                <a:lnTo>
                  <a:pt x="6167229" y="2356700"/>
                </a:lnTo>
                <a:lnTo>
                  <a:pt x="6164004" y="2359925"/>
                </a:lnTo>
                <a:lnTo>
                  <a:pt x="6170453" y="2363150"/>
                </a:lnTo>
                <a:lnTo>
                  <a:pt x="6170453" y="2372824"/>
                </a:lnTo>
                <a:lnTo>
                  <a:pt x="6167229" y="2376048"/>
                </a:lnTo>
                <a:lnTo>
                  <a:pt x="6164004" y="2379273"/>
                </a:lnTo>
                <a:lnTo>
                  <a:pt x="6147881" y="2385722"/>
                </a:lnTo>
                <a:lnTo>
                  <a:pt x="6141431" y="2385722"/>
                </a:lnTo>
                <a:lnTo>
                  <a:pt x="6138206" y="2385722"/>
                </a:lnTo>
                <a:lnTo>
                  <a:pt x="6134981" y="2388947"/>
                </a:lnTo>
                <a:lnTo>
                  <a:pt x="6128532" y="2392172"/>
                </a:lnTo>
                <a:lnTo>
                  <a:pt x="6122082" y="2392172"/>
                </a:lnTo>
                <a:lnTo>
                  <a:pt x="6118858" y="2392172"/>
                </a:lnTo>
                <a:lnTo>
                  <a:pt x="6115633" y="2392172"/>
                </a:lnTo>
                <a:lnTo>
                  <a:pt x="6115633" y="2395397"/>
                </a:lnTo>
                <a:lnTo>
                  <a:pt x="6109184" y="2395397"/>
                </a:lnTo>
                <a:lnTo>
                  <a:pt x="6105960" y="2398621"/>
                </a:lnTo>
                <a:lnTo>
                  <a:pt x="6102735" y="2398621"/>
                </a:lnTo>
                <a:lnTo>
                  <a:pt x="6096285" y="2401845"/>
                </a:lnTo>
                <a:lnTo>
                  <a:pt x="6096285" y="2408295"/>
                </a:lnTo>
                <a:lnTo>
                  <a:pt x="6099510" y="2408295"/>
                </a:lnTo>
                <a:lnTo>
                  <a:pt x="6099510" y="2411520"/>
                </a:lnTo>
                <a:lnTo>
                  <a:pt x="6102735" y="2414745"/>
                </a:lnTo>
                <a:lnTo>
                  <a:pt x="6099510" y="2421194"/>
                </a:lnTo>
                <a:lnTo>
                  <a:pt x="6093061" y="2421194"/>
                </a:lnTo>
                <a:lnTo>
                  <a:pt x="6086611" y="2411520"/>
                </a:lnTo>
                <a:lnTo>
                  <a:pt x="6086611" y="2408295"/>
                </a:lnTo>
                <a:lnTo>
                  <a:pt x="6083387" y="2408295"/>
                </a:lnTo>
                <a:lnTo>
                  <a:pt x="6086611" y="2401845"/>
                </a:lnTo>
                <a:lnTo>
                  <a:pt x="6086611" y="2395397"/>
                </a:lnTo>
                <a:lnTo>
                  <a:pt x="6089837" y="2395397"/>
                </a:lnTo>
                <a:lnTo>
                  <a:pt x="6089837" y="2392172"/>
                </a:lnTo>
                <a:lnTo>
                  <a:pt x="6073713" y="2395397"/>
                </a:lnTo>
                <a:lnTo>
                  <a:pt x="6070487" y="2392172"/>
                </a:lnTo>
                <a:lnTo>
                  <a:pt x="6067263" y="2385722"/>
                </a:lnTo>
                <a:lnTo>
                  <a:pt x="6060813" y="2392172"/>
                </a:lnTo>
                <a:lnTo>
                  <a:pt x="6047915" y="2392172"/>
                </a:lnTo>
                <a:lnTo>
                  <a:pt x="6044690" y="2388947"/>
                </a:lnTo>
                <a:lnTo>
                  <a:pt x="6043884" y="2388947"/>
                </a:lnTo>
                <a:lnTo>
                  <a:pt x="6043883" y="2388948"/>
                </a:lnTo>
                <a:lnTo>
                  <a:pt x="6044690" y="2388948"/>
                </a:lnTo>
                <a:lnTo>
                  <a:pt x="6047915" y="2392173"/>
                </a:lnTo>
                <a:lnTo>
                  <a:pt x="6044690" y="2392173"/>
                </a:lnTo>
                <a:lnTo>
                  <a:pt x="6035016" y="2401847"/>
                </a:lnTo>
                <a:lnTo>
                  <a:pt x="6035016" y="2405072"/>
                </a:lnTo>
                <a:lnTo>
                  <a:pt x="6028567" y="2405072"/>
                </a:lnTo>
                <a:lnTo>
                  <a:pt x="6018893" y="2411520"/>
                </a:lnTo>
                <a:lnTo>
                  <a:pt x="6015669" y="2421195"/>
                </a:lnTo>
                <a:lnTo>
                  <a:pt x="6015669" y="2424420"/>
                </a:lnTo>
                <a:lnTo>
                  <a:pt x="6005993" y="2427644"/>
                </a:lnTo>
                <a:lnTo>
                  <a:pt x="6002769" y="2430869"/>
                </a:lnTo>
                <a:lnTo>
                  <a:pt x="5999545" y="2437319"/>
                </a:lnTo>
                <a:lnTo>
                  <a:pt x="5999545" y="2443767"/>
                </a:lnTo>
                <a:lnTo>
                  <a:pt x="5999545" y="2446993"/>
                </a:lnTo>
                <a:lnTo>
                  <a:pt x="5996319" y="2450217"/>
                </a:lnTo>
                <a:lnTo>
                  <a:pt x="5999545" y="2459891"/>
                </a:lnTo>
                <a:lnTo>
                  <a:pt x="6005993" y="2466341"/>
                </a:lnTo>
                <a:lnTo>
                  <a:pt x="6015669" y="2472790"/>
                </a:lnTo>
                <a:lnTo>
                  <a:pt x="6015669" y="2482464"/>
                </a:lnTo>
                <a:lnTo>
                  <a:pt x="6028567" y="2495363"/>
                </a:lnTo>
                <a:lnTo>
                  <a:pt x="6035016" y="2505037"/>
                </a:lnTo>
                <a:lnTo>
                  <a:pt x="6041465" y="2508262"/>
                </a:lnTo>
                <a:lnTo>
                  <a:pt x="6047915" y="2511487"/>
                </a:lnTo>
                <a:lnTo>
                  <a:pt x="6051139" y="2514711"/>
                </a:lnTo>
                <a:lnTo>
                  <a:pt x="6054364" y="2517935"/>
                </a:lnTo>
                <a:lnTo>
                  <a:pt x="6064038" y="2530835"/>
                </a:lnTo>
                <a:lnTo>
                  <a:pt x="6070487" y="2546958"/>
                </a:lnTo>
                <a:lnTo>
                  <a:pt x="6073713" y="2553408"/>
                </a:lnTo>
                <a:lnTo>
                  <a:pt x="6076937" y="2566306"/>
                </a:lnTo>
                <a:lnTo>
                  <a:pt x="6076937" y="2575980"/>
                </a:lnTo>
                <a:lnTo>
                  <a:pt x="6076937" y="2585655"/>
                </a:lnTo>
                <a:lnTo>
                  <a:pt x="6080161" y="2592103"/>
                </a:lnTo>
                <a:lnTo>
                  <a:pt x="6076937" y="2601778"/>
                </a:lnTo>
                <a:lnTo>
                  <a:pt x="6076937" y="2608227"/>
                </a:lnTo>
                <a:lnTo>
                  <a:pt x="6073713" y="2614677"/>
                </a:lnTo>
                <a:lnTo>
                  <a:pt x="6067263" y="2627576"/>
                </a:lnTo>
                <a:lnTo>
                  <a:pt x="6051139" y="2634024"/>
                </a:lnTo>
                <a:lnTo>
                  <a:pt x="6035016" y="2643699"/>
                </a:lnTo>
                <a:lnTo>
                  <a:pt x="6018893" y="2643699"/>
                </a:lnTo>
                <a:lnTo>
                  <a:pt x="6012443" y="2646924"/>
                </a:lnTo>
                <a:lnTo>
                  <a:pt x="6022117" y="2650148"/>
                </a:lnTo>
                <a:lnTo>
                  <a:pt x="6018893" y="2653373"/>
                </a:lnTo>
                <a:lnTo>
                  <a:pt x="6015669" y="2656598"/>
                </a:lnTo>
                <a:lnTo>
                  <a:pt x="6015669" y="2663047"/>
                </a:lnTo>
                <a:lnTo>
                  <a:pt x="6009219" y="2666271"/>
                </a:lnTo>
                <a:lnTo>
                  <a:pt x="6005993" y="2669497"/>
                </a:lnTo>
                <a:lnTo>
                  <a:pt x="5999545" y="2672721"/>
                </a:lnTo>
                <a:lnTo>
                  <a:pt x="5993095" y="2672721"/>
                </a:lnTo>
                <a:lnTo>
                  <a:pt x="5989870" y="2679171"/>
                </a:lnTo>
                <a:lnTo>
                  <a:pt x="5980196" y="2685620"/>
                </a:lnTo>
                <a:lnTo>
                  <a:pt x="5976971" y="2679171"/>
                </a:lnTo>
                <a:lnTo>
                  <a:pt x="5976971" y="2672721"/>
                </a:lnTo>
                <a:lnTo>
                  <a:pt x="5980196" y="2672721"/>
                </a:lnTo>
                <a:lnTo>
                  <a:pt x="5980196" y="2656598"/>
                </a:lnTo>
                <a:lnTo>
                  <a:pt x="5986645" y="2656598"/>
                </a:lnTo>
                <a:lnTo>
                  <a:pt x="5980196" y="2650148"/>
                </a:lnTo>
                <a:lnTo>
                  <a:pt x="5970522" y="2643699"/>
                </a:lnTo>
                <a:lnTo>
                  <a:pt x="5964073" y="2640474"/>
                </a:lnTo>
                <a:lnTo>
                  <a:pt x="5957624" y="2637250"/>
                </a:lnTo>
                <a:lnTo>
                  <a:pt x="5951174" y="2643699"/>
                </a:lnTo>
                <a:lnTo>
                  <a:pt x="5954399" y="2637250"/>
                </a:lnTo>
                <a:lnTo>
                  <a:pt x="5954399" y="2634024"/>
                </a:lnTo>
                <a:lnTo>
                  <a:pt x="5951174" y="2627576"/>
                </a:lnTo>
                <a:lnTo>
                  <a:pt x="5947949" y="2630800"/>
                </a:lnTo>
                <a:lnTo>
                  <a:pt x="5941501" y="2634024"/>
                </a:lnTo>
                <a:lnTo>
                  <a:pt x="5941501" y="2624350"/>
                </a:lnTo>
                <a:lnTo>
                  <a:pt x="5941501" y="2621126"/>
                </a:lnTo>
                <a:lnTo>
                  <a:pt x="5938275" y="2617902"/>
                </a:lnTo>
                <a:lnTo>
                  <a:pt x="5931825" y="2608227"/>
                </a:lnTo>
                <a:lnTo>
                  <a:pt x="5922151" y="2601778"/>
                </a:lnTo>
                <a:lnTo>
                  <a:pt x="5912477" y="2595329"/>
                </a:lnTo>
                <a:lnTo>
                  <a:pt x="5899580" y="2595329"/>
                </a:lnTo>
                <a:lnTo>
                  <a:pt x="5893130" y="2592103"/>
                </a:lnTo>
                <a:lnTo>
                  <a:pt x="5893130" y="2582430"/>
                </a:lnTo>
                <a:lnTo>
                  <a:pt x="5893130" y="2575980"/>
                </a:lnTo>
                <a:lnTo>
                  <a:pt x="5889905" y="2575980"/>
                </a:lnTo>
                <a:lnTo>
                  <a:pt x="5886680" y="2572756"/>
                </a:lnTo>
                <a:lnTo>
                  <a:pt x="5880231" y="2575980"/>
                </a:lnTo>
                <a:lnTo>
                  <a:pt x="5873781" y="2579205"/>
                </a:lnTo>
                <a:lnTo>
                  <a:pt x="5873781" y="2592103"/>
                </a:lnTo>
                <a:lnTo>
                  <a:pt x="5870557" y="2601778"/>
                </a:lnTo>
                <a:lnTo>
                  <a:pt x="5860883" y="2627576"/>
                </a:lnTo>
                <a:lnTo>
                  <a:pt x="5857658" y="2640474"/>
                </a:lnTo>
                <a:lnTo>
                  <a:pt x="5854433" y="2653373"/>
                </a:lnTo>
                <a:lnTo>
                  <a:pt x="5854433" y="2666271"/>
                </a:lnTo>
                <a:lnTo>
                  <a:pt x="5857658" y="2672721"/>
                </a:lnTo>
                <a:lnTo>
                  <a:pt x="5870557" y="2669497"/>
                </a:lnTo>
                <a:lnTo>
                  <a:pt x="5873781" y="2685620"/>
                </a:lnTo>
                <a:lnTo>
                  <a:pt x="5877006" y="2688845"/>
                </a:lnTo>
                <a:lnTo>
                  <a:pt x="5880231" y="2692070"/>
                </a:lnTo>
                <a:lnTo>
                  <a:pt x="5883456" y="2708192"/>
                </a:lnTo>
                <a:lnTo>
                  <a:pt x="5880231" y="2701744"/>
                </a:lnTo>
                <a:lnTo>
                  <a:pt x="5877006" y="2708192"/>
                </a:lnTo>
                <a:lnTo>
                  <a:pt x="5880231" y="2714642"/>
                </a:lnTo>
                <a:lnTo>
                  <a:pt x="5886680" y="2717867"/>
                </a:lnTo>
                <a:lnTo>
                  <a:pt x="5896354" y="2721092"/>
                </a:lnTo>
                <a:lnTo>
                  <a:pt x="5906028" y="2724316"/>
                </a:lnTo>
                <a:lnTo>
                  <a:pt x="5918927" y="2737215"/>
                </a:lnTo>
                <a:lnTo>
                  <a:pt x="5925377" y="2737215"/>
                </a:lnTo>
                <a:lnTo>
                  <a:pt x="5935051" y="2746889"/>
                </a:lnTo>
                <a:lnTo>
                  <a:pt x="5944725" y="2763013"/>
                </a:lnTo>
                <a:lnTo>
                  <a:pt x="5947949" y="2782360"/>
                </a:lnTo>
                <a:lnTo>
                  <a:pt x="5947949" y="2788810"/>
                </a:lnTo>
                <a:lnTo>
                  <a:pt x="5947949" y="2795260"/>
                </a:lnTo>
                <a:lnTo>
                  <a:pt x="5954399" y="2814607"/>
                </a:lnTo>
                <a:lnTo>
                  <a:pt x="5957624" y="2814607"/>
                </a:lnTo>
                <a:lnTo>
                  <a:pt x="5960848" y="2821057"/>
                </a:lnTo>
                <a:lnTo>
                  <a:pt x="5964073" y="2833956"/>
                </a:lnTo>
                <a:lnTo>
                  <a:pt x="5964073" y="2843630"/>
                </a:lnTo>
                <a:lnTo>
                  <a:pt x="5954399" y="2840406"/>
                </a:lnTo>
                <a:lnTo>
                  <a:pt x="5941501" y="2833956"/>
                </a:lnTo>
                <a:lnTo>
                  <a:pt x="5931825" y="2830731"/>
                </a:lnTo>
                <a:lnTo>
                  <a:pt x="5928601" y="2827507"/>
                </a:lnTo>
                <a:lnTo>
                  <a:pt x="5909254" y="2817833"/>
                </a:lnTo>
                <a:lnTo>
                  <a:pt x="5902804" y="2811383"/>
                </a:lnTo>
                <a:lnTo>
                  <a:pt x="5902804" y="2808159"/>
                </a:lnTo>
                <a:lnTo>
                  <a:pt x="5893130" y="2792035"/>
                </a:lnTo>
                <a:lnTo>
                  <a:pt x="5889905" y="2788810"/>
                </a:lnTo>
                <a:lnTo>
                  <a:pt x="5893130" y="2785586"/>
                </a:lnTo>
                <a:lnTo>
                  <a:pt x="5886680" y="2782360"/>
                </a:lnTo>
                <a:lnTo>
                  <a:pt x="5886680" y="2775912"/>
                </a:lnTo>
                <a:lnTo>
                  <a:pt x="5883456" y="2763013"/>
                </a:lnTo>
                <a:lnTo>
                  <a:pt x="5880231" y="2743665"/>
                </a:lnTo>
                <a:lnTo>
                  <a:pt x="5877006" y="2730765"/>
                </a:lnTo>
                <a:lnTo>
                  <a:pt x="5867333" y="2724316"/>
                </a:lnTo>
                <a:lnTo>
                  <a:pt x="5867333" y="2717867"/>
                </a:lnTo>
                <a:lnTo>
                  <a:pt x="5857658" y="2711418"/>
                </a:lnTo>
                <a:lnTo>
                  <a:pt x="5851209" y="2698518"/>
                </a:lnTo>
                <a:lnTo>
                  <a:pt x="5844759" y="2688845"/>
                </a:lnTo>
                <a:lnTo>
                  <a:pt x="5838310" y="2692070"/>
                </a:lnTo>
                <a:lnTo>
                  <a:pt x="5838310" y="2695294"/>
                </a:lnTo>
                <a:lnTo>
                  <a:pt x="5835086" y="2685620"/>
                </a:lnTo>
                <a:lnTo>
                  <a:pt x="5838310" y="2669497"/>
                </a:lnTo>
                <a:lnTo>
                  <a:pt x="5841535" y="2656598"/>
                </a:lnTo>
                <a:lnTo>
                  <a:pt x="5841535" y="2653373"/>
                </a:lnTo>
                <a:lnTo>
                  <a:pt x="5838310" y="2640474"/>
                </a:lnTo>
                <a:lnTo>
                  <a:pt x="5838310" y="2637250"/>
                </a:lnTo>
                <a:lnTo>
                  <a:pt x="5841535" y="2637250"/>
                </a:lnTo>
                <a:lnTo>
                  <a:pt x="5844759" y="2624350"/>
                </a:lnTo>
                <a:lnTo>
                  <a:pt x="5844759" y="2611452"/>
                </a:lnTo>
                <a:lnTo>
                  <a:pt x="5841535" y="2601778"/>
                </a:lnTo>
                <a:lnTo>
                  <a:pt x="5844759" y="2592103"/>
                </a:lnTo>
                <a:lnTo>
                  <a:pt x="5838310" y="2579205"/>
                </a:lnTo>
                <a:lnTo>
                  <a:pt x="5835086" y="2569531"/>
                </a:lnTo>
                <a:lnTo>
                  <a:pt x="5835086" y="2566306"/>
                </a:lnTo>
                <a:lnTo>
                  <a:pt x="5831860" y="2569531"/>
                </a:lnTo>
                <a:lnTo>
                  <a:pt x="5825412" y="2550182"/>
                </a:lnTo>
                <a:lnTo>
                  <a:pt x="5825412" y="2543734"/>
                </a:lnTo>
                <a:lnTo>
                  <a:pt x="5825412" y="2540509"/>
                </a:lnTo>
                <a:lnTo>
                  <a:pt x="5825412" y="2537284"/>
                </a:lnTo>
                <a:lnTo>
                  <a:pt x="5825412" y="2534059"/>
                </a:lnTo>
                <a:lnTo>
                  <a:pt x="5822186" y="2524385"/>
                </a:lnTo>
                <a:lnTo>
                  <a:pt x="5822186" y="2514711"/>
                </a:lnTo>
                <a:lnTo>
                  <a:pt x="5822186" y="2505037"/>
                </a:lnTo>
                <a:lnTo>
                  <a:pt x="5815737" y="2508262"/>
                </a:lnTo>
                <a:lnTo>
                  <a:pt x="5812512" y="2498588"/>
                </a:lnTo>
                <a:lnTo>
                  <a:pt x="5809288" y="2492138"/>
                </a:lnTo>
                <a:lnTo>
                  <a:pt x="5806063" y="2485688"/>
                </a:lnTo>
                <a:lnTo>
                  <a:pt x="5806063" y="2488914"/>
                </a:lnTo>
                <a:lnTo>
                  <a:pt x="5799613" y="2505037"/>
                </a:lnTo>
                <a:lnTo>
                  <a:pt x="5793165" y="2511487"/>
                </a:lnTo>
                <a:lnTo>
                  <a:pt x="5786715" y="2511487"/>
                </a:lnTo>
                <a:lnTo>
                  <a:pt x="5780265" y="2517935"/>
                </a:lnTo>
                <a:lnTo>
                  <a:pt x="5770591" y="2524385"/>
                </a:lnTo>
                <a:lnTo>
                  <a:pt x="5760918" y="2524385"/>
                </a:lnTo>
                <a:lnTo>
                  <a:pt x="5757692" y="2521161"/>
                </a:lnTo>
                <a:lnTo>
                  <a:pt x="5757692" y="2514711"/>
                </a:lnTo>
                <a:lnTo>
                  <a:pt x="5757692" y="2508262"/>
                </a:lnTo>
                <a:lnTo>
                  <a:pt x="5751244" y="2517935"/>
                </a:lnTo>
                <a:lnTo>
                  <a:pt x="5748018" y="2521161"/>
                </a:lnTo>
                <a:lnTo>
                  <a:pt x="5744794" y="2514711"/>
                </a:lnTo>
                <a:lnTo>
                  <a:pt x="5754468" y="2488914"/>
                </a:lnTo>
                <a:lnTo>
                  <a:pt x="5754468" y="2482464"/>
                </a:lnTo>
                <a:lnTo>
                  <a:pt x="5751244" y="2479240"/>
                </a:lnTo>
                <a:lnTo>
                  <a:pt x="5751244" y="2469566"/>
                </a:lnTo>
                <a:lnTo>
                  <a:pt x="5751244" y="2466341"/>
                </a:lnTo>
                <a:lnTo>
                  <a:pt x="5748018" y="2459891"/>
                </a:lnTo>
                <a:lnTo>
                  <a:pt x="5744794" y="2456667"/>
                </a:lnTo>
                <a:lnTo>
                  <a:pt x="5741569" y="2453442"/>
                </a:lnTo>
                <a:lnTo>
                  <a:pt x="5741569" y="2440543"/>
                </a:lnTo>
                <a:lnTo>
                  <a:pt x="5735120" y="2434094"/>
                </a:lnTo>
                <a:lnTo>
                  <a:pt x="5731895" y="2430869"/>
                </a:lnTo>
                <a:lnTo>
                  <a:pt x="5725445" y="2427644"/>
                </a:lnTo>
                <a:lnTo>
                  <a:pt x="5722221" y="2427644"/>
                </a:lnTo>
                <a:lnTo>
                  <a:pt x="5709323" y="2417970"/>
                </a:lnTo>
                <a:lnTo>
                  <a:pt x="5702873" y="2401847"/>
                </a:lnTo>
                <a:lnTo>
                  <a:pt x="5703730" y="2399277"/>
                </a:lnTo>
                <a:lnTo>
                  <a:pt x="5703730" y="2399276"/>
                </a:lnTo>
                <a:lnTo>
                  <a:pt x="5702873" y="2401845"/>
                </a:lnTo>
                <a:lnTo>
                  <a:pt x="5693199" y="2372824"/>
                </a:lnTo>
                <a:lnTo>
                  <a:pt x="5683524" y="2363150"/>
                </a:lnTo>
                <a:lnTo>
                  <a:pt x="5677076" y="2359925"/>
                </a:lnTo>
                <a:lnTo>
                  <a:pt x="5667401" y="2356700"/>
                </a:lnTo>
                <a:lnTo>
                  <a:pt x="5667401" y="2366374"/>
                </a:lnTo>
                <a:lnTo>
                  <a:pt x="5667401" y="2376048"/>
                </a:lnTo>
                <a:lnTo>
                  <a:pt x="5657727" y="2385722"/>
                </a:lnTo>
                <a:lnTo>
                  <a:pt x="5651278" y="2382498"/>
                </a:lnTo>
                <a:lnTo>
                  <a:pt x="5644829" y="2388947"/>
                </a:lnTo>
                <a:lnTo>
                  <a:pt x="5638379" y="2388947"/>
                </a:lnTo>
                <a:lnTo>
                  <a:pt x="5635155" y="2388947"/>
                </a:lnTo>
                <a:lnTo>
                  <a:pt x="5634913" y="2388222"/>
                </a:lnTo>
                <a:lnTo>
                  <a:pt x="5635155" y="2388948"/>
                </a:lnTo>
                <a:lnTo>
                  <a:pt x="5632735" y="2388948"/>
                </a:lnTo>
                <a:lnTo>
                  <a:pt x="5631929" y="2388948"/>
                </a:lnTo>
                <a:lnTo>
                  <a:pt x="5625480" y="2392173"/>
                </a:lnTo>
                <a:lnTo>
                  <a:pt x="5612582" y="2382499"/>
                </a:lnTo>
                <a:lnTo>
                  <a:pt x="5609356" y="2382499"/>
                </a:lnTo>
                <a:lnTo>
                  <a:pt x="5599682" y="2388948"/>
                </a:lnTo>
                <a:lnTo>
                  <a:pt x="5586784" y="2395398"/>
                </a:lnTo>
                <a:lnTo>
                  <a:pt x="5586784" y="2405072"/>
                </a:lnTo>
                <a:lnTo>
                  <a:pt x="5590008" y="2411520"/>
                </a:lnTo>
                <a:lnTo>
                  <a:pt x="5573885" y="2427644"/>
                </a:lnTo>
                <a:lnTo>
                  <a:pt x="5560987" y="2434094"/>
                </a:lnTo>
                <a:lnTo>
                  <a:pt x="5538414" y="2446993"/>
                </a:lnTo>
                <a:lnTo>
                  <a:pt x="5528740" y="2463116"/>
                </a:lnTo>
                <a:lnTo>
                  <a:pt x="5525514" y="2466341"/>
                </a:lnTo>
                <a:lnTo>
                  <a:pt x="5512616" y="2472790"/>
                </a:lnTo>
                <a:lnTo>
                  <a:pt x="5502942" y="2485688"/>
                </a:lnTo>
                <a:lnTo>
                  <a:pt x="5490043" y="2492138"/>
                </a:lnTo>
                <a:lnTo>
                  <a:pt x="5483593" y="2495363"/>
                </a:lnTo>
                <a:lnTo>
                  <a:pt x="5486819" y="2501812"/>
                </a:lnTo>
                <a:lnTo>
                  <a:pt x="5483593" y="2505037"/>
                </a:lnTo>
                <a:lnTo>
                  <a:pt x="5473920" y="2511487"/>
                </a:lnTo>
                <a:lnTo>
                  <a:pt x="5464246" y="2511487"/>
                </a:lnTo>
                <a:lnTo>
                  <a:pt x="5461021" y="2517935"/>
                </a:lnTo>
                <a:lnTo>
                  <a:pt x="5454572" y="2517935"/>
                </a:lnTo>
                <a:lnTo>
                  <a:pt x="5448122" y="2521161"/>
                </a:lnTo>
                <a:lnTo>
                  <a:pt x="5444898" y="2524385"/>
                </a:lnTo>
                <a:lnTo>
                  <a:pt x="5438448" y="2527610"/>
                </a:lnTo>
                <a:lnTo>
                  <a:pt x="5435223" y="2540509"/>
                </a:lnTo>
                <a:lnTo>
                  <a:pt x="5438448" y="2550182"/>
                </a:lnTo>
                <a:lnTo>
                  <a:pt x="5438448" y="2563082"/>
                </a:lnTo>
                <a:lnTo>
                  <a:pt x="5438448" y="2569531"/>
                </a:lnTo>
                <a:lnTo>
                  <a:pt x="5441673" y="2579205"/>
                </a:lnTo>
                <a:lnTo>
                  <a:pt x="5435223" y="2601778"/>
                </a:lnTo>
                <a:lnTo>
                  <a:pt x="5428774" y="2621126"/>
                </a:lnTo>
                <a:lnTo>
                  <a:pt x="5431999" y="2630800"/>
                </a:lnTo>
                <a:lnTo>
                  <a:pt x="5431999" y="2643699"/>
                </a:lnTo>
                <a:lnTo>
                  <a:pt x="5425549" y="2646924"/>
                </a:lnTo>
                <a:lnTo>
                  <a:pt x="5419099" y="2650148"/>
                </a:lnTo>
                <a:lnTo>
                  <a:pt x="5412651" y="2659823"/>
                </a:lnTo>
                <a:lnTo>
                  <a:pt x="5406201" y="2666271"/>
                </a:lnTo>
                <a:lnTo>
                  <a:pt x="5396527" y="2675946"/>
                </a:lnTo>
                <a:lnTo>
                  <a:pt x="5393302" y="2682395"/>
                </a:lnTo>
                <a:lnTo>
                  <a:pt x="5393302" y="2685620"/>
                </a:lnTo>
                <a:lnTo>
                  <a:pt x="5383628" y="2692070"/>
                </a:lnTo>
                <a:lnTo>
                  <a:pt x="5377178" y="2695294"/>
                </a:lnTo>
                <a:lnTo>
                  <a:pt x="5370730" y="2692070"/>
                </a:lnTo>
                <a:lnTo>
                  <a:pt x="5364280" y="2685620"/>
                </a:lnTo>
                <a:lnTo>
                  <a:pt x="5357831" y="2675946"/>
                </a:lnTo>
                <a:lnTo>
                  <a:pt x="5354606" y="2659823"/>
                </a:lnTo>
                <a:lnTo>
                  <a:pt x="5348157" y="2646924"/>
                </a:lnTo>
                <a:lnTo>
                  <a:pt x="5341707" y="2630800"/>
                </a:lnTo>
                <a:lnTo>
                  <a:pt x="5335258" y="2614677"/>
                </a:lnTo>
                <a:lnTo>
                  <a:pt x="5332033" y="2608227"/>
                </a:lnTo>
                <a:lnTo>
                  <a:pt x="5328809" y="2608227"/>
                </a:lnTo>
                <a:lnTo>
                  <a:pt x="5322359" y="2592103"/>
                </a:lnTo>
                <a:lnTo>
                  <a:pt x="5319134" y="2572756"/>
                </a:lnTo>
                <a:lnTo>
                  <a:pt x="5315910" y="2566306"/>
                </a:lnTo>
                <a:lnTo>
                  <a:pt x="5312685" y="2559856"/>
                </a:lnTo>
                <a:lnTo>
                  <a:pt x="5309460" y="2553408"/>
                </a:lnTo>
                <a:lnTo>
                  <a:pt x="5303010" y="2543734"/>
                </a:lnTo>
                <a:lnTo>
                  <a:pt x="5299786" y="2530835"/>
                </a:lnTo>
                <a:lnTo>
                  <a:pt x="5296562" y="2524385"/>
                </a:lnTo>
                <a:lnTo>
                  <a:pt x="5290112" y="2514711"/>
                </a:lnTo>
                <a:lnTo>
                  <a:pt x="5286887" y="2508262"/>
                </a:lnTo>
                <a:lnTo>
                  <a:pt x="5290112" y="2508262"/>
                </a:lnTo>
                <a:lnTo>
                  <a:pt x="5286887" y="2495363"/>
                </a:lnTo>
                <a:lnTo>
                  <a:pt x="5283663" y="2488914"/>
                </a:lnTo>
                <a:lnTo>
                  <a:pt x="5283663" y="2485688"/>
                </a:lnTo>
                <a:lnTo>
                  <a:pt x="5283663" y="2482464"/>
                </a:lnTo>
                <a:lnTo>
                  <a:pt x="5283663" y="2479240"/>
                </a:lnTo>
                <a:lnTo>
                  <a:pt x="5280438" y="2476015"/>
                </a:lnTo>
                <a:lnTo>
                  <a:pt x="5280438" y="2469566"/>
                </a:lnTo>
                <a:lnTo>
                  <a:pt x="5280438" y="2466341"/>
                </a:lnTo>
                <a:lnTo>
                  <a:pt x="5277213" y="2450217"/>
                </a:lnTo>
                <a:lnTo>
                  <a:pt x="5277213" y="2443767"/>
                </a:lnTo>
                <a:lnTo>
                  <a:pt x="5273989" y="2440543"/>
                </a:lnTo>
                <a:lnTo>
                  <a:pt x="5273989" y="2430869"/>
                </a:lnTo>
                <a:lnTo>
                  <a:pt x="5280438" y="2408296"/>
                </a:lnTo>
                <a:lnTo>
                  <a:pt x="5277213" y="2408296"/>
                </a:lnTo>
                <a:lnTo>
                  <a:pt x="5273989" y="2401847"/>
                </a:lnTo>
                <a:lnTo>
                  <a:pt x="5270763" y="2395398"/>
                </a:lnTo>
                <a:lnTo>
                  <a:pt x="5273989" y="2388948"/>
                </a:lnTo>
                <a:lnTo>
                  <a:pt x="5270763" y="2379274"/>
                </a:lnTo>
                <a:lnTo>
                  <a:pt x="5270763" y="2376049"/>
                </a:lnTo>
                <a:lnTo>
                  <a:pt x="5264315" y="2372825"/>
                </a:lnTo>
                <a:lnTo>
                  <a:pt x="5261090" y="2376049"/>
                </a:lnTo>
                <a:lnTo>
                  <a:pt x="5264315" y="2385723"/>
                </a:lnTo>
                <a:lnTo>
                  <a:pt x="5267539" y="2388948"/>
                </a:lnTo>
                <a:lnTo>
                  <a:pt x="5264315" y="2392173"/>
                </a:lnTo>
                <a:lnTo>
                  <a:pt x="5257865" y="2401847"/>
                </a:lnTo>
                <a:lnTo>
                  <a:pt x="5235292" y="2411520"/>
                </a:lnTo>
                <a:lnTo>
                  <a:pt x="5222394" y="2405072"/>
                </a:lnTo>
                <a:lnTo>
                  <a:pt x="5215944" y="2398622"/>
                </a:lnTo>
                <a:lnTo>
                  <a:pt x="5196597" y="2379274"/>
                </a:lnTo>
                <a:lnTo>
                  <a:pt x="5196597" y="2372825"/>
                </a:lnTo>
                <a:lnTo>
                  <a:pt x="5209495" y="2372825"/>
                </a:lnTo>
                <a:lnTo>
                  <a:pt x="5219169" y="2366375"/>
                </a:lnTo>
                <a:lnTo>
                  <a:pt x="5225618" y="2356701"/>
                </a:lnTo>
                <a:lnTo>
                  <a:pt x="5219169" y="2356701"/>
                </a:lnTo>
                <a:lnTo>
                  <a:pt x="5209495" y="2363151"/>
                </a:lnTo>
                <a:lnTo>
                  <a:pt x="5206270" y="2363151"/>
                </a:lnTo>
                <a:lnTo>
                  <a:pt x="5199821" y="2359926"/>
                </a:lnTo>
                <a:lnTo>
                  <a:pt x="5186922" y="2353476"/>
                </a:lnTo>
                <a:lnTo>
                  <a:pt x="5180473" y="2347027"/>
                </a:lnTo>
                <a:lnTo>
                  <a:pt x="5180473" y="2343802"/>
                </a:lnTo>
                <a:lnTo>
                  <a:pt x="5177248" y="2337352"/>
                </a:lnTo>
                <a:lnTo>
                  <a:pt x="5170798" y="2334128"/>
                </a:lnTo>
                <a:lnTo>
                  <a:pt x="5161124" y="2330904"/>
                </a:lnTo>
                <a:lnTo>
                  <a:pt x="5154675" y="2327679"/>
                </a:lnTo>
                <a:lnTo>
                  <a:pt x="5151450" y="2318005"/>
                </a:lnTo>
                <a:lnTo>
                  <a:pt x="5138551" y="2295432"/>
                </a:lnTo>
                <a:lnTo>
                  <a:pt x="5135327" y="2295432"/>
                </a:lnTo>
                <a:lnTo>
                  <a:pt x="5132102" y="2295432"/>
                </a:lnTo>
                <a:lnTo>
                  <a:pt x="5128877" y="2298657"/>
                </a:lnTo>
                <a:lnTo>
                  <a:pt x="5125653" y="2298657"/>
                </a:lnTo>
                <a:lnTo>
                  <a:pt x="5106305" y="2301881"/>
                </a:lnTo>
                <a:lnTo>
                  <a:pt x="5099855" y="2301881"/>
                </a:lnTo>
                <a:lnTo>
                  <a:pt x="5096630" y="2305106"/>
                </a:lnTo>
                <a:lnTo>
                  <a:pt x="5083732" y="2301881"/>
                </a:lnTo>
                <a:lnTo>
                  <a:pt x="5074058" y="2301881"/>
                </a:lnTo>
                <a:lnTo>
                  <a:pt x="5061159" y="2301881"/>
                </a:lnTo>
                <a:lnTo>
                  <a:pt x="5041811" y="2305106"/>
                </a:lnTo>
                <a:lnTo>
                  <a:pt x="5037904" y="2305106"/>
                </a:lnTo>
                <a:cubicBezTo>
                  <a:pt x="5036739" y="2305462"/>
                  <a:pt x="5035136" y="2305987"/>
                  <a:pt x="5032942" y="2306718"/>
                </a:cubicBezTo>
                <a:lnTo>
                  <a:pt x="5030255" y="2306046"/>
                </a:lnTo>
                <a:lnTo>
                  <a:pt x="5025687" y="2308330"/>
                </a:lnTo>
                <a:lnTo>
                  <a:pt x="5019238" y="2305105"/>
                </a:lnTo>
                <a:lnTo>
                  <a:pt x="5012788" y="2301880"/>
                </a:lnTo>
                <a:lnTo>
                  <a:pt x="5006339" y="2301880"/>
                </a:lnTo>
                <a:lnTo>
                  <a:pt x="4990216" y="2298656"/>
                </a:lnTo>
                <a:lnTo>
                  <a:pt x="4977317" y="2298656"/>
                </a:lnTo>
                <a:lnTo>
                  <a:pt x="4967643" y="2295430"/>
                </a:lnTo>
                <a:lnTo>
                  <a:pt x="4951519" y="2292206"/>
                </a:lnTo>
                <a:lnTo>
                  <a:pt x="4938620" y="2292206"/>
                </a:lnTo>
                <a:lnTo>
                  <a:pt x="4935396" y="2285757"/>
                </a:lnTo>
                <a:lnTo>
                  <a:pt x="4932172" y="2279307"/>
                </a:lnTo>
                <a:lnTo>
                  <a:pt x="4932172" y="2272858"/>
                </a:lnTo>
                <a:lnTo>
                  <a:pt x="4932172" y="2269633"/>
                </a:lnTo>
                <a:lnTo>
                  <a:pt x="4925722" y="2256735"/>
                </a:lnTo>
                <a:lnTo>
                  <a:pt x="4916048" y="2256735"/>
                </a:lnTo>
                <a:lnTo>
                  <a:pt x="4909599" y="2256735"/>
                </a:lnTo>
                <a:lnTo>
                  <a:pt x="4899925" y="2259959"/>
                </a:lnTo>
                <a:lnTo>
                  <a:pt x="4893475" y="2266409"/>
                </a:lnTo>
                <a:lnTo>
                  <a:pt x="4880576" y="2272858"/>
                </a:lnTo>
                <a:lnTo>
                  <a:pt x="4864452" y="2269633"/>
                </a:lnTo>
                <a:lnTo>
                  <a:pt x="4841880" y="2256735"/>
                </a:lnTo>
                <a:lnTo>
                  <a:pt x="4835431" y="2253510"/>
                </a:lnTo>
                <a:lnTo>
                  <a:pt x="4832205" y="2247061"/>
                </a:lnTo>
                <a:lnTo>
                  <a:pt x="4822531" y="2240611"/>
                </a:lnTo>
                <a:lnTo>
                  <a:pt x="4812857" y="2240611"/>
                </a:lnTo>
                <a:lnTo>
                  <a:pt x="4806408" y="2230937"/>
                </a:lnTo>
                <a:lnTo>
                  <a:pt x="4799959" y="2218038"/>
                </a:lnTo>
                <a:lnTo>
                  <a:pt x="4790284" y="2201915"/>
                </a:lnTo>
                <a:lnTo>
                  <a:pt x="4783836" y="2189017"/>
                </a:lnTo>
                <a:lnTo>
                  <a:pt x="4770936" y="2182567"/>
                </a:lnTo>
                <a:lnTo>
                  <a:pt x="4767712" y="2185791"/>
                </a:lnTo>
                <a:lnTo>
                  <a:pt x="4761263" y="2182567"/>
                </a:lnTo>
                <a:lnTo>
                  <a:pt x="4754813" y="2182567"/>
                </a:lnTo>
                <a:lnTo>
                  <a:pt x="4751589" y="2185791"/>
                </a:lnTo>
                <a:lnTo>
                  <a:pt x="4745139" y="2189017"/>
                </a:lnTo>
                <a:lnTo>
                  <a:pt x="4739986" y="2187728"/>
                </a:lnTo>
                <a:lnTo>
                  <a:pt x="4732240" y="2187082"/>
                </a:lnTo>
                <a:lnTo>
                  <a:pt x="4732240" y="2195465"/>
                </a:lnTo>
                <a:lnTo>
                  <a:pt x="4732240" y="2205139"/>
                </a:lnTo>
                <a:lnTo>
                  <a:pt x="4737188" y="2215035"/>
                </a:lnTo>
                <a:cubicBezTo>
                  <a:pt x="4740452" y="2219792"/>
                  <a:pt x="4741544" y="2221307"/>
                  <a:pt x="4741116" y="2222891"/>
                </a:cubicBezTo>
                <a:lnTo>
                  <a:pt x="4741915" y="2224488"/>
                </a:lnTo>
                <a:lnTo>
                  <a:pt x="4741219" y="2224488"/>
                </a:lnTo>
                <a:lnTo>
                  <a:pt x="4741219" y="2224489"/>
                </a:lnTo>
                <a:lnTo>
                  <a:pt x="4741914" y="2224489"/>
                </a:lnTo>
                <a:lnTo>
                  <a:pt x="4745138" y="2224489"/>
                </a:lnTo>
                <a:lnTo>
                  <a:pt x="4745138" y="2234163"/>
                </a:lnTo>
                <a:lnTo>
                  <a:pt x="4751588" y="2243837"/>
                </a:lnTo>
                <a:lnTo>
                  <a:pt x="4758037" y="2247062"/>
                </a:lnTo>
                <a:lnTo>
                  <a:pt x="4764486" y="2256736"/>
                </a:lnTo>
                <a:lnTo>
                  <a:pt x="4777385" y="2266410"/>
                </a:lnTo>
                <a:lnTo>
                  <a:pt x="4780609" y="2282533"/>
                </a:lnTo>
                <a:lnTo>
                  <a:pt x="4777385" y="2282533"/>
                </a:lnTo>
                <a:lnTo>
                  <a:pt x="4780609" y="2292207"/>
                </a:lnTo>
                <a:lnTo>
                  <a:pt x="4790283" y="2308331"/>
                </a:lnTo>
                <a:lnTo>
                  <a:pt x="4793509" y="2314780"/>
                </a:lnTo>
                <a:lnTo>
                  <a:pt x="4799958" y="2321230"/>
                </a:lnTo>
                <a:lnTo>
                  <a:pt x="4809632" y="2318005"/>
                </a:lnTo>
                <a:lnTo>
                  <a:pt x="4809632" y="2324454"/>
                </a:lnTo>
                <a:lnTo>
                  <a:pt x="4816082" y="2330904"/>
                </a:lnTo>
                <a:lnTo>
                  <a:pt x="4828981" y="2334128"/>
                </a:lnTo>
                <a:lnTo>
                  <a:pt x="4835431" y="2330904"/>
                </a:lnTo>
                <a:lnTo>
                  <a:pt x="4841880" y="2330904"/>
                </a:lnTo>
                <a:lnTo>
                  <a:pt x="4854778" y="2330904"/>
                </a:lnTo>
                <a:lnTo>
                  <a:pt x="4874127" y="2324454"/>
                </a:lnTo>
                <a:lnTo>
                  <a:pt x="4877351" y="2318005"/>
                </a:lnTo>
                <a:lnTo>
                  <a:pt x="4880576" y="2314780"/>
                </a:lnTo>
                <a:lnTo>
                  <a:pt x="4893475" y="2301881"/>
                </a:lnTo>
                <a:lnTo>
                  <a:pt x="4903149" y="2295432"/>
                </a:lnTo>
                <a:lnTo>
                  <a:pt x="4909599" y="2282533"/>
                </a:lnTo>
                <a:lnTo>
                  <a:pt x="4912823" y="2288983"/>
                </a:lnTo>
                <a:lnTo>
                  <a:pt x="4912823" y="2288982"/>
                </a:lnTo>
                <a:lnTo>
                  <a:pt x="4909599" y="2282532"/>
                </a:lnTo>
                <a:lnTo>
                  <a:pt x="4919272" y="2279307"/>
                </a:lnTo>
                <a:lnTo>
                  <a:pt x="4912823" y="2295430"/>
                </a:lnTo>
                <a:lnTo>
                  <a:pt x="4912823" y="2295432"/>
                </a:lnTo>
                <a:lnTo>
                  <a:pt x="4916048" y="2305106"/>
                </a:lnTo>
                <a:lnTo>
                  <a:pt x="4916048" y="2311555"/>
                </a:lnTo>
                <a:lnTo>
                  <a:pt x="4928946" y="2330904"/>
                </a:lnTo>
                <a:lnTo>
                  <a:pt x="4948294" y="2340578"/>
                </a:lnTo>
                <a:lnTo>
                  <a:pt x="4954744" y="2340578"/>
                </a:lnTo>
                <a:lnTo>
                  <a:pt x="4964418" y="2343802"/>
                </a:lnTo>
                <a:lnTo>
                  <a:pt x="4974093" y="2353476"/>
                </a:lnTo>
                <a:lnTo>
                  <a:pt x="4980541" y="2359926"/>
                </a:lnTo>
                <a:lnTo>
                  <a:pt x="4983767" y="2366375"/>
                </a:lnTo>
                <a:lnTo>
                  <a:pt x="4986991" y="2366375"/>
                </a:lnTo>
                <a:lnTo>
                  <a:pt x="4993440" y="2369600"/>
                </a:lnTo>
                <a:lnTo>
                  <a:pt x="4993440" y="2376049"/>
                </a:lnTo>
                <a:lnTo>
                  <a:pt x="4983767" y="2388948"/>
                </a:lnTo>
                <a:lnTo>
                  <a:pt x="4980541" y="2395398"/>
                </a:lnTo>
                <a:lnTo>
                  <a:pt x="4977317" y="2395398"/>
                </a:lnTo>
                <a:lnTo>
                  <a:pt x="4964418" y="2417970"/>
                </a:lnTo>
                <a:lnTo>
                  <a:pt x="4957969" y="2417970"/>
                </a:lnTo>
                <a:lnTo>
                  <a:pt x="4957969" y="2414746"/>
                </a:lnTo>
                <a:lnTo>
                  <a:pt x="4951519" y="2417970"/>
                </a:lnTo>
                <a:lnTo>
                  <a:pt x="4948294" y="2427644"/>
                </a:lnTo>
                <a:lnTo>
                  <a:pt x="4945070" y="2437319"/>
                </a:lnTo>
                <a:lnTo>
                  <a:pt x="4948294" y="2450217"/>
                </a:lnTo>
                <a:lnTo>
                  <a:pt x="4941846" y="2450217"/>
                </a:lnTo>
                <a:lnTo>
                  <a:pt x="4928946" y="2453442"/>
                </a:lnTo>
                <a:lnTo>
                  <a:pt x="4922497" y="2463116"/>
                </a:lnTo>
                <a:lnTo>
                  <a:pt x="4916048" y="2472790"/>
                </a:lnTo>
                <a:lnTo>
                  <a:pt x="4903149" y="2476015"/>
                </a:lnTo>
                <a:lnTo>
                  <a:pt x="4893475" y="2482464"/>
                </a:lnTo>
                <a:lnTo>
                  <a:pt x="4890250" y="2485688"/>
                </a:lnTo>
                <a:lnTo>
                  <a:pt x="4893475" y="2485688"/>
                </a:lnTo>
                <a:lnTo>
                  <a:pt x="4887025" y="2495363"/>
                </a:lnTo>
                <a:lnTo>
                  <a:pt x="4883801" y="2498588"/>
                </a:lnTo>
                <a:lnTo>
                  <a:pt x="4883801" y="2495363"/>
                </a:lnTo>
                <a:lnTo>
                  <a:pt x="4880576" y="2498588"/>
                </a:lnTo>
                <a:lnTo>
                  <a:pt x="4880576" y="2495363"/>
                </a:lnTo>
                <a:lnTo>
                  <a:pt x="4870902" y="2495363"/>
                </a:lnTo>
                <a:lnTo>
                  <a:pt x="4845104" y="2505037"/>
                </a:lnTo>
                <a:lnTo>
                  <a:pt x="4832205" y="2511487"/>
                </a:lnTo>
                <a:lnTo>
                  <a:pt x="4825757" y="2521161"/>
                </a:lnTo>
                <a:lnTo>
                  <a:pt x="4825757" y="2527610"/>
                </a:lnTo>
                <a:lnTo>
                  <a:pt x="4822531" y="2530835"/>
                </a:lnTo>
                <a:lnTo>
                  <a:pt x="4816082" y="2534059"/>
                </a:lnTo>
                <a:lnTo>
                  <a:pt x="4796734" y="2540509"/>
                </a:lnTo>
                <a:lnTo>
                  <a:pt x="4780610" y="2543734"/>
                </a:lnTo>
                <a:lnTo>
                  <a:pt x="4777386" y="2543734"/>
                </a:lnTo>
                <a:lnTo>
                  <a:pt x="4774161" y="2543734"/>
                </a:lnTo>
                <a:lnTo>
                  <a:pt x="4758037" y="2553408"/>
                </a:lnTo>
                <a:lnTo>
                  <a:pt x="4754813" y="2556632"/>
                </a:lnTo>
                <a:lnTo>
                  <a:pt x="4748363" y="2563082"/>
                </a:lnTo>
                <a:lnTo>
                  <a:pt x="4738689" y="2563082"/>
                </a:lnTo>
                <a:lnTo>
                  <a:pt x="4732240" y="2563082"/>
                </a:lnTo>
                <a:lnTo>
                  <a:pt x="4722566" y="2569531"/>
                </a:lnTo>
                <a:lnTo>
                  <a:pt x="4719342" y="2572756"/>
                </a:lnTo>
                <a:lnTo>
                  <a:pt x="4712892" y="2572756"/>
                </a:lnTo>
                <a:lnTo>
                  <a:pt x="4699993" y="2575980"/>
                </a:lnTo>
                <a:lnTo>
                  <a:pt x="4693544" y="2579205"/>
                </a:lnTo>
                <a:lnTo>
                  <a:pt x="4680645" y="2579205"/>
                </a:lnTo>
                <a:lnTo>
                  <a:pt x="4677421" y="2582430"/>
                </a:lnTo>
                <a:lnTo>
                  <a:pt x="4674195" y="2585655"/>
                </a:lnTo>
                <a:lnTo>
                  <a:pt x="4661297" y="2592103"/>
                </a:lnTo>
                <a:lnTo>
                  <a:pt x="4648398" y="2595329"/>
                </a:lnTo>
                <a:lnTo>
                  <a:pt x="4635500" y="2592103"/>
                </a:lnTo>
                <a:lnTo>
                  <a:pt x="4629050" y="2579205"/>
                </a:lnTo>
                <a:lnTo>
                  <a:pt x="4629050" y="2569531"/>
                </a:lnTo>
                <a:lnTo>
                  <a:pt x="4625825" y="2553408"/>
                </a:lnTo>
                <a:lnTo>
                  <a:pt x="4622601" y="2540509"/>
                </a:lnTo>
                <a:lnTo>
                  <a:pt x="4619376" y="2521161"/>
                </a:lnTo>
                <a:lnTo>
                  <a:pt x="4619376" y="2512292"/>
                </a:lnTo>
                <a:lnTo>
                  <a:pt x="4618962" y="2509836"/>
                </a:lnTo>
                <a:lnTo>
                  <a:pt x="4616150" y="2498588"/>
                </a:lnTo>
                <a:lnTo>
                  <a:pt x="4606476" y="2485688"/>
                </a:lnTo>
                <a:lnTo>
                  <a:pt x="4596802" y="2476015"/>
                </a:lnTo>
                <a:lnTo>
                  <a:pt x="4587128" y="2463116"/>
                </a:lnTo>
                <a:lnTo>
                  <a:pt x="4583903" y="2450217"/>
                </a:lnTo>
                <a:lnTo>
                  <a:pt x="4567779" y="2427644"/>
                </a:lnTo>
                <a:lnTo>
                  <a:pt x="4558105" y="2421195"/>
                </a:lnTo>
                <a:lnTo>
                  <a:pt x="4548431" y="2414746"/>
                </a:lnTo>
                <a:lnTo>
                  <a:pt x="4541982" y="2405072"/>
                </a:lnTo>
                <a:lnTo>
                  <a:pt x="4538758" y="2395398"/>
                </a:lnTo>
                <a:lnTo>
                  <a:pt x="4538758" y="2366375"/>
                </a:lnTo>
                <a:lnTo>
                  <a:pt x="4535533" y="2363151"/>
                </a:lnTo>
                <a:lnTo>
                  <a:pt x="4532308" y="2353476"/>
                </a:lnTo>
                <a:lnTo>
                  <a:pt x="4525858" y="2343802"/>
                </a:lnTo>
                <a:lnTo>
                  <a:pt x="4519410" y="2334128"/>
                </a:lnTo>
                <a:lnTo>
                  <a:pt x="4509735" y="2330904"/>
                </a:lnTo>
                <a:lnTo>
                  <a:pt x="4500061" y="2321230"/>
                </a:lnTo>
                <a:lnTo>
                  <a:pt x="4496837" y="2314780"/>
                </a:lnTo>
                <a:lnTo>
                  <a:pt x="4496837" y="2308331"/>
                </a:lnTo>
                <a:lnTo>
                  <a:pt x="4480713" y="2282533"/>
                </a:lnTo>
                <a:lnTo>
                  <a:pt x="4464590" y="2259960"/>
                </a:lnTo>
                <a:lnTo>
                  <a:pt x="4461364" y="2250286"/>
                </a:lnTo>
                <a:lnTo>
                  <a:pt x="4458140" y="2247062"/>
                </a:lnTo>
                <a:lnTo>
                  <a:pt x="4451690" y="2237387"/>
                </a:lnTo>
                <a:lnTo>
                  <a:pt x="4445241" y="2234163"/>
                </a:lnTo>
                <a:lnTo>
                  <a:pt x="4442016" y="2234163"/>
                </a:lnTo>
                <a:lnTo>
                  <a:pt x="4442016" y="2230939"/>
                </a:lnTo>
                <a:lnTo>
                  <a:pt x="4445241" y="2221264"/>
                </a:lnTo>
                <a:lnTo>
                  <a:pt x="4448466" y="2201916"/>
                </a:lnTo>
                <a:lnTo>
                  <a:pt x="4451596" y="2202438"/>
                </a:lnTo>
                <a:lnTo>
                  <a:pt x="4448467" y="2201916"/>
                </a:lnTo>
                <a:lnTo>
                  <a:pt x="4448467" y="2198691"/>
                </a:lnTo>
                <a:lnTo>
                  <a:pt x="4445242" y="2198691"/>
                </a:lnTo>
                <a:lnTo>
                  <a:pt x="4438792" y="2214815"/>
                </a:lnTo>
                <a:lnTo>
                  <a:pt x="4438792" y="2224489"/>
                </a:lnTo>
                <a:lnTo>
                  <a:pt x="4435568" y="2230939"/>
                </a:lnTo>
                <a:lnTo>
                  <a:pt x="4435568" y="2237387"/>
                </a:lnTo>
                <a:lnTo>
                  <a:pt x="4432344" y="2240612"/>
                </a:lnTo>
                <a:lnTo>
                  <a:pt x="4432344" y="2243837"/>
                </a:lnTo>
                <a:lnTo>
                  <a:pt x="4425894" y="2240612"/>
                </a:lnTo>
                <a:lnTo>
                  <a:pt x="4416220" y="2227713"/>
                </a:lnTo>
                <a:lnTo>
                  <a:pt x="4409771" y="2218039"/>
                </a:lnTo>
                <a:lnTo>
                  <a:pt x="4409771" y="2214815"/>
                </a:lnTo>
                <a:lnTo>
                  <a:pt x="4406545" y="2211590"/>
                </a:lnTo>
                <a:lnTo>
                  <a:pt x="4406545" y="2208365"/>
                </a:lnTo>
                <a:lnTo>
                  <a:pt x="4400097" y="2205140"/>
                </a:lnTo>
                <a:lnTo>
                  <a:pt x="4396687" y="2196617"/>
                </a:lnTo>
                <a:lnTo>
                  <a:pt x="4396684" y="2196607"/>
                </a:lnTo>
                <a:lnTo>
                  <a:pt x="4393648" y="2189019"/>
                </a:lnTo>
                <a:lnTo>
                  <a:pt x="4390424" y="2192243"/>
                </a:lnTo>
                <a:lnTo>
                  <a:pt x="4390424" y="2198693"/>
                </a:lnTo>
                <a:lnTo>
                  <a:pt x="4400098" y="2218040"/>
                </a:lnTo>
                <a:lnTo>
                  <a:pt x="4403322" y="2218040"/>
                </a:lnTo>
                <a:lnTo>
                  <a:pt x="4404124" y="2219643"/>
                </a:lnTo>
                <a:lnTo>
                  <a:pt x="4404125" y="2219647"/>
                </a:lnTo>
                <a:lnTo>
                  <a:pt x="4409771" y="2230939"/>
                </a:lnTo>
                <a:lnTo>
                  <a:pt x="4416220" y="2240612"/>
                </a:lnTo>
                <a:lnTo>
                  <a:pt x="4416220" y="2241419"/>
                </a:lnTo>
                <a:lnTo>
                  <a:pt x="4416221" y="2241421"/>
                </a:lnTo>
                <a:lnTo>
                  <a:pt x="4416221" y="2247063"/>
                </a:lnTo>
                <a:lnTo>
                  <a:pt x="4422671" y="2259962"/>
                </a:lnTo>
                <a:lnTo>
                  <a:pt x="4425895" y="2272861"/>
                </a:lnTo>
                <a:lnTo>
                  <a:pt x="4442019" y="2301883"/>
                </a:lnTo>
                <a:lnTo>
                  <a:pt x="4458142" y="2327681"/>
                </a:lnTo>
                <a:lnTo>
                  <a:pt x="4461366" y="2353478"/>
                </a:lnTo>
                <a:lnTo>
                  <a:pt x="4467816" y="2363152"/>
                </a:lnTo>
                <a:lnTo>
                  <a:pt x="4474266" y="2366377"/>
                </a:lnTo>
                <a:lnTo>
                  <a:pt x="4483940" y="2376051"/>
                </a:lnTo>
                <a:lnTo>
                  <a:pt x="4490389" y="2379276"/>
                </a:lnTo>
                <a:lnTo>
                  <a:pt x="4493613" y="2395399"/>
                </a:lnTo>
                <a:lnTo>
                  <a:pt x="4496839" y="2414747"/>
                </a:lnTo>
                <a:lnTo>
                  <a:pt x="4496839" y="2427646"/>
                </a:lnTo>
                <a:lnTo>
                  <a:pt x="4500063" y="2450219"/>
                </a:lnTo>
                <a:lnTo>
                  <a:pt x="4503287" y="2456669"/>
                </a:lnTo>
                <a:lnTo>
                  <a:pt x="4509737" y="2456669"/>
                </a:lnTo>
                <a:lnTo>
                  <a:pt x="4509737" y="2459893"/>
                </a:lnTo>
                <a:lnTo>
                  <a:pt x="4512962" y="2459893"/>
                </a:lnTo>
                <a:lnTo>
                  <a:pt x="4516187" y="2463117"/>
                </a:lnTo>
                <a:lnTo>
                  <a:pt x="4516187" y="2466343"/>
                </a:lnTo>
                <a:lnTo>
                  <a:pt x="4525860" y="2472792"/>
                </a:lnTo>
                <a:lnTo>
                  <a:pt x="4535534" y="2488915"/>
                </a:lnTo>
                <a:lnTo>
                  <a:pt x="4538760" y="2505038"/>
                </a:lnTo>
                <a:lnTo>
                  <a:pt x="4541984" y="2521162"/>
                </a:lnTo>
                <a:lnTo>
                  <a:pt x="4554883" y="2537285"/>
                </a:lnTo>
                <a:lnTo>
                  <a:pt x="4561332" y="2543735"/>
                </a:lnTo>
                <a:lnTo>
                  <a:pt x="4564557" y="2543735"/>
                </a:lnTo>
                <a:lnTo>
                  <a:pt x="4567781" y="2543735"/>
                </a:lnTo>
                <a:lnTo>
                  <a:pt x="4583905" y="2553409"/>
                </a:lnTo>
                <a:lnTo>
                  <a:pt x="4596804" y="2566308"/>
                </a:lnTo>
                <a:lnTo>
                  <a:pt x="4603254" y="2572758"/>
                </a:lnTo>
                <a:lnTo>
                  <a:pt x="4616152" y="2585656"/>
                </a:lnTo>
                <a:lnTo>
                  <a:pt x="4625826" y="2592106"/>
                </a:lnTo>
                <a:lnTo>
                  <a:pt x="4632275" y="2608229"/>
                </a:lnTo>
                <a:lnTo>
                  <a:pt x="4625826" y="2611453"/>
                </a:lnTo>
                <a:lnTo>
                  <a:pt x="4616152" y="2614679"/>
                </a:lnTo>
                <a:lnTo>
                  <a:pt x="4616152" y="2617903"/>
                </a:lnTo>
                <a:lnTo>
                  <a:pt x="4629051" y="2621128"/>
                </a:lnTo>
                <a:lnTo>
                  <a:pt x="4632275" y="2624353"/>
                </a:lnTo>
                <a:lnTo>
                  <a:pt x="4635500" y="2627577"/>
                </a:lnTo>
                <a:lnTo>
                  <a:pt x="4641949" y="2637252"/>
                </a:lnTo>
                <a:lnTo>
                  <a:pt x="4654849" y="2643700"/>
                </a:lnTo>
                <a:lnTo>
                  <a:pt x="4667747" y="2643700"/>
                </a:lnTo>
                <a:lnTo>
                  <a:pt x="4680646" y="2637252"/>
                </a:lnTo>
                <a:lnTo>
                  <a:pt x="4693544" y="2637252"/>
                </a:lnTo>
                <a:lnTo>
                  <a:pt x="4703219" y="2637252"/>
                </a:lnTo>
                <a:lnTo>
                  <a:pt x="4709668" y="2634026"/>
                </a:lnTo>
                <a:lnTo>
                  <a:pt x="4712893" y="2630802"/>
                </a:lnTo>
                <a:lnTo>
                  <a:pt x="4729017" y="2627577"/>
                </a:lnTo>
                <a:lnTo>
                  <a:pt x="4738691" y="2627577"/>
                </a:lnTo>
                <a:lnTo>
                  <a:pt x="4741915" y="2624353"/>
                </a:lnTo>
                <a:lnTo>
                  <a:pt x="4751589" y="2627577"/>
                </a:lnTo>
                <a:lnTo>
                  <a:pt x="4777387" y="2621128"/>
                </a:lnTo>
                <a:lnTo>
                  <a:pt x="4787061" y="2614679"/>
                </a:lnTo>
                <a:lnTo>
                  <a:pt x="4790285" y="2611453"/>
                </a:lnTo>
                <a:lnTo>
                  <a:pt x="4803185" y="2611453"/>
                </a:lnTo>
                <a:lnTo>
                  <a:pt x="4803185" y="2621128"/>
                </a:lnTo>
                <a:lnTo>
                  <a:pt x="4799959" y="2627577"/>
                </a:lnTo>
                <a:lnTo>
                  <a:pt x="4799959" y="2634026"/>
                </a:lnTo>
                <a:lnTo>
                  <a:pt x="4803185" y="2640476"/>
                </a:lnTo>
                <a:lnTo>
                  <a:pt x="4799959" y="2643700"/>
                </a:lnTo>
                <a:lnTo>
                  <a:pt x="4796735" y="2653375"/>
                </a:lnTo>
                <a:lnTo>
                  <a:pt x="4793510" y="2663049"/>
                </a:lnTo>
                <a:lnTo>
                  <a:pt x="4790285" y="2672723"/>
                </a:lnTo>
                <a:lnTo>
                  <a:pt x="4780611" y="2692071"/>
                </a:lnTo>
                <a:lnTo>
                  <a:pt x="4767712" y="2711420"/>
                </a:lnTo>
                <a:lnTo>
                  <a:pt x="4758038" y="2730768"/>
                </a:lnTo>
                <a:lnTo>
                  <a:pt x="4754814" y="2737217"/>
                </a:lnTo>
                <a:lnTo>
                  <a:pt x="4751589" y="2746891"/>
                </a:lnTo>
                <a:lnTo>
                  <a:pt x="4722567" y="2785588"/>
                </a:lnTo>
                <a:lnTo>
                  <a:pt x="4693544" y="2814609"/>
                </a:lnTo>
                <a:lnTo>
                  <a:pt x="4651623" y="2843632"/>
                </a:lnTo>
                <a:lnTo>
                  <a:pt x="4635500" y="2856530"/>
                </a:lnTo>
                <a:lnTo>
                  <a:pt x="4622602" y="2872654"/>
                </a:lnTo>
                <a:lnTo>
                  <a:pt x="4616152" y="2875879"/>
                </a:lnTo>
                <a:lnTo>
                  <a:pt x="4600028" y="2892003"/>
                </a:lnTo>
                <a:lnTo>
                  <a:pt x="4590355" y="2908126"/>
                </a:lnTo>
                <a:lnTo>
                  <a:pt x="4587130" y="2914575"/>
                </a:lnTo>
                <a:lnTo>
                  <a:pt x="4580681" y="2917800"/>
                </a:lnTo>
                <a:lnTo>
                  <a:pt x="4567781" y="2927474"/>
                </a:lnTo>
                <a:lnTo>
                  <a:pt x="4561332" y="2930698"/>
                </a:lnTo>
                <a:lnTo>
                  <a:pt x="4561332" y="2937148"/>
                </a:lnTo>
                <a:lnTo>
                  <a:pt x="4551658" y="2959721"/>
                </a:lnTo>
                <a:lnTo>
                  <a:pt x="4548434" y="2966171"/>
                </a:lnTo>
                <a:lnTo>
                  <a:pt x="4545208" y="2972620"/>
                </a:lnTo>
                <a:lnTo>
                  <a:pt x="4538760" y="2975845"/>
                </a:lnTo>
                <a:lnTo>
                  <a:pt x="4538760" y="2982294"/>
                </a:lnTo>
                <a:lnTo>
                  <a:pt x="4535534" y="2995192"/>
                </a:lnTo>
                <a:lnTo>
                  <a:pt x="4532310" y="3004867"/>
                </a:lnTo>
                <a:lnTo>
                  <a:pt x="4532310" y="3011316"/>
                </a:lnTo>
                <a:lnTo>
                  <a:pt x="4535534" y="3014541"/>
                </a:lnTo>
                <a:lnTo>
                  <a:pt x="4541984" y="3017766"/>
                </a:lnTo>
                <a:lnTo>
                  <a:pt x="4541984" y="3020990"/>
                </a:lnTo>
                <a:lnTo>
                  <a:pt x="4545208" y="3030665"/>
                </a:lnTo>
                <a:lnTo>
                  <a:pt x="4541984" y="3033889"/>
                </a:lnTo>
                <a:lnTo>
                  <a:pt x="4545208" y="3046788"/>
                </a:lnTo>
                <a:lnTo>
                  <a:pt x="4541984" y="3053237"/>
                </a:lnTo>
                <a:lnTo>
                  <a:pt x="4541984" y="3059687"/>
                </a:lnTo>
                <a:lnTo>
                  <a:pt x="4548434" y="3072586"/>
                </a:lnTo>
                <a:lnTo>
                  <a:pt x="4554883" y="3091934"/>
                </a:lnTo>
                <a:lnTo>
                  <a:pt x="4561332" y="3095159"/>
                </a:lnTo>
                <a:lnTo>
                  <a:pt x="4567781" y="3101607"/>
                </a:lnTo>
                <a:lnTo>
                  <a:pt x="4571007" y="3104833"/>
                </a:lnTo>
                <a:lnTo>
                  <a:pt x="4567781" y="3117731"/>
                </a:lnTo>
                <a:lnTo>
                  <a:pt x="4567781" y="3127405"/>
                </a:lnTo>
                <a:lnTo>
                  <a:pt x="4567781" y="3133855"/>
                </a:lnTo>
                <a:lnTo>
                  <a:pt x="4567781" y="3137080"/>
                </a:lnTo>
                <a:lnTo>
                  <a:pt x="4567781" y="3143528"/>
                </a:lnTo>
                <a:lnTo>
                  <a:pt x="4567781" y="3146754"/>
                </a:lnTo>
                <a:lnTo>
                  <a:pt x="4571007" y="3146754"/>
                </a:lnTo>
                <a:lnTo>
                  <a:pt x="4571007" y="3149978"/>
                </a:lnTo>
                <a:lnTo>
                  <a:pt x="4571007" y="3153203"/>
                </a:lnTo>
                <a:lnTo>
                  <a:pt x="4567781" y="3156428"/>
                </a:lnTo>
                <a:lnTo>
                  <a:pt x="4571007" y="3166102"/>
                </a:lnTo>
                <a:lnTo>
                  <a:pt x="4571007" y="3172551"/>
                </a:lnTo>
                <a:lnTo>
                  <a:pt x="4574231" y="3188675"/>
                </a:lnTo>
                <a:lnTo>
                  <a:pt x="4577455" y="3195124"/>
                </a:lnTo>
                <a:lnTo>
                  <a:pt x="4574231" y="3201573"/>
                </a:lnTo>
                <a:lnTo>
                  <a:pt x="4571007" y="3208022"/>
                </a:lnTo>
                <a:lnTo>
                  <a:pt x="4571007" y="3211248"/>
                </a:lnTo>
                <a:lnTo>
                  <a:pt x="4564557" y="3220922"/>
                </a:lnTo>
                <a:lnTo>
                  <a:pt x="4545208" y="3240270"/>
                </a:lnTo>
                <a:lnTo>
                  <a:pt x="4538760" y="3246719"/>
                </a:lnTo>
                <a:lnTo>
                  <a:pt x="4532310" y="3249943"/>
                </a:lnTo>
                <a:lnTo>
                  <a:pt x="4519411" y="3253169"/>
                </a:lnTo>
                <a:lnTo>
                  <a:pt x="4496839" y="3266067"/>
                </a:lnTo>
                <a:lnTo>
                  <a:pt x="4490389" y="3275742"/>
                </a:lnTo>
                <a:lnTo>
                  <a:pt x="4483940" y="3282190"/>
                </a:lnTo>
                <a:lnTo>
                  <a:pt x="4480715" y="3282190"/>
                </a:lnTo>
                <a:lnTo>
                  <a:pt x="4474266" y="3291865"/>
                </a:lnTo>
                <a:lnTo>
                  <a:pt x="4474266" y="3288640"/>
                </a:lnTo>
                <a:lnTo>
                  <a:pt x="4464592" y="3295090"/>
                </a:lnTo>
                <a:lnTo>
                  <a:pt x="4461366" y="3301539"/>
                </a:lnTo>
                <a:lnTo>
                  <a:pt x="4445243" y="3314438"/>
                </a:lnTo>
                <a:lnTo>
                  <a:pt x="4442019" y="3320887"/>
                </a:lnTo>
                <a:lnTo>
                  <a:pt x="4442019" y="3327337"/>
                </a:lnTo>
                <a:lnTo>
                  <a:pt x="4445243" y="3333786"/>
                </a:lnTo>
                <a:lnTo>
                  <a:pt x="4448468" y="3340235"/>
                </a:lnTo>
                <a:lnTo>
                  <a:pt x="4451693" y="3340235"/>
                </a:lnTo>
                <a:lnTo>
                  <a:pt x="4448468" y="3346685"/>
                </a:lnTo>
                <a:lnTo>
                  <a:pt x="4451693" y="3353134"/>
                </a:lnTo>
                <a:lnTo>
                  <a:pt x="4458142" y="3366033"/>
                </a:lnTo>
                <a:lnTo>
                  <a:pt x="4458142" y="3369258"/>
                </a:lnTo>
                <a:lnTo>
                  <a:pt x="4461366" y="3369258"/>
                </a:lnTo>
                <a:lnTo>
                  <a:pt x="4458142" y="3382157"/>
                </a:lnTo>
                <a:lnTo>
                  <a:pt x="4458142" y="3395055"/>
                </a:lnTo>
                <a:lnTo>
                  <a:pt x="4458142" y="3404729"/>
                </a:lnTo>
                <a:lnTo>
                  <a:pt x="4458142" y="3414403"/>
                </a:lnTo>
                <a:lnTo>
                  <a:pt x="4451693" y="3424078"/>
                </a:lnTo>
                <a:lnTo>
                  <a:pt x="4435569" y="3430526"/>
                </a:lnTo>
                <a:lnTo>
                  <a:pt x="4416221" y="3440201"/>
                </a:lnTo>
                <a:lnTo>
                  <a:pt x="4396873" y="3456325"/>
                </a:lnTo>
                <a:lnTo>
                  <a:pt x="4396873" y="3459549"/>
                </a:lnTo>
                <a:lnTo>
                  <a:pt x="4400098" y="3465999"/>
                </a:lnTo>
                <a:lnTo>
                  <a:pt x="4403322" y="3478897"/>
                </a:lnTo>
                <a:lnTo>
                  <a:pt x="4396873" y="3498246"/>
                </a:lnTo>
                <a:lnTo>
                  <a:pt x="4393648" y="3514369"/>
                </a:lnTo>
                <a:lnTo>
                  <a:pt x="4390424" y="3524043"/>
                </a:lnTo>
                <a:lnTo>
                  <a:pt x="4383974" y="3527268"/>
                </a:lnTo>
                <a:lnTo>
                  <a:pt x="4371075" y="3536942"/>
                </a:lnTo>
                <a:lnTo>
                  <a:pt x="4364626" y="3549841"/>
                </a:lnTo>
                <a:lnTo>
                  <a:pt x="4361401" y="3556290"/>
                </a:lnTo>
                <a:lnTo>
                  <a:pt x="4345277" y="3582088"/>
                </a:lnTo>
                <a:lnTo>
                  <a:pt x="4335604" y="3591762"/>
                </a:lnTo>
                <a:lnTo>
                  <a:pt x="4325930" y="3601436"/>
                </a:lnTo>
                <a:lnTo>
                  <a:pt x="4306582" y="3624009"/>
                </a:lnTo>
                <a:lnTo>
                  <a:pt x="4280784" y="3643357"/>
                </a:lnTo>
                <a:lnTo>
                  <a:pt x="4254986" y="3653032"/>
                </a:lnTo>
                <a:lnTo>
                  <a:pt x="4245312" y="3653032"/>
                </a:lnTo>
                <a:lnTo>
                  <a:pt x="4245312" y="3662705"/>
                </a:lnTo>
                <a:lnTo>
                  <a:pt x="4232414" y="3659480"/>
                </a:lnTo>
                <a:lnTo>
                  <a:pt x="4225964" y="3662705"/>
                </a:lnTo>
                <a:lnTo>
                  <a:pt x="4219515" y="3665930"/>
                </a:lnTo>
                <a:lnTo>
                  <a:pt x="4213065" y="3662705"/>
                </a:lnTo>
                <a:lnTo>
                  <a:pt x="4203391" y="3662705"/>
                </a:lnTo>
                <a:lnTo>
                  <a:pt x="4193717" y="3662705"/>
                </a:lnTo>
                <a:lnTo>
                  <a:pt x="4174369" y="3662705"/>
                </a:lnTo>
                <a:lnTo>
                  <a:pt x="4161470" y="3669155"/>
                </a:lnTo>
                <a:lnTo>
                  <a:pt x="4155020" y="3672379"/>
                </a:lnTo>
                <a:lnTo>
                  <a:pt x="4148572" y="3672379"/>
                </a:lnTo>
                <a:lnTo>
                  <a:pt x="4135673" y="3672379"/>
                </a:lnTo>
                <a:lnTo>
                  <a:pt x="4129223" y="3675604"/>
                </a:lnTo>
                <a:lnTo>
                  <a:pt x="4119549" y="3682053"/>
                </a:lnTo>
                <a:lnTo>
                  <a:pt x="4103426" y="3675604"/>
                </a:lnTo>
                <a:lnTo>
                  <a:pt x="4096976" y="3669155"/>
                </a:lnTo>
                <a:lnTo>
                  <a:pt x="4093752" y="3662705"/>
                </a:lnTo>
                <a:lnTo>
                  <a:pt x="4087302" y="3662705"/>
                </a:lnTo>
                <a:lnTo>
                  <a:pt x="4084078" y="3659480"/>
                </a:lnTo>
                <a:lnTo>
                  <a:pt x="4084078" y="3649806"/>
                </a:lnTo>
                <a:lnTo>
                  <a:pt x="4077628" y="3636908"/>
                </a:lnTo>
                <a:lnTo>
                  <a:pt x="4071179" y="3630458"/>
                </a:lnTo>
                <a:lnTo>
                  <a:pt x="4077628" y="3630458"/>
                </a:lnTo>
                <a:lnTo>
                  <a:pt x="4084078" y="3617559"/>
                </a:lnTo>
                <a:lnTo>
                  <a:pt x="4080853" y="3601436"/>
                </a:lnTo>
                <a:lnTo>
                  <a:pt x="4064729" y="3578864"/>
                </a:lnTo>
                <a:lnTo>
                  <a:pt x="4058280" y="3562740"/>
                </a:lnTo>
                <a:lnTo>
                  <a:pt x="4055055" y="3549841"/>
                </a:lnTo>
                <a:lnTo>
                  <a:pt x="4042157" y="3520818"/>
                </a:lnTo>
                <a:lnTo>
                  <a:pt x="4032483" y="3514369"/>
                </a:lnTo>
                <a:lnTo>
                  <a:pt x="4022808" y="3501470"/>
                </a:lnTo>
                <a:lnTo>
                  <a:pt x="4013134" y="3485347"/>
                </a:lnTo>
                <a:lnTo>
                  <a:pt x="4013134" y="3475673"/>
                </a:lnTo>
                <a:lnTo>
                  <a:pt x="4009910" y="3469223"/>
                </a:lnTo>
                <a:lnTo>
                  <a:pt x="4009910" y="3465999"/>
                </a:lnTo>
                <a:lnTo>
                  <a:pt x="4006685" y="3462773"/>
                </a:lnTo>
                <a:lnTo>
                  <a:pt x="4006685" y="3459549"/>
                </a:lnTo>
                <a:lnTo>
                  <a:pt x="4006685" y="3446650"/>
                </a:lnTo>
                <a:lnTo>
                  <a:pt x="4006685" y="3440201"/>
                </a:lnTo>
                <a:lnTo>
                  <a:pt x="4006685" y="3436976"/>
                </a:lnTo>
                <a:lnTo>
                  <a:pt x="4003460" y="3430526"/>
                </a:lnTo>
                <a:lnTo>
                  <a:pt x="3997011" y="3411179"/>
                </a:lnTo>
                <a:lnTo>
                  <a:pt x="4000236" y="3404729"/>
                </a:lnTo>
                <a:lnTo>
                  <a:pt x="4000236" y="3398280"/>
                </a:lnTo>
                <a:lnTo>
                  <a:pt x="3997011" y="3391831"/>
                </a:lnTo>
                <a:lnTo>
                  <a:pt x="4000236" y="3378932"/>
                </a:lnTo>
                <a:lnTo>
                  <a:pt x="3993786" y="3362808"/>
                </a:lnTo>
                <a:lnTo>
                  <a:pt x="3980887" y="3346685"/>
                </a:lnTo>
                <a:lnTo>
                  <a:pt x="3974439" y="3337011"/>
                </a:lnTo>
                <a:lnTo>
                  <a:pt x="3967989" y="3317663"/>
                </a:lnTo>
                <a:lnTo>
                  <a:pt x="3955090" y="3295090"/>
                </a:lnTo>
                <a:lnTo>
                  <a:pt x="3951865" y="3288640"/>
                </a:lnTo>
                <a:lnTo>
                  <a:pt x="3942192" y="3275742"/>
                </a:lnTo>
                <a:lnTo>
                  <a:pt x="3938966" y="3266067"/>
                </a:lnTo>
                <a:lnTo>
                  <a:pt x="3938966" y="3253169"/>
                </a:lnTo>
                <a:lnTo>
                  <a:pt x="3938966" y="3233820"/>
                </a:lnTo>
                <a:lnTo>
                  <a:pt x="3938966" y="3224146"/>
                </a:lnTo>
                <a:lnTo>
                  <a:pt x="3942192" y="3217696"/>
                </a:lnTo>
                <a:lnTo>
                  <a:pt x="3948640" y="3201573"/>
                </a:lnTo>
                <a:lnTo>
                  <a:pt x="3951865" y="3185450"/>
                </a:lnTo>
                <a:lnTo>
                  <a:pt x="3955090" y="3166102"/>
                </a:lnTo>
                <a:lnTo>
                  <a:pt x="3958315" y="3162877"/>
                </a:lnTo>
                <a:lnTo>
                  <a:pt x="3964764" y="3156428"/>
                </a:lnTo>
                <a:lnTo>
                  <a:pt x="3964764" y="3153203"/>
                </a:lnTo>
                <a:lnTo>
                  <a:pt x="3971213" y="3149978"/>
                </a:lnTo>
                <a:lnTo>
                  <a:pt x="3977663" y="3146754"/>
                </a:lnTo>
                <a:lnTo>
                  <a:pt x="3980887" y="3133855"/>
                </a:lnTo>
                <a:lnTo>
                  <a:pt x="3984112" y="3120956"/>
                </a:lnTo>
                <a:lnTo>
                  <a:pt x="3984112" y="3111281"/>
                </a:lnTo>
                <a:lnTo>
                  <a:pt x="3980887" y="3101607"/>
                </a:lnTo>
                <a:lnTo>
                  <a:pt x="3977663" y="3095159"/>
                </a:lnTo>
                <a:lnTo>
                  <a:pt x="3967989" y="3075810"/>
                </a:lnTo>
                <a:lnTo>
                  <a:pt x="3974439" y="3056462"/>
                </a:lnTo>
                <a:lnTo>
                  <a:pt x="3967989" y="3043563"/>
                </a:lnTo>
                <a:lnTo>
                  <a:pt x="3961539" y="3030665"/>
                </a:lnTo>
                <a:lnTo>
                  <a:pt x="3955090" y="3017766"/>
                </a:lnTo>
                <a:lnTo>
                  <a:pt x="3951865" y="3004867"/>
                </a:lnTo>
                <a:lnTo>
                  <a:pt x="3951865" y="3001642"/>
                </a:lnTo>
                <a:lnTo>
                  <a:pt x="3948640" y="2998418"/>
                </a:lnTo>
                <a:lnTo>
                  <a:pt x="3945416" y="2985519"/>
                </a:lnTo>
                <a:lnTo>
                  <a:pt x="3945416" y="2982294"/>
                </a:lnTo>
                <a:lnTo>
                  <a:pt x="3935742" y="2969395"/>
                </a:lnTo>
                <a:lnTo>
                  <a:pt x="3926068" y="2959721"/>
                </a:lnTo>
                <a:lnTo>
                  <a:pt x="3926816" y="2958598"/>
                </a:lnTo>
                <a:lnTo>
                  <a:pt x="3926067" y="2959721"/>
                </a:lnTo>
                <a:lnTo>
                  <a:pt x="3914780" y="2946822"/>
                </a:lnTo>
                <a:lnTo>
                  <a:pt x="3908332" y="2937148"/>
                </a:lnTo>
                <a:lnTo>
                  <a:pt x="3905106" y="2933924"/>
                </a:lnTo>
                <a:lnTo>
                  <a:pt x="3895433" y="2924250"/>
                </a:lnTo>
                <a:lnTo>
                  <a:pt x="3892208" y="2924250"/>
                </a:lnTo>
                <a:lnTo>
                  <a:pt x="3879309" y="2898452"/>
                </a:lnTo>
                <a:lnTo>
                  <a:pt x="3879309" y="2892003"/>
                </a:lnTo>
                <a:lnTo>
                  <a:pt x="3882533" y="2885553"/>
                </a:lnTo>
                <a:lnTo>
                  <a:pt x="3885759" y="2879104"/>
                </a:lnTo>
                <a:lnTo>
                  <a:pt x="3888983" y="2869430"/>
                </a:lnTo>
                <a:lnTo>
                  <a:pt x="3888983" y="2862980"/>
                </a:lnTo>
                <a:lnTo>
                  <a:pt x="3885759" y="2859756"/>
                </a:lnTo>
                <a:lnTo>
                  <a:pt x="3888983" y="2853306"/>
                </a:lnTo>
                <a:lnTo>
                  <a:pt x="3892611" y="2852098"/>
                </a:lnTo>
                <a:lnTo>
                  <a:pt x="3893821" y="2848468"/>
                </a:lnTo>
                <a:lnTo>
                  <a:pt x="3888983" y="2846855"/>
                </a:lnTo>
                <a:lnTo>
                  <a:pt x="3888983" y="2840406"/>
                </a:lnTo>
                <a:lnTo>
                  <a:pt x="3895433" y="2837182"/>
                </a:lnTo>
                <a:lnTo>
                  <a:pt x="3895433" y="2827508"/>
                </a:lnTo>
                <a:lnTo>
                  <a:pt x="3898657" y="2821058"/>
                </a:lnTo>
                <a:lnTo>
                  <a:pt x="3898657" y="2801711"/>
                </a:lnTo>
                <a:lnTo>
                  <a:pt x="3898657" y="2792037"/>
                </a:lnTo>
                <a:lnTo>
                  <a:pt x="3892208" y="2792037"/>
                </a:lnTo>
                <a:lnTo>
                  <a:pt x="3892208" y="2788812"/>
                </a:lnTo>
                <a:lnTo>
                  <a:pt x="3885759" y="2785588"/>
                </a:lnTo>
                <a:lnTo>
                  <a:pt x="3879309" y="2779138"/>
                </a:lnTo>
                <a:lnTo>
                  <a:pt x="3872859" y="2769464"/>
                </a:lnTo>
                <a:lnTo>
                  <a:pt x="3869635" y="2766239"/>
                </a:lnTo>
                <a:lnTo>
                  <a:pt x="3866411" y="2766239"/>
                </a:lnTo>
                <a:lnTo>
                  <a:pt x="3863186" y="2766239"/>
                </a:lnTo>
                <a:lnTo>
                  <a:pt x="3863186" y="2772689"/>
                </a:lnTo>
                <a:lnTo>
                  <a:pt x="3856736" y="2772689"/>
                </a:lnTo>
                <a:lnTo>
                  <a:pt x="3853512" y="2772689"/>
                </a:lnTo>
                <a:lnTo>
                  <a:pt x="3847062" y="2769464"/>
                </a:lnTo>
                <a:lnTo>
                  <a:pt x="3818040" y="2775914"/>
                </a:lnTo>
                <a:lnTo>
                  <a:pt x="3814815" y="2775914"/>
                </a:lnTo>
                <a:lnTo>
                  <a:pt x="3808366" y="2775914"/>
                </a:lnTo>
                <a:lnTo>
                  <a:pt x="3805141" y="2769464"/>
                </a:lnTo>
                <a:lnTo>
                  <a:pt x="3801917" y="2766239"/>
                </a:lnTo>
                <a:lnTo>
                  <a:pt x="3801917" y="2759790"/>
                </a:lnTo>
                <a:lnTo>
                  <a:pt x="3795467" y="2743667"/>
                </a:lnTo>
                <a:lnTo>
                  <a:pt x="3785793" y="2740442"/>
                </a:lnTo>
                <a:lnTo>
                  <a:pt x="3779344" y="2733992"/>
                </a:lnTo>
                <a:lnTo>
                  <a:pt x="3756771" y="2727543"/>
                </a:lnTo>
                <a:lnTo>
                  <a:pt x="3756771" y="2730768"/>
                </a:lnTo>
                <a:lnTo>
                  <a:pt x="3750322" y="2733992"/>
                </a:lnTo>
                <a:lnTo>
                  <a:pt x="3740647" y="2733992"/>
                </a:lnTo>
                <a:lnTo>
                  <a:pt x="3737423" y="2733992"/>
                </a:lnTo>
                <a:lnTo>
                  <a:pt x="3724523" y="2733992"/>
                </a:lnTo>
                <a:lnTo>
                  <a:pt x="3721299" y="2733992"/>
                </a:lnTo>
                <a:lnTo>
                  <a:pt x="3708400" y="2740442"/>
                </a:lnTo>
                <a:lnTo>
                  <a:pt x="3701951" y="2746891"/>
                </a:lnTo>
                <a:lnTo>
                  <a:pt x="3698726" y="2746891"/>
                </a:lnTo>
                <a:lnTo>
                  <a:pt x="3695502" y="2746891"/>
                </a:lnTo>
                <a:lnTo>
                  <a:pt x="3692277" y="2746891"/>
                </a:lnTo>
                <a:lnTo>
                  <a:pt x="3682603" y="2750115"/>
                </a:lnTo>
                <a:lnTo>
                  <a:pt x="3647131" y="2763015"/>
                </a:lnTo>
                <a:lnTo>
                  <a:pt x="3640682" y="2769464"/>
                </a:lnTo>
                <a:lnTo>
                  <a:pt x="3631008" y="2766239"/>
                </a:lnTo>
                <a:lnTo>
                  <a:pt x="3618110" y="2759790"/>
                </a:lnTo>
                <a:lnTo>
                  <a:pt x="3566514" y="2759790"/>
                </a:lnTo>
                <a:lnTo>
                  <a:pt x="3550390" y="2763015"/>
                </a:lnTo>
                <a:lnTo>
                  <a:pt x="3534267" y="2769464"/>
                </a:lnTo>
                <a:lnTo>
                  <a:pt x="3518143" y="2775914"/>
                </a:lnTo>
                <a:lnTo>
                  <a:pt x="3492346" y="2769464"/>
                </a:lnTo>
                <a:lnTo>
                  <a:pt x="3472998" y="2753341"/>
                </a:lnTo>
                <a:lnTo>
                  <a:pt x="3460099" y="2743667"/>
                </a:lnTo>
                <a:lnTo>
                  <a:pt x="3450425" y="2737217"/>
                </a:lnTo>
                <a:lnTo>
                  <a:pt x="3447200" y="2733992"/>
                </a:lnTo>
                <a:lnTo>
                  <a:pt x="3443976" y="2730768"/>
                </a:lnTo>
                <a:lnTo>
                  <a:pt x="3440751" y="2727543"/>
                </a:lnTo>
                <a:lnTo>
                  <a:pt x="3431077" y="2721094"/>
                </a:lnTo>
                <a:lnTo>
                  <a:pt x="3427853" y="2721094"/>
                </a:lnTo>
                <a:lnTo>
                  <a:pt x="3411729" y="2711420"/>
                </a:lnTo>
                <a:lnTo>
                  <a:pt x="3405279" y="2704970"/>
                </a:lnTo>
                <a:lnTo>
                  <a:pt x="3395606" y="2698521"/>
                </a:lnTo>
                <a:lnTo>
                  <a:pt x="3392380" y="2685622"/>
                </a:lnTo>
                <a:lnTo>
                  <a:pt x="3392380" y="2675947"/>
                </a:lnTo>
                <a:lnTo>
                  <a:pt x="3382706" y="2656600"/>
                </a:lnTo>
                <a:lnTo>
                  <a:pt x="3382706" y="2653375"/>
                </a:lnTo>
                <a:lnTo>
                  <a:pt x="3376257" y="2650150"/>
                </a:lnTo>
                <a:lnTo>
                  <a:pt x="3369808" y="2650150"/>
                </a:lnTo>
                <a:lnTo>
                  <a:pt x="3363359" y="2643700"/>
                </a:lnTo>
                <a:lnTo>
                  <a:pt x="3360133" y="2640476"/>
                </a:lnTo>
                <a:lnTo>
                  <a:pt x="3353685" y="2637252"/>
                </a:lnTo>
                <a:lnTo>
                  <a:pt x="3353685" y="2634026"/>
                </a:lnTo>
                <a:lnTo>
                  <a:pt x="3353685" y="2630802"/>
                </a:lnTo>
                <a:lnTo>
                  <a:pt x="3350459" y="2630802"/>
                </a:lnTo>
                <a:lnTo>
                  <a:pt x="3344010" y="2627577"/>
                </a:lnTo>
                <a:lnTo>
                  <a:pt x="3344010" y="2621128"/>
                </a:lnTo>
                <a:lnTo>
                  <a:pt x="3344010" y="2617903"/>
                </a:lnTo>
                <a:lnTo>
                  <a:pt x="3340785" y="2614679"/>
                </a:lnTo>
                <a:lnTo>
                  <a:pt x="3340785" y="2611453"/>
                </a:lnTo>
                <a:lnTo>
                  <a:pt x="3334336" y="2614679"/>
                </a:lnTo>
                <a:lnTo>
                  <a:pt x="3324662" y="2608229"/>
                </a:lnTo>
                <a:lnTo>
                  <a:pt x="3331112" y="2601779"/>
                </a:lnTo>
                <a:lnTo>
                  <a:pt x="3314988" y="2601779"/>
                </a:lnTo>
                <a:lnTo>
                  <a:pt x="3314988" y="2595330"/>
                </a:lnTo>
                <a:lnTo>
                  <a:pt x="3314988" y="2585656"/>
                </a:lnTo>
                <a:lnTo>
                  <a:pt x="3314988" y="2579207"/>
                </a:lnTo>
                <a:lnTo>
                  <a:pt x="3318212" y="2575982"/>
                </a:lnTo>
                <a:lnTo>
                  <a:pt x="3318212" y="2572758"/>
                </a:lnTo>
                <a:lnTo>
                  <a:pt x="3321438" y="2563084"/>
                </a:lnTo>
                <a:lnTo>
                  <a:pt x="3314988" y="2563084"/>
                </a:lnTo>
                <a:lnTo>
                  <a:pt x="3311764" y="2559859"/>
                </a:lnTo>
                <a:lnTo>
                  <a:pt x="3305314" y="2550185"/>
                </a:lnTo>
                <a:lnTo>
                  <a:pt x="3308538" y="2546960"/>
                </a:lnTo>
                <a:lnTo>
                  <a:pt x="3314988" y="2534061"/>
                </a:lnTo>
                <a:lnTo>
                  <a:pt x="3318212" y="2524387"/>
                </a:lnTo>
                <a:lnTo>
                  <a:pt x="3321438" y="2517938"/>
                </a:lnTo>
                <a:lnTo>
                  <a:pt x="3327887" y="2495364"/>
                </a:lnTo>
                <a:lnTo>
                  <a:pt x="3331112" y="2469567"/>
                </a:lnTo>
                <a:lnTo>
                  <a:pt x="3327887" y="2453444"/>
                </a:lnTo>
                <a:lnTo>
                  <a:pt x="3324662" y="2434096"/>
                </a:lnTo>
                <a:lnTo>
                  <a:pt x="3327887" y="2427646"/>
                </a:lnTo>
                <a:lnTo>
                  <a:pt x="3327887" y="2421196"/>
                </a:lnTo>
                <a:lnTo>
                  <a:pt x="3321438" y="2414747"/>
                </a:lnTo>
                <a:lnTo>
                  <a:pt x="3308538" y="2398623"/>
                </a:lnTo>
                <a:lnTo>
                  <a:pt x="3308538" y="2392175"/>
                </a:lnTo>
                <a:lnTo>
                  <a:pt x="3311764" y="2379276"/>
                </a:lnTo>
                <a:lnTo>
                  <a:pt x="3314988" y="2376051"/>
                </a:lnTo>
                <a:lnTo>
                  <a:pt x="3318212" y="2372826"/>
                </a:lnTo>
                <a:lnTo>
                  <a:pt x="3324662" y="2366377"/>
                </a:lnTo>
                <a:lnTo>
                  <a:pt x="3327887" y="2353478"/>
                </a:lnTo>
                <a:lnTo>
                  <a:pt x="3337561" y="2334130"/>
                </a:lnTo>
                <a:lnTo>
                  <a:pt x="3344010" y="2330905"/>
                </a:lnTo>
                <a:lnTo>
                  <a:pt x="3356909" y="2308332"/>
                </a:lnTo>
                <a:lnTo>
                  <a:pt x="3356909" y="2298658"/>
                </a:lnTo>
                <a:lnTo>
                  <a:pt x="3363359" y="2285760"/>
                </a:lnTo>
                <a:lnTo>
                  <a:pt x="3366583" y="2279310"/>
                </a:lnTo>
                <a:lnTo>
                  <a:pt x="3373032" y="2276086"/>
                </a:lnTo>
                <a:lnTo>
                  <a:pt x="3382706" y="2269636"/>
                </a:lnTo>
                <a:lnTo>
                  <a:pt x="3389156" y="2256737"/>
                </a:lnTo>
                <a:lnTo>
                  <a:pt x="3392380" y="2243839"/>
                </a:lnTo>
                <a:lnTo>
                  <a:pt x="3395606" y="2240613"/>
                </a:lnTo>
                <a:lnTo>
                  <a:pt x="3408504" y="2237389"/>
                </a:lnTo>
                <a:lnTo>
                  <a:pt x="3421403" y="2234164"/>
                </a:lnTo>
                <a:lnTo>
                  <a:pt x="3431077" y="2224490"/>
                </a:lnTo>
                <a:lnTo>
                  <a:pt x="3440751" y="2218040"/>
                </a:lnTo>
                <a:lnTo>
                  <a:pt x="3450425" y="2211592"/>
                </a:lnTo>
                <a:lnTo>
                  <a:pt x="3460099" y="2201917"/>
                </a:lnTo>
                <a:lnTo>
                  <a:pt x="3472998" y="2176119"/>
                </a:lnTo>
                <a:lnTo>
                  <a:pt x="3466548" y="2153546"/>
                </a:lnTo>
                <a:lnTo>
                  <a:pt x="3476222" y="2134198"/>
                </a:lnTo>
                <a:lnTo>
                  <a:pt x="3479447" y="2124525"/>
                </a:lnTo>
                <a:lnTo>
                  <a:pt x="3482672" y="2118075"/>
                </a:lnTo>
                <a:lnTo>
                  <a:pt x="3498795" y="2101951"/>
                </a:lnTo>
                <a:lnTo>
                  <a:pt x="3534267" y="2082604"/>
                </a:lnTo>
                <a:lnTo>
                  <a:pt x="3537492" y="2076154"/>
                </a:lnTo>
                <a:lnTo>
                  <a:pt x="3553615" y="2037457"/>
                </a:lnTo>
                <a:lnTo>
                  <a:pt x="3562739" y="2031375"/>
                </a:lnTo>
                <a:lnTo>
                  <a:pt x="3563289" y="2031346"/>
                </a:lnTo>
                <a:lnTo>
                  <a:pt x="3563289" y="2034233"/>
                </a:lnTo>
                <a:lnTo>
                  <a:pt x="3576188" y="2050357"/>
                </a:lnTo>
                <a:lnTo>
                  <a:pt x="3595536" y="2053581"/>
                </a:lnTo>
                <a:lnTo>
                  <a:pt x="3608435" y="2053581"/>
                </a:lnTo>
                <a:lnTo>
                  <a:pt x="3614884" y="2050357"/>
                </a:lnTo>
                <a:lnTo>
                  <a:pt x="3621334" y="2053581"/>
                </a:lnTo>
                <a:lnTo>
                  <a:pt x="3631008" y="2053581"/>
                </a:lnTo>
                <a:lnTo>
                  <a:pt x="3634233" y="2053581"/>
                </a:lnTo>
                <a:lnTo>
                  <a:pt x="3637457" y="2053581"/>
                </a:lnTo>
                <a:lnTo>
                  <a:pt x="3643907" y="2053581"/>
                </a:lnTo>
                <a:lnTo>
                  <a:pt x="3653581" y="2043907"/>
                </a:lnTo>
                <a:lnTo>
                  <a:pt x="3656805" y="2040683"/>
                </a:lnTo>
                <a:lnTo>
                  <a:pt x="3660030" y="2037457"/>
                </a:lnTo>
                <a:lnTo>
                  <a:pt x="3666479" y="2037457"/>
                </a:lnTo>
                <a:lnTo>
                  <a:pt x="3676154" y="2034233"/>
                </a:lnTo>
                <a:lnTo>
                  <a:pt x="3685828" y="2027783"/>
                </a:lnTo>
                <a:lnTo>
                  <a:pt x="3705176" y="2018110"/>
                </a:lnTo>
                <a:lnTo>
                  <a:pt x="3718075" y="2014884"/>
                </a:lnTo>
                <a:lnTo>
                  <a:pt x="3734198" y="2011660"/>
                </a:lnTo>
                <a:lnTo>
                  <a:pt x="3747097" y="2011660"/>
                </a:lnTo>
                <a:lnTo>
                  <a:pt x="3763220" y="2008436"/>
                </a:lnTo>
                <a:lnTo>
                  <a:pt x="3782568" y="2005210"/>
                </a:lnTo>
                <a:lnTo>
                  <a:pt x="3795467" y="2011660"/>
                </a:lnTo>
                <a:lnTo>
                  <a:pt x="3818040" y="2008436"/>
                </a:lnTo>
                <a:lnTo>
                  <a:pt x="3834164" y="2005210"/>
                </a:lnTo>
                <a:lnTo>
                  <a:pt x="3847062" y="2001986"/>
                </a:lnTo>
                <a:lnTo>
                  <a:pt x="3856736" y="2008436"/>
                </a:lnTo>
                <a:lnTo>
                  <a:pt x="3869635" y="2005210"/>
                </a:lnTo>
                <a:lnTo>
                  <a:pt x="3879309" y="1998762"/>
                </a:lnTo>
                <a:lnTo>
                  <a:pt x="3892208" y="1995536"/>
                </a:lnTo>
                <a:lnTo>
                  <a:pt x="3898657" y="1995536"/>
                </a:lnTo>
                <a:lnTo>
                  <a:pt x="3908332" y="1998762"/>
                </a:lnTo>
                <a:lnTo>
                  <a:pt x="3905106" y="1998762"/>
                </a:lnTo>
                <a:lnTo>
                  <a:pt x="3908332" y="2008436"/>
                </a:lnTo>
                <a:lnTo>
                  <a:pt x="3921230" y="2001986"/>
                </a:lnTo>
                <a:lnTo>
                  <a:pt x="3924455" y="2001986"/>
                </a:lnTo>
                <a:lnTo>
                  <a:pt x="3924455" y="2005210"/>
                </a:lnTo>
                <a:lnTo>
                  <a:pt x="3918006" y="2014884"/>
                </a:lnTo>
                <a:lnTo>
                  <a:pt x="3914780" y="2018110"/>
                </a:lnTo>
                <a:lnTo>
                  <a:pt x="3911556" y="2021334"/>
                </a:lnTo>
                <a:lnTo>
                  <a:pt x="3911556" y="2031008"/>
                </a:lnTo>
                <a:lnTo>
                  <a:pt x="3918006" y="2037457"/>
                </a:lnTo>
                <a:lnTo>
                  <a:pt x="3924455" y="2050357"/>
                </a:lnTo>
                <a:lnTo>
                  <a:pt x="3921230" y="2060030"/>
                </a:lnTo>
                <a:lnTo>
                  <a:pt x="3911556" y="2069704"/>
                </a:lnTo>
                <a:lnTo>
                  <a:pt x="3901882" y="2082604"/>
                </a:lnTo>
                <a:lnTo>
                  <a:pt x="3918006" y="2098727"/>
                </a:lnTo>
                <a:lnTo>
                  <a:pt x="3926068" y="2105177"/>
                </a:lnTo>
                <a:lnTo>
                  <a:pt x="3929292" y="2101951"/>
                </a:lnTo>
                <a:lnTo>
                  <a:pt x="3932518" y="2105177"/>
                </a:lnTo>
                <a:lnTo>
                  <a:pt x="3938965" y="2108401"/>
                </a:lnTo>
                <a:lnTo>
                  <a:pt x="3961538" y="2114851"/>
                </a:lnTo>
                <a:lnTo>
                  <a:pt x="3971212" y="2111625"/>
                </a:lnTo>
                <a:lnTo>
                  <a:pt x="3984111" y="2114851"/>
                </a:lnTo>
                <a:lnTo>
                  <a:pt x="4013133" y="2124525"/>
                </a:lnTo>
                <a:lnTo>
                  <a:pt x="4016358" y="2134198"/>
                </a:lnTo>
                <a:lnTo>
                  <a:pt x="4019583" y="2143872"/>
                </a:lnTo>
                <a:lnTo>
                  <a:pt x="4042156" y="2156772"/>
                </a:lnTo>
                <a:lnTo>
                  <a:pt x="4051831" y="2156772"/>
                </a:lnTo>
                <a:lnTo>
                  <a:pt x="4064729" y="2159996"/>
                </a:lnTo>
                <a:lnTo>
                  <a:pt x="4077628" y="2166446"/>
                </a:lnTo>
                <a:lnTo>
                  <a:pt x="4087302" y="2176119"/>
                </a:lnTo>
                <a:lnTo>
                  <a:pt x="4109875" y="2176119"/>
                </a:lnTo>
                <a:lnTo>
                  <a:pt x="4122773" y="2156772"/>
                </a:lnTo>
                <a:lnTo>
                  <a:pt x="4119549" y="2130974"/>
                </a:lnTo>
                <a:lnTo>
                  <a:pt x="4142122" y="2114851"/>
                </a:lnTo>
                <a:lnTo>
                  <a:pt x="4167920" y="2111625"/>
                </a:lnTo>
                <a:lnTo>
                  <a:pt x="4184043" y="2118075"/>
                </a:lnTo>
                <a:lnTo>
                  <a:pt x="4187268" y="2118075"/>
                </a:lnTo>
                <a:lnTo>
                  <a:pt x="4187268" y="2124525"/>
                </a:lnTo>
                <a:lnTo>
                  <a:pt x="4206617" y="2134198"/>
                </a:lnTo>
                <a:lnTo>
                  <a:pt x="4219515" y="2134198"/>
                </a:lnTo>
                <a:lnTo>
                  <a:pt x="4229189" y="2137423"/>
                </a:lnTo>
                <a:lnTo>
                  <a:pt x="4232414" y="2143872"/>
                </a:lnTo>
                <a:lnTo>
                  <a:pt x="4248537" y="2143872"/>
                </a:lnTo>
                <a:lnTo>
                  <a:pt x="4274335" y="2150322"/>
                </a:lnTo>
                <a:lnTo>
                  <a:pt x="4277559" y="2153546"/>
                </a:lnTo>
                <a:lnTo>
                  <a:pt x="4284009" y="2156772"/>
                </a:lnTo>
                <a:lnTo>
                  <a:pt x="4293683" y="2159996"/>
                </a:lnTo>
                <a:lnTo>
                  <a:pt x="4306582" y="2159996"/>
                </a:lnTo>
                <a:lnTo>
                  <a:pt x="4316256" y="2166446"/>
                </a:lnTo>
                <a:lnTo>
                  <a:pt x="4329154" y="2159996"/>
                </a:lnTo>
                <a:lnTo>
                  <a:pt x="4345277" y="2153546"/>
                </a:lnTo>
                <a:lnTo>
                  <a:pt x="4348503" y="2150322"/>
                </a:lnTo>
                <a:lnTo>
                  <a:pt x="4377525" y="2147098"/>
                </a:lnTo>
                <a:lnTo>
                  <a:pt x="4392177" y="2155470"/>
                </a:lnTo>
                <a:lnTo>
                  <a:pt x="4392177" y="2155469"/>
                </a:lnTo>
                <a:lnTo>
                  <a:pt x="4400097" y="2159995"/>
                </a:lnTo>
                <a:lnTo>
                  <a:pt x="4403321" y="2159995"/>
                </a:lnTo>
                <a:lnTo>
                  <a:pt x="4406545" y="2156771"/>
                </a:lnTo>
                <a:lnTo>
                  <a:pt x="4416220" y="2159995"/>
                </a:lnTo>
                <a:lnTo>
                  <a:pt x="4432344" y="2153545"/>
                </a:lnTo>
                <a:lnTo>
                  <a:pt x="4435568" y="2147096"/>
                </a:lnTo>
                <a:lnTo>
                  <a:pt x="4445242" y="2118074"/>
                </a:lnTo>
                <a:lnTo>
                  <a:pt x="4448467" y="2108400"/>
                </a:lnTo>
                <a:lnTo>
                  <a:pt x="4454916" y="2101950"/>
                </a:lnTo>
                <a:lnTo>
                  <a:pt x="4454916" y="2095501"/>
                </a:lnTo>
                <a:lnTo>
                  <a:pt x="4461365" y="2082603"/>
                </a:lnTo>
                <a:lnTo>
                  <a:pt x="4461365" y="2076153"/>
                </a:lnTo>
                <a:lnTo>
                  <a:pt x="4467815" y="2069703"/>
                </a:lnTo>
                <a:lnTo>
                  <a:pt x="4467815" y="2066479"/>
                </a:lnTo>
                <a:lnTo>
                  <a:pt x="4467815" y="2063254"/>
                </a:lnTo>
                <a:lnTo>
                  <a:pt x="4467815" y="2056804"/>
                </a:lnTo>
                <a:lnTo>
                  <a:pt x="4467815" y="2043906"/>
                </a:lnTo>
                <a:lnTo>
                  <a:pt x="4464590" y="2040681"/>
                </a:lnTo>
                <a:lnTo>
                  <a:pt x="4467815" y="2031007"/>
                </a:lnTo>
                <a:lnTo>
                  <a:pt x="4467815" y="2027782"/>
                </a:lnTo>
                <a:lnTo>
                  <a:pt x="4464591" y="2021333"/>
                </a:lnTo>
                <a:lnTo>
                  <a:pt x="4467815" y="2018108"/>
                </a:lnTo>
                <a:lnTo>
                  <a:pt x="4474265" y="2011659"/>
                </a:lnTo>
                <a:lnTo>
                  <a:pt x="4471040" y="2005209"/>
                </a:lnTo>
                <a:lnTo>
                  <a:pt x="4461365" y="2014884"/>
                </a:lnTo>
                <a:lnTo>
                  <a:pt x="4458141" y="2014884"/>
                </a:lnTo>
                <a:lnTo>
                  <a:pt x="4445242" y="2011659"/>
                </a:lnTo>
                <a:lnTo>
                  <a:pt x="4445242" y="2008435"/>
                </a:lnTo>
                <a:lnTo>
                  <a:pt x="4435568" y="2011659"/>
                </a:lnTo>
                <a:lnTo>
                  <a:pt x="4425894" y="2021333"/>
                </a:lnTo>
                <a:lnTo>
                  <a:pt x="4400097" y="2027782"/>
                </a:lnTo>
                <a:lnTo>
                  <a:pt x="4383973" y="2018108"/>
                </a:lnTo>
                <a:lnTo>
                  <a:pt x="4374299" y="2011659"/>
                </a:lnTo>
                <a:lnTo>
                  <a:pt x="4364625" y="2008435"/>
                </a:lnTo>
                <a:lnTo>
                  <a:pt x="4358176" y="2008435"/>
                </a:lnTo>
                <a:lnTo>
                  <a:pt x="4351726" y="2011659"/>
                </a:lnTo>
                <a:lnTo>
                  <a:pt x="4348502" y="2021333"/>
                </a:lnTo>
                <a:lnTo>
                  <a:pt x="4342052" y="2021333"/>
                </a:lnTo>
                <a:lnTo>
                  <a:pt x="4335603" y="2024558"/>
                </a:lnTo>
                <a:lnTo>
                  <a:pt x="4332378" y="2024558"/>
                </a:lnTo>
                <a:lnTo>
                  <a:pt x="4329153" y="2024558"/>
                </a:lnTo>
                <a:lnTo>
                  <a:pt x="4322704" y="2021333"/>
                </a:lnTo>
                <a:lnTo>
                  <a:pt x="4313029" y="2011659"/>
                </a:lnTo>
                <a:lnTo>
                  <a:pt x="4300131" y="2001985"/>
                </a:lnTo>
                <a:lnTo>
                  <a:pt x="4280782" y="2001985"/>
                </a:lnTo>
                <a:lnTo>
                  <a:pt x="4277558" y="1989086"/>
                </a:lnTo>
                <a:lnTo>
                  <a:pt x="4277558" y="1976188"/>
                </a:lnTo>
                <a:lnTo>
                  <a:pt x="4264660" y="1972962"/>
                </a:lnTo>
                <a:lnTo>
                  <a:pt x="4261435" y="1972962"/>
                </a:lnTo>
                <a:lnTo>
                  <a:pt x="4258210" y="1969738"/>
                </a:lnTo>
                <a:lnTo>
                  <a:pt x="4261435" y="1956840"/>
                </a:lnTo>
                <a:lnTo>
                  <a:pt x="4267884" y="1956840"/>
                </a:lnTo>
                <a:lnTo>
                  <a:pt x="4271108" y="1950390"/>
                </a:lnTo>
                <a:lnTo>
                  <a:pt x="4264660" y="1940716"/>
                </a:lnTo>
                <a:lnTo>
                  <a:pt x="4267884" y="1937491"/>
                </a:lnTo>
                <a:lnTo>
                  <a:pt x="4271108" y="1934267"/>
                </a:lnTo>
                <a:lnTo>
                  <a:pt x="4251761" y="1934267"/>
                </a:lnTo>
                <a:lnTo>
                  <a:pt x="4254985" y="1918143"/>
                </a:lnTo>
                <a:lnTo>
                  <a:pt x="4258210" y="1921367"/>
                </a:lnTo>
                <a:lnTo>
                  <a:pt x="4267884" y="1911693"/>
                </a:lnTo>
                <a:lnTo>
                  <a:pt x="4277558" y="1905244"/>
                </a:lnTo>
                <a:lnTo>
                  <a:pt x="4280782" y="1908469"/>
                </a:lnTo>
                <a:lnTo>
                  <a:pt x="4287232" y="1911693"/>
                </a:lnTo>
                <a:lnTo>
                  <a:pt x="4290457" y="1908469"/>
                </a:lnTo>
                <a:lnTo>
                  <a:pt x="4296906" y="1905244"/>
                </a:lnTo>
                <a:lnTo>
                  <a:pt x="4306581" y="1908469"/>
                </a:lnTo>
                <a:lnTo>
                  <a:pt x="4313029" y="1905244"/>
                </a:lnTo>
                <a:lnTo>
                  <a:pt x="4316255" y="1902020"/>
                </a:lnTo>
                <a:lnTo>
                  <a:pt x="4319479" y="1892346"/>
                </a:lnTo>
                <a:lnTo>
                  <a:pt x="4319479" y="1882672"/>
                </a:lnTo>
                <a:lnTo>
                  <a:pt x="4345276" y="1885896"/>
                </a:lnTo>
                <a:lnTo>
                  <a:pt x="4351726" y="1885896"/>
                </a:lnTo>
                <a:lnTo>
                  <a:pt x="4367850" y="1885896"/>
                </a:lnTo>
                <a:lnTo>
                  <a:pt x="4383973" y="1872997"/>
                </a:lnTo>
                <a:lnTo>
                  <a:pt x="4387197" y="1872997"/>
                </a:lnTo>
                <a:lnTo>
                  <a:pt x="4390423" y="1869773"/>
                </a:lnTo>
                <a:lnTo>
                  <a:pt x="4396872" y="1866548"/>
                </a:lnTo>
                <a:lnTo>
                  <a:pt x="4400097" y="1866548"/>
                </a:lnTo>
                <a:lnTo>
                  <a:pt x="4406546" y="1863323"/>
                </a:lnTo>
                <a:lnTo>
                  <a:pt x="4416220" y="1860099"/>
                </a:lnTo>
                <a:lnTo>
                  <a:pt x="4429118" y="1863323"/>
                </a:lnTo>
                <a:lnTo>
                  <a:pt x="4438793" y="1863323"/>
                </a:lnTo>
                <a:lnTo>
                  <a:pt x="4448467" y="1860099"/>
                </a:lnTo>
                <a:lnTo>
                  <a:pt x="4467815" y="1872997"/>
                </a:lnTo>
                <a:lnTo>
                  <a:pt x="4471040" y="1869773"/>
                </a:lnTo>
                <a:lnTo>
                  <a:pt x="4474265" y="1876222"/>
                </a:lnTo>
                <a:lnTo>
                  <a:pt x="4477490" y="1882672"/>
                </a:lnTo>
                <a:lnTo>
                  <a:pt x="4483938" y="1879446"/>
                </a:lnTo>
                <a:lnTo>
                  <a:pt x="4490388" y="1882672"/>
                </a:lnTo>
                <a:lnTo>
                  <a:pt x="4493613" y="1882672"/>
                </a:lnTo>
                <a:lnTo>
                  <a:pt x="4493613" y="1885896"/>
                </a:lnTo>
                <a:lnTo>
                  <a:pt x="4503287" y="1889120"/>
                </a:lnTo>
                <a:lnTo>
                  <a:pt x="4512961" y="1892346"/>
                </a:lnTo>
                <a:lnTo>
                  <a:pt x="4532309" y="1889120"/>
                </a:lnTo>
                <a:lnTo>
                  <a:pt x="4545208" y="1889120"/>
                </a:lnTo>
                <a:lnTo>
                  <a:pt x="4558106" y="1892346"/>
                </a:lnTo>
                <a:lnTo>
                  <a:pt x="4564556" y="1892346"/>
                </a:lnTo>
                <a:lnTo>
                  <a:pt x="4580680" y="1882672"/>
                </a:lnTo>
                <a:lnTo>
                  <a:pt x="4590353" y="1876222"/>
                </a:lnTo>
                <a:lnTo>
                  <a:pt x="4590353" y="1872997"/>
                </a:lnTo>
                <a:lnTo>
                  <a:pt x="4596803" y="1856873"/>
                </a:lnTo>
                <a:lnTo>
                  <a:pt x="4590353" y="1845587"/>
                </a:lnTo>
                <a:lnTo>
                  <a:pt x="4590353" y="1842362"/>
                </a:lnTo>
                <a:lnTo>
                  <a:pt x="4580680" y="1835913"/>
                </a:lnTo>
                <a:lnTo>
                  <a:pt x="4574230" y="1832687"/>
                </a:lnTo>
                <a:lnTo>
                  <a:pt x="4561332" y="1823014"/>
                </a:lnTo>
                <a:lnTo>
                  <a:pt x="4558106" y="1823014"/>
                </a:lnTo>
                <a:lnTo>
                  <a:pt x="4538759" y="1803666"/>
                </a:lnTo>
                <a:lnTo>
                  <a:pt x="4519411" y="1790767"/>
                </a:lnTo>
                <a:lnTo>
                  <a:pt x="4509736" y="1784318"/>
                </a:lnTo>
                <a:lnTo>
                  <a:pt x="4503287" y="1781093"/>
                </a:lnTo>
                <a:lnTo>
                  <a:pt x="4493613" y="1774643"/>
                </a:lnTo>
                <a:lnTo>
                  <a:pt x="4490388" y="1764969"/>
                </a:lnTo>
                <a:lnTo>
                  <a:pt x="4500062" y="1764969"/>
                </a:lnTo>
                <a:lnTo>
                  <a:pt x="4509736" y="1748846"/>
                </a:lnTo>
                <a:lnTo>
                  <a:pt x="4512961" y="1742397"/>
                </a:lnTo>
                <a:lnTo>
                  <a:pt x="4519411" y="1739172"/>
                </a:lnTo>
                <a:lnTo>
                  <a:pt x="4525859" y="1739172"/>
                </a:lnTo>
                <a:lnTo>
                  <a:pt x="4512961" y="1729498"/>
                </a:lnTo>
                <a:lnTo>
                  <a:pt x="4509736" y="1719824"/>
                </a:lnTo>
                <a:lnTo>
                  <a:pt x="4522635" y="1713374"/>
                </a:lnTo>
                <a:lnTo>
                  <a:pt x="4529085" y="1713374"/>
                </a:lnTo>
                <a:lnTo>
                  <a:pt x="4541983" y="1706925"/>
                </a:lnTo>
                <a:lnTo>
                  <a:pt x="4541983" y="1703700"/>
                </a:lnTo>
                <a:lnTo>
                  <a:pt x="4541983" y="1700475"/>
                </a:lnTo>
                <a:lnTo>
                  <a:pt x="4538759" y="1700475"/>
                </a:lnTo>
                <a:lnTo>
                  <a:pt x="4535534" y="1700475"/>
                </a:lnTo>
                <a:lnTo>
                  <a:pt x="4532309" y="1703700"/>
                </a:lnTo>
                <a:lnTo>
                  <a:pt x="4519411" y="1706925"/>
                </a:lnTo>
                <a:lnTo>
                  <a:pt x="4503287" y="1706925"/>
                </a:lnTo>
                <a:lnTo>
                  <a:pt x="4483938" y="1716599"/>
                </a:lnTo>
                <a:lnTo>
                  <a:pt x="4454917" y="1729498"/>
                </a:lnTo>
                <a:lnTo>
                  <a:pt x="4451691" y="1726274"/>
                </a:lnTo>
                <a:lnTo>
                  <a:pt x="4445242" y="1735947"/>
                </a:lnTo>
                <a:lnTo>
                  <a:pt x="4445242" y="1739172"/>
                </a:lnTo>
                <a:lnTo>
                  <a:pt x="4448467" y="1752071"/>
                </a:lnTo>
                <a:lnTo>
                  <a:pt x="4458141" y="1764969"/>
                </a:lnTo>
                <a:lnTo>
                  <a:pt x="4464591" y="1761745"/>
                </a:lnTo>
                <a:lnTo>
                  <a:pt x="4471040" y="1758520"/>
                </a:lnTo>
                <a:lnTo>
                  <a:pt x="4474265" y="1758520"/>
                </a:lnTo>
                <a:lnTo>
                  <a:pt x="4480714" y="1758520"/>
                </a:lnTo>
                <a:lnTo>
                  <a:pt x="4480714" y="1771419"/>
                </a:lnTo>
                <a:lnTo>
                  <a:pt x="4474265" y="1771419"/>
                </a:lnTo>
                <a:lnTo>
                  <a:pt x="4467815" y="1771419"/>
                </a:lnTo>
                <a:lnTo>
                  <a:pt x="4461365" y="1768194"/>
                </a:lnTo>
                <a:lnTo>
                  <a:pt x="4454917" y="1771419"/>
                </a:lnTo>
                <a:lnTo>
                  <a:pt x="4438793" y="1781093"/>
                </a:lnTo>
                <a:lnTo>
                  <a:pt x="4419444" y="1790767"/>
                </a:lnTo>
                <a:lnTo>
                  <a:pt x="4412996" y="1784318"/>
                </a:lnTo>
                <a:lnTo>
                  <a:pt x="4416220" y="1784318"/>
                </a:lnTo>
                <a:lnTo>
                  <a:pt x="4416220" y="1777868"/>
                </a:lnTo>
                <a:lnTo>
                  <a:pt x="4412996" y="1768194"/>
                </a:lnTo>
                <a:lnTo>
                  <a:pt x="4400097" y="1761745"/>
                </a:lnTo>
                <a:lnTo>
                  <a:pt x="4393647" y="1761745"/>
                </a:lnTo>
                <a:lnTo>
                  <a:pt x="4400097" y="1755295"/>
                </a:lnTo>
                <a:lnTo>
                  <a:pt x="4409771" y="1748846"/>
                </a:lnTo>
                <a:lnTo>
                  <a:pt x="4419444" y="1745621"/>
                </a:lnTo>
                <a:lnTo>
                  <a:pt x="4419444" y="1739172"/>
                </a:lnTo>
                <a:lnTo>
                  <a:pt x="4406546" y="1735947"/>
                </a:lnTo>
                <a:lnTo>
                  <a:pt x="4393647" y="1739172"/>
                </a:lnTo>
                <a:lnTo>
                  <a:pt x="4380749" y="1729498"/>
                </a:lnTo>
                <a:lnTo>
                  <a:pt x="4374299" y="1723048"/>
                </a:lnTo>
                <a:lnTo>
                  <a:pt x="4364625" y="1723048"/>
                </a:lnTo>
                <a:lnTo>
                  <a:pt x="4354951" y="1726274"/>
                </a:lnTo>
                <a:lnTo>
                  <a:pt x="4348502" y="1739172"/>
                </a:lnTo>
                <a:lnTo>
                  <a:pt x="4342052" y="1745621"/>
                </a:lnTo>
                <a:lnTo>
                  <a:pt x="4335603" y="1745621"/>
                </a:lnTo>
                <a:lnTo>
                  <a:pt x="4329153" y="1752071"/>
                </a:lnTo>
                <a:lnTo>
                  <a:pt x="4329153" y="1758520"/>
                </a:lnTo>
                <a:lnTo>
                  <a:pt x="4332378" y="1758520"/>
                </a:lnTo>
                <a:lnTo>
                  <a:pt x="4332378" y="1764969"/>
                </a:lnTo>
                <a:lnTo>
                  <a:pt x="4329153" y="1777868"/>
                </a:lnTo>
                <a:lnTo>
                  <a:pt x="4319479" y="1781093"/>
                </a:lnTo>
                <a:lnTo>
                  <a:pt x="4313029" y="1784318"/>
                </a:lnTo>
                <a:lnTo>
                  <a:pt x="4309805" y="1793992"/>
                </a:lnTo>
                <a:lnTo>
                  <a:pt x="4309805" y="1797216"/>
                </a:lnTo>
                <a:lnTo>
                  <a:pt x="4306581" y="1810115"/>
                </a:lnTo>
                <a:lnTo>
                  <a:pt x="4303355" y="1819789"/>
                </a:lnTo>
                <a:lnTo>
                  <a:pt x="4300131" y="1819789"/>
                </a:lnTo>
                <a:lnTo>
                  <a:pt x="4293682" y="1829463"/>
                </a:lnTo>
                <a:lnTo>
                  <a:pt x="4287232" y="1852036"/>
                </a:lnTo>
                <a:lnTo>
                  <a:pt x="4293682" y="1863323"/>
                </a:lnTo>
                <a:lnTo>
                  <a:pt x="4293682" y="1866548"/>
                </a:lnTo>
                <a:lnTo>
                  <a:pt x="4296906" y="1872997"/>
                </a:lnTo>
                <a:lnTo>
                  <a:pt x="4309805" y="1879446"/>
                </a:lnTo>
                <a:lnTo>
                  <a:pt x="4316255" y="1882672"/>
                </a:lnTo>
                <a:lnTo>
                  <a:pt x="4319479" y="1882672"/>
                </a:lnTo>
                <a:lnTo>
                  <a:pt x="4313029" y="1892346"/>
                </a:lnTo>
                <a:lnTo>
                  <a:pt x="4296906" y="1889120"/>
                </a:lnTo>
                <a:lnTo>
                  <a:pt x="4287232" y="1889120"/>
                </a:lnTo>
                <a:lnTo>
                  <a:pt x="4284008" y="1892346"/>
                </a:lnTo>
                <a:lnTo>
                  <a:pt x="4284008" y="1895570"/>
                </a:lnTo>
                <a:lnTo>
                  <a:pt x="4280782" y="1898794"/>
                </a:lnTo>
                <a:lnTo>
                  <a:pt x="4277558" y="1902020"/>
                </a:lnTo>
                <a:lnTo>
                  <a:pt x="4261435" y="1914918"/>
                </a:lnTo>
                <a:lnTo>
                  <a:pt x="4254985" y="1918143"/>
                </a:lnTo>
                <a:lnTo>
                  <a:pt x="4254985" y="1911693"/>
                </a:lnTo>
                <a:lnTo>
                  <a:pt x="4264660" y="1905244"/>
                </a:lnTo>
                <a:lnTo>
                  <a:pt x="4267884" y="1902020"/>
                </a:lnTo>
                <a:lnTo>
                  <a:pt x="4264660" y="1902020"/>
                </a:lnTo>
                <a:lnTo>
                  <a:pt x="4254985" y="1902020"/>
                </a:lnTo>
                <a:lnTo>
                  <a:pt x="4251761" y="1898794"/>
                </a:lnTo>
                <a:lnTo>
                  <a:pt x="4254097" y="1896459"/>
                </a:lnTo>
                <a:lnTo>
                  <a:pt x="4254096" y="1896458"/>
                </a:lnTo>
                <a:lnTo>
                  <a:pt x="4251760" y="1898794"/>
                </a:lnTo>
                <a:lnTo>
                  <a:pt x="4235636" y="1892346"/>
                </a:lnTo>
                <a:lnTo>
                  <a:pt x="4222738" y="1895570"/>
                </a:lnTo>
                <a:lnTo>
                  <a:pt x="4209839" y="1895570"/>
                </a:lnTo>
                <a:lnTo>
                  <a:pt x="4203389" y="1895570"/>
                </a:lnTo>
                <a:lnTo>
                  <a:pt x="4200165" y="1905244"/>
                </a:lnTo>
                <a:lnTo>
                  <a:pt x="4200165" y="1911693"/>
                </a:lnTo>
                <a:lnTo>
                  <a:pt x="4193715" y="1911693"/>
                </a:lnTo>
                <a:lnTo>
                  <a:pt x="4184041" y="1902020"/>
                </a:lnTo>
                <a:lnTo>
                  <a:pt x="4177591" y="1905244"/>
                </a:lnTo>
                <a:lnTo>
                  <a:pt x="4174367" y="1914918"/>
                </a:lnTo>
                <a:lnTo>
                  <a:pt x="4177591" y="1921367"/>
                </a:lnTo>
                <a:lnTo>
                  <a:pt x="4190491" y="1940716"/>
                </a:lnTo>
                <a:lnTo>
                  <a:pt x="4190491" y="1943941"/>
                </a:lnTo>
                <a:lnTo>
                  <a:pt x="4187265" y="1943941"/>
                </a:lnTo>
                <a:lnTo>
                  <a:pt x="4184041" y="1937491"/>
                </a:lnTo>
                <a:lnTo>
                  <a:pt x="4180816" y="1943941"/>
                </a:lnTo>
                <a:lnTo>
                  <a:pt x="4184041" y="1943941"/>
                </a:lnTo>
                <a:lnTo>
                  <a:pt x="4180816" y="1950390"/>
                </a:lnTo>
                <a:lnTo>
                  <a:pt x="4174367" y="1950390"/>
                </a:lnTo>
                <a:lnTo>
                  <a:pt x="4177591" y="1953614"/>
                </a:lnTo>
                <a:lnTo>
                  <a:pt x="4180816" y="1953614"/>
                </a:lnTo>
                <a:lnTo>
                  <a:pt x="4190491" y="1947165"/>
                </a:lnTo>
                <a:lnTo>
                  <a:pt x="4200165" y="1956840"/>
                </a:lnTo>
                <a:lnTo>
                  <a:pt x="4206614" y="1956840"/>
                </a:lnTo>
                <a:lnTo>
                  <a:pt x="4209839" y="1963288"/>
                </a:lnTo>
                <a:lnTo>
                  <a:pt x="4213063" y="1969738"/>
                </a:lnTo>
                <a:lnTo>
                  <a:pt x="4219513" y="1972962"/>
                </a:lnTo>
                <a:lnTo>
                  <a:pt x="4216288" y="1976188"/>
                </a:lnTo>
                <a:lnTo>
                  <a:pt x="4213063" y="1972962"/>
                </a:lnTo>
                <a:lnTo>
                  <a:pt x="4206614" y="1963288"/>
                </a:lnTo>
                <a:lnTo>
                  <a:pt x="4196939" y="1960064"/>
                </a:lnTo>
                <a:lnTo>
                  <a:pt x="4187265" y="1953614"/>
                </a:lnTo>
                <a:lnTo>
                  <a:pt x="4184041" y="1953614"/>
                </a:lnTo>
                <a:lnTo>
                  <a:pt x="4187265" y="1956840"/>
                </a:lnTo>
                <a:lnTo>
                  <a:pt x="4203389" y="1966514"/>
                </a:lnTo>
                <a:lnTo>
                  <a:pt x="4206614" y="1969738"/>
                </a:lnTo>
                <a:lnTo>
                  <a:pt x="4209839" y="1979412"/>
                </a:lnTo>
                <a:lnTo>
                  <a:pt x="4206614" y="1985861"/>
                </a:lnTo>
                <a:lnTo>
                  <a:pt x="4200165" y="1982637"/>
                </a:lnTo>
                <a:lnTo>
                  <a:pt x="4193715" y="1976188"/>
                </a:lnTo>
                <a:lnTo>
                  <a:pt x="4187265" y="1976188"/>
                </a:lnTo>
                <a:lnTo>
                  <a:pt x="4184041" y="1982637"/>
                </a:lnTo>
                <a:lnTo>
                  <a:pt x="4180816" y="1992311"/>
                </a:lnTo>
                <a:lnTo>
                  <a:pt x="4184041" y="1998761"/>
                </a:lnTo>
                <a:lnTo>
                  <a:pt x="4187265" y="2014884"/>
                </a:lnTo>
                <a:lnTo>
                  <a:pt x="4187265" y="2018108"/>
                </a:lnTo>
                <a:lnTo>
                  <a:pt x="4180816" y="2008435"/>
                </a:lnTo>
                <a:lnTo>
                  <a:pt x="4174367" y="2008435"/>
                </a:lnTo>
                <a:lnTo>
                  <a:pt x="4174367" y="2018108"/>
                </a:lnTo>
                <a:lnTo>
                  <a:pt x="4171142" y="2018108"/>
                </a:lnTo>
                <a:lnTo>
                  <a:pt x="4171142" y="2011659"/>
                </a:lnTo>
                <a:lnTo>
                  <a:pt x="4167918" y="2005209"/>
                </a:lnTo>
                <a:lnTo>
                  <a:pt x="4161468" y="2001985"/>
                </a:lnTo>
                <a:lnTo>
                  <a:pt x="4161468" y="2008435"/>
                </a:lnTo>
                <a:lnTo>
                  <a:pt x="4155018" y="2001985"/>
                </a:lnTo>
                <a:lnTo>
                  <a:pt x="4155018" y="1998761"/>
                </a:lnTo>
                <a:lnTo>
                  <a:pt x="4155018" y="1995535"/>
                </a:lnTo>
                <a:lnTo>
                  <a:pt x="4148570" y="1985861"/>
                </a:lnTo>
                <a:lnTo>
                  <a:pt x="4145344" y="1976188"/>
                </a:lnTo>
                <a:lnTo>
                  <a:pt x="4148570" y="1969738"/>
                </a:lnTo>
                <a:lnTo>
                  <a:pt x="4158244" y="1969738"/>
                </a:lnTo>
                <a:lnTo>
                  <a:pt x="4167918" y="1969738"/>
                </a:lnTo>
                <a:lnTo>
                  <a:pt x="4177591" y="1976188"/>
                </a:lnTo>
                <a:lnTo>
                  <a:pt x="4187265" y="1972962"/>
                </a:lnTo>
                <a:lnTo>
                  <a:pt x="4187265" y="1969738"/>
                </a:lnTo>
                <a:lnTo>
                  <a:pt x="4171142" y="1963288"/>
                </a:lnTo>
                <a:lnTo>
                  <a:pt x="4158244" y="1963288"/>
                </a:lnTo>
                <a:lnTo>
                  <a:pt x="4145344" y="1966514"/>
                </a:lnTo>
                <a:lnTo>
                  <a:pt x="4138895" y="1956840"/>
                </a:lnTo>
                <a:lnTo>
                  <a:pt x="4135671" y="1953614"/>
                </a:lnTo>
                <a:lnTo>
                  <a:pt x="4132446" y="1943941"/>
                </a:lnTo>
                <a:lnTo>
                  <a:pt x="4129221" y="1940716"/>
                </a:lnTo>
                <a:lnTo>
                  <a:pt x="4125997" y="1940716"/>
                </a:lnTo>
                <a:lnTo>
                  <a:pt x="4122771" y="1934267"/>
                </a:lnTo>
                <a:lnTo>
                  <a:pt x="4119547" y="1927817"/>
                </a:lnTo>
                <a:lnTo>
                  <a:pt x="4119548" y="1927816"/>
                </a:lnTo>
                <a:lnTo>
                  <a:pt x="4116324" y="1918143"/>
                </a:lnTo>
                <a:lnTo>
                  <a:pt x="4106649" y="1914918"/>
                </a:lnTo>
                <a:lnTo>
                  <a:pt x="4103425" y="1905244"/>
                </a:lnTo>
                <a:lnTo>
                  <a:pt x="4109874" y="1872997"/>
                </a:lnTo>
                <a:lnTo>
                  <a:pt x="4106649" y="1866548"/>
                </a:lnTo>
                <a:lnTo>
                  <a:pt x="4093751" y="1856873"/>
                </a:lnTo>
                <a:lnTo>
                  <a:pt x="4087301" y="1852036"/>
                </a:lnTo>
                <a:lnTo>
                  <a:pt x="4087301" y="1848811"/>
                </a:lnTo>
                <a:lnTo>
                  <a:pt x="4084077" y="1845587"/>
                </a:lnTo>
                <a:lnTo>
                  <a:pt x="4067953" y="1839137"/>
                </a:lnTo>
                <a:lnTo>
                  <a:pt x="4067953" y="1835913"/>
                </a:lnTo>
                <a:lnTo>
                  <a:pt x="4035706" y="1816565"/>
                </a:lnTo>
                <a:lnTo>
                  <a:pt x="4016358" y="1803666"/>
                </a:lnTo>
                <a:lnTo>
                  <a:pt x="4009909" y="1790767"/>
                </a:lnTo>
                <a:lnTo>
                  <a:pt x="4006683" y="1777868"/>
                </a:lnTo>
                <a:lnTo>
                  <a:pt x="4003459" y="1764969"/>
                </a:lnTo>
                <a:lnTo>
                  <a:pt x="3993785" y="1764969"/>
                </a:lnTo>
                <a:lnTo>
                  <a:pt x="3990560" y="1774643"/>
                </a:lnTo>
                <a:lnTo>
                  <a:pt x="3984111" y="1777868"/>
                </a:lnTo>
                <a:lnTo>
                  <a:pt x="3980886" y="1771419"/>
                </a:lnTo>
                <a:lnTo>
                  <a:pt x="3980886" y="1755295"/>
                </a:lnTo>
                <a:lnTo>
                  <a:pt x="3984111" y="1752071"/>
                </a:lnTo>
                <a:lnTo>
                  <a:pt x="3984110" y="1752070"/>
                </a:lnTo>
                <a:lnTo>
                  <a:pt x="3980885" y="1755294"/>
                </a:lnTo>
                <a:lnTo>
                  <a:pt x="3980885" y="1752070"/>
                </a:lnTo>
                <a:lnTo>
                  <a:pt x="3977661" y="1748845"/>
                </a:lnTo>
                <a:lnTo>
                  <a:pt x="3961537" y="1752070"/>
                </a:lnTo>
                <a:lnTo>
                  <a:pt x="3948638" y="1758520"/>
                </a:lnTo>
                <a:lnTo>
                  <a:pt x="3945414" y="1764968"/>
                </a:lnTo>
                <a:lnTo>
                  <a:pt x="3951863" y="1764968"/>
                </a:lnTo>
                <a:lnTo>
                  <a:pt x="3951863" y="1768193"/>
                </a:lnTo>
                <a:lnTo>
                  <a:pt x="3951863" y="1771418"/>
                </a:lnTo>
                <a:lnTo>
                  <a:pt x="3955088" y="1774642"/>
                </a:lnTo>
                <a:lnTo>
                  <a:pt x="3951863" y="1777867"/>
                </a:lnTo>
                <a:lnTo>
                  <a:pt x="3948638" y="1777867"/>
                </a:lnTo>
                <a:lnTo>
                  <a:pt x="3948638" y="1787541"/>
                </a:lnTo>
                <a:lnTo>
                  <a:pt x="3955088" y="1800440"/>
                </a:lnTo>
                <a:lnTo>
                  <a:pt x="3971211" y="1813339"/>
                </a:lnTo>
                <a:lnTo>
                  <a:pt x="3974435" y="1813339"/>
                </a:lnTo>
                <a:lnTo>
                  <a:pt x="3977661" y="1819788"/>
                </a:lnTo>
                <a:lnTo>
                  <a:pt x="3984110" y="1835912"/>
                </a:lnTo>
                <a:lnTo>
                  <a:pt x="3990559" y="1848810"/>
                </a:lnTo>
                <a:lnTo>
                  <a:pt x="4016357" y="1863322"/>
                </a:lnTo>
                <a:lnTo>
                  <a:pt x="4026031" y="1863322"/>
                </a:lnTo>
                <a:lnTo>
                  <a:pt x="4035705" y="1866547"/>
                </a:lnTo>
                <a:lnTo>
                  <a:pt x="4029256" y="1872996"/>
                </a:lnTo>
                <a:lnTo>
                  <a:pt x="4035705" y="1879445"/>
                </a:lnTo>
                <a:lnTo>
                  <a:pt x="4048603" y="1885895"/>
                </a:lnTo>
                <a:lnTo>
                  <a:pt x="4061503" y="1892345"/>
                </a:lnTo>
                <a:lnTo>
                  <a:pt x="4074402" y="1902019"/>
                </a:lnTo>
                <a:lnTo>
                  <a:pt x="4084076" y="1911692"/>
                </a:lnTo>
                <a:lnTo>
                  <a:pt x="4087300" y="1918142"/>
                </a:lnTo>
                <a:lnTo>
                  <a:pt x="4084076" y="1924592"/>
                </a:lnTo>
                <a:lnTo>
                  <a:pt x="4077626" y="1921366"/>
                </a:lnTo>
                <a:lnTo>
                  <a:pt x="4074402" y="1914917"/>
                </a:lnTo>
                <a:lnTo>
                  <a:pt x="4071176" y="1911692"/>
                </a:lnTo>
                <a:lnTo>
                  <a:pt x="4055053" y="1905243"/>
                </a:lnTo>
                <a:lnTo>
                  <a:pt x="4048603" y="1911692"/>
                </a:lnTo>
                <a:lnTo>
                  <a:pt x="4042155" y="1924592"/>
                </a:lnTo>
                <a:lnTo>
                  <a:pt x="4048603" y="1931040"/>
                </a:lnTo>
                <a:lnTo>
                  <a:pt x="4055053" y="1937490"/>
                </a:lnTo>
                <a:lnTo>
                  <a:pt x="4051829" y="1950389"/>
                </a:lnTo>
                <a:lnTo>
                  <a:pt x="4045379" y="1953613"/>
                </a:lnTo>
                <a:lnTo>
                  <a:pt x="4045379" y="1960063"/>
                </a:lnTo>
                <a:lnTo>
                  <a:pt x="4038929" y="1969737"/>
                </a:lnTo>
                <a:lnTo>
                  <a:pt x="4032481" y="1976186"/>
                </a:lnTo>
                <a:lnTo>
                  <a:pt x="4022806" y="1976186"/>
                </a:lnTo>
                <a:lnTo>
                  <a:pt x="4026031" y="1969737"/>
                </a:lnTo>
                <a:lnTo>
                  <a:pt x="4029256" y="1963287"/>
                </a:lnTo>
                <a:lnTo>
                  <a:pt x="4032481" y="1956839"/>
                </a:lnTo>
                <a:lnTo>
                  <a:pt x="4035705" y="1950389"/>
                </a:lnTo>
                <a:lnTo>
                  <a:pt x="4032481" y="1937490"/>
                </a:lnTo>
                <a:lnTo>
                  <a:pt x="4026031" y="1921366"/>
                </a:lnTo>
                <a:lnTo>
                  <a:pt x="4019582" y="1914917"/>
                </a:lnTo>
                <a:lnTo>
                  <a:pt x="4006682" y="1911692"/>
                </a:lnTo>
                <a:lnTo>
                  <a:pt x="4006682" y="1905243"/>
                </a:lnTo>
                <a:lnTo>
                  <a:pt x="4003458" y="1898794"/>
                </a:lnTo>
                <a:lnTo>
                  <a:pt x="3984110" y="1889119"/>
                </a:lnTo>
                <a:lnTo>
                  <a:pt x="3977661" y="1882671"/>
                </a:lnTo>
                <a:lnTo>
                  <a:pt x="3964761" y="1882671"/>
                </a:lnTo>
                <a:lnTo>
                  <a:pt x="3948638" y="1869771"/>
                </a:lnTo>
                <a:lnTo>
                  <a:pt x="3938964" y="1860098"/>
                </a:lnTo>
                <a:lnTo>
                  <a:pt x="3929290" y="1852035"/>
                </a:lnTo>
                <a:lnTo>
                  <a:pt x="3918004" y="1835912"/>
                </a:lnTo>
                <a:lnTo>
                  <a:pt x="3914778" y="1829462"/>
                </a:lnTo>
                <a:lnTo>
                  <a:pt x="3911554" y="1823013"/>
                </a:lnTo>
                <a:lnTo>
                  <a:pt x="3908330" y="1806889"/>
                </a:lnTo>
                <a:lnTo>
                  <a:pt x="3898655" y="1800440"/>
                </a:lnTo>
                <a:lnTo>
                  <a:pt x="3885757" y="1793991"/>
                </a:lnTo>
                <a:lnTo>
                  <a:pt x="3876083" y="1790766"/>
                </a:lnTo>
                <a:lnTo>
                  <a:pt x="3866408" y="1797215"/>
                </a:lnTo>
                <a:lnTo>
                  <a:pt x="3859959" y="1806889"/>
                </a:lnTo>
                <a:lnTo>
                  <a:pt x="3847061" y="1810114"/>
                </a:lnTo>
                <a:lnTo>
                  <a:pt x="3847060" y="1810114"/>
                </a:lnTo>
                <a:lnTo>
                  <a:pt x="3843837" y="1810114"/>
                </a:lnTo>
                <a:lnTo>
                  <a:pt x="3840611" y="1813339"/>
                </a:lnTo>
                <a:lnTo>
                  <a:pt x="3830937" y="1819788"/>
                </a:lnTo>
                <a:lnTo>
                  <a:pt x="3818039" y="1829462"/>
                </a:lnTo>
                <a:lnTo>
                  <a:pt x="3798690" y="1826238"/>
                </a:lnTo>
                <a:lnTo>
                  <a:pt x="3795466" y="1823013"/>
                </a:lnTo>
                <a:lnTo>
                  <a:pt x="3789016" y="1823013"/>
                </a:lnTo>
                <a:lnTo>
                  <a:pt x="3785792" y="1816564"/>
                </a:lnTo>
                <a:lnTo>
                  <a:pt x="3779343" y="1819788"/>
                </a:lnTo>
                <a:lnTo>
                  <a:pt x="3769669" y="1816564"/>
                </a:lnTo>
                <a:lnTo>
                  <a:pt x="3766443" y="1816564"/>
                </a:lnTo>
                <a:lnTo>
                  <a:pt x="3759995" y="1823013"/>
                </a:lnTo>
                <a:lnTo>
                  <a:pt x="3753545" y="1826238"/>
                </a:lnTo>
                <a:lnTo>
                  <a:pt x="3753545" y="1844780"/>
                </a:lnTo>
                <a:lnTo>
                  <a:pt x="3753545" y="1848810"/>
                </a:lnTo>
                <a:lnTo>
                  <a:pt x="3750858" y="1848810"/>
                </a:lnTo>
                <a:lnTo>
                  <a:pt x="3750858" y="1848811"/>
                </a:lnTo>
                <a:lnTo>
                  <a:pt x="3753545" y="1848811"/>
                </a:lnTo>
                <a:lnTo>
                  <a:pt x="3753545" y="1855261"/>
                </a:lnTo>
                <a:lnTo>
                  <a:pt x="3753545" y="1863322"/>
                </a:lnTo>
                <a:lnTo>
                  <a:pt x="3747096" y="1869773"/>
                </a:lnTo>
                <a:lnTo>
                  <a:pt x="3727748" y="1879446"/>
                </a:lnTo>
                <a:lnTo>
                  <a:pt x="3708399" y="1885896"/>
                </a:lnTo>
                <a:lnTo>
                  <a:pt x="3698725" y="1892346"/>
                </a:lnTo>
                <a:lnTo>
                  <a:pt x="3701950" y="1898794"/>
                </a:lnTo>
                <a:lnTo>
                  <a:pt x="3692275" y="1908469"/>
                </a:lnTo>
                <a:lnTo>
                  <a:pt x="3689051" y="1914918"/>
                </a:lnTo>
                <a:lnTo>
                  <a:pt x="3685827" y="1918143"/>
                </a:lnTo>
                <a:lnTo>
                  <a:pt x="3682601" y="1918143"/>
                </a:lnTo>
                <a:lnTo>
                  <a:pt x="3676152" y="1931041"/>
                </a:lnTo>
                <a:lnTo>
                  <a:pt x="3676152" y="1947165"/>
                </a:lnTo>
                <a:lnTo>
                  <a:pt x="3685827" y="1956840"/>
                </a:lnTo>
                <a:lnTo>
                  <a:pt x="3669703" y="1969738"/>
                </a:lnTo>
                <a:lnTo>
                  <a:pt x="3663254" y="1979412"/>
                </a:lnTo>
                <a:lnTo>
                  <a:pt x="3666478" y="1985861"/>
                </a:lnTo>
                <a:lnTo>
                  <a:pt x="3643906" y="1995535"/>
                </a:lnTo>
                <a:lnTo>
                  <a:pt x="3637456" y="2008435"/>
                </a:lnTo>
                <a:lnTo>
                  <a:pt x="3631007" y="2008435"/>
                </a:lnTo>
                <a:lnTo>
                  <a:pt x="3627782" y="2008435"/>
                </a:lnTo>
                <a:lnTo>
                  <a:pt x="3624557" y="2011659"/>
                </a:lnTo>
                <a:lnTo>
                  <a:pt x="3618107" y="2008435"/>
                </a:lnTo>
                <a:lnTo>
                  <a:pt x="3589086" y="2011659"/>
                </a:lnTo>
                <a:lnTo>
                  <a:pt x="3585860" y="2011659"/>
                </a:lnTo>
                <a:lnTo>
                  <a:pt x="3579412" y="2018108"/>
                </a:lnTo>
                <a:lnTo>
                  <a:pt x="3576186" y="2018108"/>
                </a:lnTo>
                <a:lnTo>
                  <a:pt x="3563288" y="2024558"/>
                </a:lnTo>
                <a:lnTo>
                  <a:pt x="3563288" y="2027782"/>
                </a:lnTo>
                <a:lnTo>
                  <a:pt x="3556839" y="2027782"/>
                </a:lnTo>
                <a:lnTo>
                  <a:pt x="3547165" y="2021333"/>
                </a:lnTo>
                <a:lnTo>
                  <a:pt x="3540715" y="2011659"/>
                </a:lnTo>
                <a:lnTo>
                  <a:pt x="3540715" y="2005209"/>
                </a:lnTo>
                <a:lnTo>
                  <a:pt x="3534266" y="1998761"/>
                </a:lnTo>
                <a:lnTo>
                  <a:pt x="3521367" y="1998761"/>
                </a:lnTo>
                <a:lnTo>
                  <a:pt x="3520603" y="1996469"/>
                </a:lnTo>
                <a:lnTo>
                  <a:pt x="3520602" y="1996469"/>
                </a:lnTo>
                <a:lnTo>
                  <a:pt x="3521366" y="1998761"/>
                </a:lnTo>
                <a:lnTo>
                  <a:pt x="3518141" y="1998761"/>
                </a:lnTo>
                <a:lnTo>
                  <a:pt x="3511692" y="2001985"/>
                </a:lnTo>
                <a:lnTo>
                  <a:pt x="3498793" y="2001985"/>
                </a:lnTo>
                <a:lnTo>
                  <a:pt x="3489119" y="1995535"/>
                </a:lnTo>
                <a:lnTo>
                  <a:pt x="3489119" y="1985861"/>
                </a:lnTo>
                <a:lnTo>
                  <a:pt x="3489119" y="1969738"/>
                </a:lnTo>
                <a:lnTo>
                  <a:pt x="3485894" y="1963288"/>
                </a:lnTo>
                <a:lnTo>
                  <a:pt x="3482670" y="1963288"/>
                </a:lnTo>
                <a:lnTo>
                  <a:pt x="3482670" y="1953614"/>
                </a:lnTo>
                <a:lnTo>
                  <a:pt x="3472996" y="1956840"/>
                </a:lnTo>
                <a:lnTo>
                  <a:pt x="3485894" y="1921367"/>
                </a:lnTo>
                <a:lnTo>
                  <a:pt x="3492344" y="1885896"/>
                </a:lnTo>
                <a:lnTo>
                  <a:pt x="3489119" y="1876222"/>
                </a:lnTo>
                <a:lnTo>
                  <a:pt x="3489119" y="1863323"/>
                </a:lnTo>
                <a:lnTo>
                  <a:pt x="3492345" y="1861710"/>
                </a:lnTo>
                <a:lnTo>
                  <a:pt x="3489120" y="1863322"/>
                </a:lnTo>
                <a:lnTo>
                  <a:pt x="3485895" y="1863322"/>
                </a:lnTo>
                <a:lnTo>
                  <a:pt x="3489120" y="1852036"/>
                </a:lnTo>
                <a:lnTo>
                  <a:pt x="3485895" y="1842362"/>
                </a:lnTo>
                <a:lnTo>
                  <a:pt x="3479446" y="1829463"/>
                </a:lnTo>
                <a:lnTo>
                  <a:pt x="3482671" y="1826239"/>
                </a:lnTo>
                <a:lnTo>
                  <a:pt x="3489120" y="1823014"/>
                </a:lnTo>
                <a:lnTo>
                  <a:pt x="3498794" y="1816565"/>
                </a:lnTo>
                <a:lnTo>
                  <a:pt x="3508468" y="1810115"/>
                </a:lnTo>
                <a:lnTo>
                  <a:pt x="3518142" y="1813340"/>
                </a:lnTo>
                <a:lnTo>
                  <a:pt x="3524592" y="1816565"/>
                </a:lnTo>
                <a:lnTo>
                  <a:pt x="3543939" y="1816565"/>
                </a:lnTo>
                <a:lnTo>
                  <a:pt x="3563288" y="1816565"/>
                </a:lnTo>
                <a:lnTo>
                  <a:pt x="3582636" y="1823014"/>
                </a:lnTo>
                <a:lnTo>
                  <a:pt x="3598760" y="1816565"/>
                </a:lnTo>
                <a:lnTo>
                  <a:pt x="3605209" y="1819789"/>
                </a:lnTo>
                <a:lnTo>
                  <a:pt x="3611659" y="1823014"/>
                </a:lnTo>
                <a:lnTo>
                  <a:pt x="3627782" y="1823014"/>
                </a:lnTo>
                <a:lnTo>
                  <a:pt x="3643906" y="1823014"/>
                </a:lnTo>
                <a:lnTo>
                  <a:pt x="3646299" y="1824382"/>
                </a:lnTo>
                <a:lnTo>
                  <a:pt x="3646300" y="1824381"/>
                </a:lnTo>
                <a:lnTo>
                  <a:pt x="3643906" y="1823013"/>
                </a:lnTo>
                <a:lnTo>
                  <a:pt x="3653580" y="1803665"/>
                </a:lnTo>
                <a:lnTo>
                  <a:pt x="3656804" y="1768193"/>
                </a:lnTo>
                <a:lnTo>
                  <a:pt x="3653580" y="1752070"/>
                </a:lnTo>
                <a:lnTo>
                  <a:pt x="3660028" y="1748845"/>
                </a:lnTo>
                <a:lnTo>
                  <a:pt x="3656804" y="1735946"/>
                </a:lnTo>
                <a:lnTo>
                  <a:pt x="3647130" y="1729497"/>
                </a:lnTo>
                <a:lnTo>
                  <a:pt x="3637456" y="1719823"/>
                </a:lnTo>
                <a:lnTo>
                  <a:pt x="3637456" y="1710149"/>
                </a:lnTo>
                <a:lnTo>
                  <a:pt x="3643906" y="1703699"/>
                </a:lnTo>
                <a:lnTo>
                  <a:pt x="3637456" y="1700474"/>
                </a:lnTo>
                <a:lnTo>
                  <a:pt x="3631007" y="1700474"/>
                </a:lnTo>
                <a:lnTo>
                  <a:pt x="3621333" y="1694025"/>
                </a:lnTo>
                <a:lnTo>
                  <a:pt x="3601984" y="1684352"/>
                </a:lnTo>
                <a:lnTo>
                  <a:pt x="3579412" y="1674677"/>
                </a:lnTo>
                <a:lnTo>
                  <a:pt x="3579412" y="1665003"/>
                </a:lnTo>
                <a:lnTo>
                  <a:pt x="3576186" y="1661778"/>
                </a:lnTo>
                <a:lnTo>
                  <a:pt x="3582636" y="1658553"/>
                </a:lnTo>
                <a:lnTo>
                  <a:pt x="3592310" y="1655329"/>
                </a:lnTo>
                <a:lnTo>
                  <a:pt x="3601984" y="1655329"/>
                </a:lnTo>
                <a:lnTo>
                  <a:pt x="3605209" y="1652105"/>
                </a:lnTo>
                <a:lnTo>
                  <a:pt x="3611659" y="1648879"/>
                </a:lnTo>
                <a:lnTo>
                  <a:pt x="3614883" y="1652105"/>
                </a:lnTo>
                <a:lnTo>
                  <a:pt x="3621333" y="1658553"/>
                </a:lnTo>
                <a:lnTo>
                  <a:pt x="3627782" y="1655329"/>
                </a:lnTo>
                <a:lnTo>
                  <a:pt x="3631007" y="1655329"/>
                </a:lnTo>
                <a:lnTo>
                  <a:pt x="3653580" y="1655329"/>
                </a:lnTo>
                <a:lnTo>
                  <a:pt x="3647130" y="1652105"/>
                </a:lnTo>
                <a:lnTo>
                  <a:pt x="3647130" y="1645655"/>
                </a:lnTo>
                <a:lnTo>
                  <a:pt x="3647130" y="1635981"/>
                </a:lnTo>
                <a:lnTo>
                  <a:pt x="3643906" y="1629531"/>
                </a:lnTo>
                <a:lnTo>
                  <a:pt x="3640681" y="1623082"/>
                </a:lnTo>
                <a:lnTo>
                  <a:pt x="3647130" y="1623082"/>
                </a:lnTo>
                <a:lnTo>
                  <a:pt x="3653580" y="1619857"/>
                </a:lnTo>
                <a:lnTo>
                  <a:pt x="3653580" y="1626307"/>
                </a:lnTo>
                <a:lnTo>
                  <a:pt x="3653580" y="1629531"/>
                </a:lnTo>
                <a:lnTo>
                  <a:pt x="3676152" y="1635981"/>
                </a:lnTo>
                <a:lnTo>
                  <a:pt x="3692275" y="1629531"/>
                </a:lnTo>
                <a:lnTo>
                  <a:pt x="3685827" y="1629531"/>
                </a:lnTo>
                <a:lnTo>
                  <a:pt x="3689051" y="1619857"/>
                </a:lnTo>
                <a:lnTo>
                  <a:pt x="3698725" y="1613408"/>
                </a:lnTo>
                <a:lnTo>
                  <a:pt x="3708399" y="1610184"/>
                </a:lnTo>
                <a:lnTo>
                  <a:pt x="3718073" y="1600509"/>
                </a:lnTo>
                <a:lnTo>
                  <a:pt x="3718073" y="1584385"/>
                </a:lnTo>
                <a:lnTo>
                  <a:pt x="3724522" y="1577937"/>
                </a:lnTo>
                <a:lnTo>
                  <a:pt x="3737422" y="1574711"/>
                </a:lnTo>
                <a:lnTo>
                  <a:pt x="3753545" y="1561814"/>
                </a:lnTo>
                <a:lnTo>
                  <a:pt x="3756769" y="1561814"/>
                </a:lnTo>
                <a:lnTo>
                  <a:pt x="3766443" y="1555364"/>
                </a:lnTo>
                <a:lnTo>
                  <a:pt x="3776117" y="1561814"/>
                </a:lnTo>
                <a:lnTo>
                  <a:pt x="3772893" y="1542465"/>
                </a:lnTo>
                <a:lnTo>
                  <a:pt x="3779343" y="1529567"/>
                </a:lnTo>
                <a:lnTo>
                  <a:pt x="3785792" y="1516668"/>
                </a:lnTo>
                <a:lnTo>
                  <a:pt x="3789016" y="1506994"/>
                </a:lnTo>
                <a:lnTo>
                  <a:pt x="3801916" y="1500544"/>
                </a:lnTo>
                <a:lnTo>
                  <a:pt x="3811590" y="1490870"/>
                </a:lnTo>
                <a:lnTo>
                  <a:pt x="3830937" y="1487646"/>
                </a:lnTo>
                <a:lnTo>
                  <a:pt x="3837386" y="1490870"/>
                </a:lnTo>
                <a:lnTo>
                  <a:pt x="3843836" y="1481196"/>
                </a:lnTo>
                <a:lnTo>
                  <a:pt x="3856734" y="1477972"/>
                </a:lnTo>
                <a:lnTo>
                  <a:pt x="3866408" y="1484421"/>
                </a:lnTo>
                <a:lnTo>
                  <a:pt x="3872857" y="1471523"/>
                </a:lnTo>
                <a:lnTo>
                  <a:pt x="3879307" y="1465073"/>
                </a:lnTo>
                <a:lnTo>
                  <a:pt x="3879307" y="1455399"/>
                </a:lnTo>
                <a:lnTo>
                  <a:pt x="3876083" y="1442500"/>
                </a:lnTo>
                <a:lnTo>
                  <a:pt x="3872857" y="1432826"/>
                </a:lnTo>
                <a:lnTo>
                  <a:pt x="3877364" y="1434629"/>
                </a:lnTo>
                <a:lnTo>
                  <a:pt x="3877364" y="1434628"/>
                </a:lnTo>
                <a:lnTo>
                  <a:pt x="3872858" y="1432826"/>
                </a:lnTo>
                <a:lnTo>
                  <a:pt x="3872858" y="1426376"/>
                </a:lnTo>
                <a:lnTo>
                  <a:pt x="3869634" y="1413478"/>
                </a:lnTo>
                <a:lnTo>
                  <a:pt x="3863184" y="1407029"/>
                </a:lnTo>
                <a:lnTo>
                  <a:pt x="3859960" y="1387681"/>
                </a:lnTo>
                <a:lnTo>
                  <a:pt x="3859960" y="1368332"/>
                </a:lnTo>
                <a:lnTo>
                  <a:pt x="3863184" y="1358658"/>
                </a:lnTo>
                <a:lnTo>
                  <a:pt x="3869634" y="1348984"/>
                </a:lnTo>
                <a:lnTo>
                  <a:pt x="3879308" y="1348984"/>
                </a:lnTo>
                <a:lnTo>
                  <a:pt x="3888982" y="1345759"/>
                </a:lnTo>
                <a:lnTo>
                  <a:pt x="3898656" y="1336085"/>
                </a:lnTo>
                <a:lnTo>
                  <a:pt x="3908330" y="1326411"/>
                </a:lnTo>
                <a:lnTo>
                  <a:pt x="3911555" y="1329636"/>
                </a:lnTo>
                <a:lnTo>
                  <a:pt x="3911555" y="1339310"/>
                </a:lnTo>
                <a:lnTo>
                  <a:pt x="3905105" y="1352208"/>
                </a:lnTo>
                <a:lnTo>
                  <a:pt x="3908330" y="1368332"/>
                </a:lnTo>
                <a:lnTo>
                  <a:pt x="3911555" y="1371557"/>
                </a:lnTo>
                <a:lnTo>
                  <a:pt x="3918005" y="1371557"/>
                </a:lnTo>
                <a:lnTo>
                  <a:pt x="3921229" y="1381231"/>
                </a:lnTo>
                <a:lnTo>
                  <a:pt x="3911555" y="1390905"/>
                </a:lnTo>
                <a:lnTo>
                  <a:pt x="3895432" y="1410253"/>
                </a:lnTo>
                <a:lnTo>
                  <a:pt x="3888982" y="1426376"/>
                </a:lnTo>
                <a:lnTo>
                  <a:pt x="3892207" y="1432826"/>
                </a:lnTo>
                <a:lnTo>
                  <a:pt x="3888982" y="1439276"/>
                </a:lnTo>
                <a:lnTo>
                  <a:pt x="3888311" y="1439007"/>
                </a:lnTo>
                <a:lnTo>
                  <a:pt x="3887639" y="1438738"/>
                </a:lnTo>
                <a:lnTo>
                  <a:pt x="3887638" y="1438738"/>
                </a:lnTo>
                <a:lnTo>
                  <a:pt x="3888311" y="1439007"/>
                </a:lnTo>
                <a:lnTo>
                  <a:pt x="3888981" y="1439276"/>
                </a:lnTo>
                <a:lnTo>
                  <a:pt x="3898655" y="1442500"/>
                </a:lnTo>
                <a:lnTo>
                  <a:pt x="3911554" y="1452174"/>
                </a:lnTo>
                <a:lnTo>
                  <a:pt x="3924452" y="1455399"/>
                </a:lnTo>
                <a:lnTo>
                  <a:pt x="3921228" y="1471523"/>
                </a:lnTo>
                <a:lnTo>
                  <a:pt x="3929290" y="1468297"/>
                </a:lnTo>
                <a:lnTo>
                  <a:pt x="3935740" y="1468297"/>
                </a:lnTo>
                <a:lnTo>
                  <a:pt x="3951863" y="1455399"/>
                </a:lnTo>
                <a:lnTo>
                  <a:pt x="3964761" y="1452174"/>
                </a:lnTo>
                <a:lnTo>
                  <a:pt x="3967987" y="1455399"/>
                </a:lnTo>
                <a:lnTo>
                  <a:pt x="3971211" y="1458623"/>
                </a:lnTo>
                <a:lnTo>
                  <a:pt x="3980885" y="1461849"/>
                </a:lnTo>
                <a:lnTo>
                  <a:pt x="3984110" y="1474747"/>
                </a:lnTo>
                <a:lnTo>
                  <a:pt x="3991151" y="1479442"/>
                </a:lnTo>
                <a:cubicBezTo>
                  <a:pt x="3991588" y="1478445"/>
                  <a:pt x="3992402" y="1478103"/>
                  <a:pt x="3993785" y="1477972"/>
                </a:cubicBezTo>
                <a:lnTo>
                  <a:pt x="3993785" y="1474747"/>
                </a:lnTo>
                <a:lnTo>
                  <a:pt x="3993785" y="1471523"/>
                </a:lnTo>
                <a:lnTo>
                  <a:pt x="4000235" y="1468297"/>
                </a:lnTo>
                <a:lnTo>
                  <a:pt x="4035706" y="1455399"/>
                </a:lnTo>
                <a:lnTo>
                  <a:pt x="4045380" y="1445725"/>
                </a:lnTo>
                <a:lnTo>
                  <a:pt x="4058279" y="1439276"/>
                </a:lnTo>
                <a:lnTo>
                  <a:pt x="4084077" y="1439276"/>
                </a:lnTo>
                <a:lnTo>
                  <a:pt x="4087301" y="1439276"/>
                </a:lnTo>
                <a:lnTo>
                  <a:pt x="4087301" y="1452174"/>
                </a:lnTo>
                <a:lnTo>
                  <a:pt x="4096975" y="1455399"/>
                </a:lnTo>
                <a:lnTo>
                  <a:pt x="4109874" y="1452174"/>
                </a:lnTo>
                <a:lnTo>
                  <a:pt x="4119548" y="1439276"/>
                </a:lnTo>
                <a:lnTo>
                  <a:pt x="4119548" y="1432826"/>
                </a:lnTo>
                <a:lnTo>
                  <a:pt x="4122772" y="1432826"/>
                </a:lnTo>
                <a:lnTo>
                  <a:pt x="4129222" y="1432826"/>
                </a:lnTo>
                <a:lnTo>
                  <a:pt x="4138896" y="1419927"/>
                </a:lnTo>
                <a:lnTo>
                  <a:pt x="4142121" y="1416702"/>
                </a:lnTo>
                <a:lnTo>
                  <a:pt x="4142121" y="1410253"/>
                </a:lnTo>
                <a:lnTo>
                  <a:pt x="4142121" y="1400579"/>
                </a:lnTo>
                <a:lnTo>
                  <a:pt x="4142121" y="1390905"/>
                </a:lnTo>
                <a:lnTo>
                  <a:pt x="4142121" y="1381231"/>
                </a:lnTo>
                <a:lnTo>
                  <a:pt x="4142121" y="1361882"/>
                </a:lnTo>
                <a:lnTo>
                  <a:pt x="4151795" y="1342534"/>
                </a:lnTo>
                <a:lnTo>
                  <a:pt x="4158245" y="1329636"/>
                </a:lnTo>
                <a:lnTo>
                  <a:pt x="4171143" y="1323187"/>
                </a:lnTo>
                <a:lnTo>
                  <a:pt x="4180817" y="1332861"/>
                </a:lnTo>
                <a:lnTo>
                  <a:pt x="4187266" y="1342534"/>
                </a:lnTo>
                <a:lnTo>
                  <a:pt x="4190492" y="1348984"/>
                </a:lnTo>
                <a:lnTo>
                  <a:pt x="4206615" y="1348984"/>
                </a:lnTo>
                <a:lnTo>
                  <a:pt x="4216289" y="1342534"/>
                </a:lnTo>
                <a:lnTo>
                  <a:pt x="4213064" y="1323187"/>
                </a:lnTo>
                <a:lnTo>
                  <a:pt x="4213064" y="1316737"/>
                </a:lnTo>
                <a:lnTo>
                  <a:pt x="4219514" y="1297389"/>
                </a:lnTo>
                <a:lnTo>
                  <a:pt x="4213064" y="1297389"/>
                </a:lnTo>
                <a:lnTo>
                  <a:pt x="4213064" y="1300613"/>
                </a:lnTo>
                <a:lnTo>
                  <a:pt x="4203390" y="1297389"/>
                </a:lnTo>
                <a:lnTo>
                  <a:pt x="4196940" y="1287714"/>
                </a:lnTo>
                <a:lnTo>
                  <a:pt x="4193716" y="1278040"/>
                </a:lnTo>
                <a:lnTo>
                  <a:pt x="4196940" y="1258693"/>
                </a:lnTo>
                <a:lnTo>
                  <a:pt x="4213064" y="1252243"/>
                </a:lnTo>
                <a:lnTo>
                  <a:pt x="4238861" y="1249019"/>
                </a:lnTo>
                <a:lnTo>
                  <a:pt x="4251761" y="1242569"/>
                </a:lnTo>
                <a:lnTo>
                  <a:pt x="4264660" y="1245793"/>
                </a:lnTo>
                <a:lnTo>
                  <a:pt x="4271108" y="1249019"/>
                </a:lnTo>
                <a:lnTo>
                  <a:pt x="4290457" y="1252243"/>
                </a:lnTo>
                <a:lnTo>
                  <a:pt x="4293682" y="1249019"/>
                </a:lnTo>
                <a:lnTo>
                  <a:pt x="4296906" y="1242569"/>
                </a:lnTo>
                <a:lnTo>
                  <a:pt x="4309805" y="1236119"/>
                </a:lnTo>
                <a:lnTo>
                  <a:pt x="4316255" y="1232895"/>
                </a:lnTo>
                <a:lnTo>
                  <a:pt x="4319479" y="1226446"/>
                </a:lnTo>
                <a:lnTo>
                  <a:pt x="4316255" y="1216772"/>
                </a:lnTo>
                <a:lnTo>
                  <a:pt x="4303355" y="1203872"/>
                </a:lnTo>
                <a:lnTo>
                  <a:pt x="4290457" y="1203872"/>
                </a:lnTo>
                <a:lnTo>
                  <a:pt x="4277558" y="1207098"/>
                </a:lnTo>
                <a:lnTo>
                  <a:pt x="4264660" y="1207098"/>
                </a:lnTo>
                <a:lnTo>
                  <a:pt x="4235637" y="1216772"/>
                </a:lnTo>
                <a:lnTo>
                  <a:pt x="4222738" y="1223221"/>
                </a:lnTo>
                <a:lnTo>
                  <a:pt x="4213064" y="1226446"/>
                </a:lnTo>
                <a:lnTo>
                  <a:pt x="4213064" y="1223221"/>
                </a:lnTo>
                <a:lnTo>
                  <a:pt x="4209840" y="1226446"/>
                </a:lnTo>
                <a:lnTo>
                  <a:pt x="4187266" y="1229670"/>
                </a:lnTo>
                <a:lnTo>
                  <a:pt x="4180817" y="1219996"/>
                </a:lnTo>
                <a:lnTo>
                  <a:pt x="4174368" y="1210322"/>
                </a:lnTo>
                <a:lnTo>
                  <a:pt x="4164693" y="1207098"/>
                </a:lnTo>
                <a:lnTo>
                  <a:pt x="4151795" y="1203872"/>
                </a:lnTo>
                <a:lnTo>
                  <a:pt x="4148570" y="1194199"/>
                </a:lnTo>
                <a:lnTo>
                  <a:pt x="4148570" y="1178075"/>
                </a:lnTo>
                <a:lnTo>
                  <a:pt x="4151795" y="1171625"/>
                </a:lnTo>
                <a:lnTo>
                  <a:pt x="4155019" y="1155502"/>
                </a:lnTo>
                <a:lnTo>
                  <a:pt x="4145346" y="1129704"/>
                </a:lnTo>
                <a:lnTo>
                  <a:pt x="4145346" y="1097457"/>
                </a:lnTo>
                <a:lnTo>
                  <a:pt x="4158245" y="1081334"/>
                </a:lnTo>
                <a:lnTo>
                  <a:pt x="4161469" y="1081334"/>
                </a:lnTo>
                <a:lnTo>
                  <a:pt x="4164693" y="1078110"/>
                </a:lnTo>
                <a:lnTo>
                  <a:pt x="4171143" y="1068436"/>
                </a:lnTo>
                <a:lnTo>
                  <a:pt x="4171143" y="1061986"/>
                </a:lnTo>
                <a:lnTo>
                  <a:pt x="4177593" y="1055536"/>
                </a:lnTo>
                <a:lnTo>
                  <a:pt x="4193716" y="1039413"/>
                </a:lnTo>
                <a:lnTo>
                  <a:pt x="4213064" y="1016841"/>
                </a:lnTo>
                <a:lnTo>
                  <a:pt x="4216289" y="1010391"/>
                </a:lnTo>
                <a:lnTo>
                  <a:pt x="4216289" y="1003942"/>
                </a:lnTo>
                <a:lnTo>
                  <a:pt x="4229188" y="994268"/>
                </a:lnTo>
                <a:lnTo>
                  <a:pt x="4235637" y="997492"/>
                </a:lnTo>
                <a:lnTo>
                  <a:pt x="4235637" y="968470"/>
                </a:lnTo>
                <a:lnTo>
                  <a:pt x="4225963" y="955571"/>
                </a:lnTo>
                <a:lnTo>
                  <a:pt x="4222738" y="955571"/>
                </a:lnTo>
                <a:lnTo>
                  <a:pt x="4219514" y="949121"/>
                </a:lnTo>
                <a:lnTo>
                  <a:pt x="4216289" y="949121"/>
                </a:lnTo>
                <a:lnTo>
                  <a:pt x="4213590" y="947772"/>
                </a:lnTo>
                <a:lnTo>
                  <a:pt x="4210208" y="948617"/>
                </a:lnTo>
                <a:cubicBezTo>
                  <a:pt x="4208169" y="947937"/>
                  <a:pt x="4206569" y="947411"/>
                  <a:pt x="4205317" y="947028"/>
                </a:cubicBezTo>
                <a:lnTo>
                  <a:pt x="4196939" y="949121"/>
                </a:lnTo>
                <a:lnTo>
                  <a:pt x="4180816" y="945897"/>
                </a:lnTo>
                <a:lnTo>
                  <a:pt x="4171142" y="945897"/>
                </a:lnTo>
                <a:lnTo>
                  <a:pt x="4164692" y="958796"/>
                </a:lnTo>
                <a:lnTo>
                  <a:pt x="4161468" y="968470"/>
                </a:lnTo>
                <a:lnTo>
                  <a:pt x="4151794" y="991042"/>
                </a:lnTo>
                <a:lnTo>
                  <a:pt x="4145344" y="997492"/>
                </a:lnTo>
                <a:lnTo>
                  <a:pt x="4148570" y="1010391"/>
                </a:lnTo>
                <a:lnTo>
                  <a:pt x="4148570" y="1013615"/>
                </a:lnTo>
                <a:lnTo>
                  <a:pt x="4148570" y="1023289"/>
                </a:lnTo>
                <a:lnTo>
                  <a:pt x="4145344" y="1029739"/>
                </a:lnTo>
                <a:lnTo>
                  <a:pt x="4132446" y="1049088"/>
                </a:lnTo>
                <a:lnTo>
                  <a:pt x="4119547" y="1058762"/>
                </a:lnTo>
                <a:lnTo>
                  <a:pt x="4103424" y="1068436"/>
                </a:lnTo>
                <a:lnTo>
                  <a:pt x="4100199" y="1074885"/>
                </a:lnTo>
                <a:lnTo>
                  <a:pt x="4084076" y="1091009"/>
                </a:lnTo>
                <a:lnTo>
                  <a:pt x="4087300" y="1094233"/>
                </a:lnTo>
                <a:lnTo>
                  <a:pt x="4077626" y="1103907"/>
                </a:lnTo>
                <a:lnTo>
                  <a:pt x="4071176" y="1113581"/>
                </a:lnTo>
                <a:lnTo>
                  <a:pt x="4067952" y="1113581"/>
                </a:lnTo>
                <a:lnTo>
                  <a:pt x="4064727" y="1113581"/>
                </a:lnTo>
                <a:lnTo>
                  <a:pt x="4061502" y="1132930"/>
                </a:lnTo>
                <a:lnTo>
                  <a:pt x="4061502" y="1149053"/>
                </a:lnTo>
                <a:lnTo>
                  <a:pt x="4055052" y="1152278"/>
                </a:lnTo>
                <a:lnTo>
                  <a:pt x="4055052" y="1161952"/>
                </a:lnTo>
                <a:lnTo>
                  <a:pt x="4058277" y="1168401"/>
                </a:lnTo>
                <a:lnTo>
                  <a:pt x="4058277" y="1171625"/>
                </a:lnTo>
                <a:lnTo>
                  <a:pt x="4058277" y="1184525"/>
                </a:lnTo>
                <a:lnTo>
                  <a:pt x="4064727" y="1197424"/>
                </a:lnTo>
                <a:lnTo>
                  <a:pt x="4074402" y="1200648"/>
                </a:lnTo>
                <a:lnTo>
                  <a:pt x="4087300" y="1216772"/>
                </a:lnTo>
                <a:lnTo>
                  <a:pt x="4093750" y="1219996"/>
                </a:lnTo>
                <a:lnTo>
                  <a:pt x="4093750" y="1229670"/>
                </a:lnTo>
                <a:lnTo>
                  <a:pt x="4090525" y="1242569"/>
                </a:lnTo>
                <a:lnTo>
                  <a:pt x="4074402" y="1271592"/>
                </a:lnTo>
                <a:lnTo>
                  <a:pt x="4058277" y="1281266"/>
                </a:lnTo>
                <a:lnTo>
                  <a:pt x="4051828" y="1284490"/>
                </a:lnTo>
                <a:lnTo>
                  <a:pt x="4048602" y="1297389"/>
                </a:lnTo>
                <a:lnTo>
                  <a:pt x="4045378" y="1313513"/>
                </a:lnTo>
                <a:lnTo>
                  <a:pt x="4048602" y="1323187"/>
                </a:lnTo>
                <a:lnTo>
                  <a:pt x="4048602" y="1326411"/>
                </a:lnTo>
                <a:lnTo>
                  <a:pt x="4045378" y="1336085"/>
                </a:lnTo>
                <a:lnTo>
                  <a:pt x="4038928" y="1361882"/>
                </a:lnTo>
                <a:lnTo>
                  <a:pt x="4032480" y="1384455"/>
                </a:lnTo>
                <a:lnTo>
                  <a:pt x="4022805" y="1384455"/>
                </a:lnTo>
                <a:lnTo>
                  <a:pt x="4006681" y="1384455"/>
                </a:lnTo>
                <a:lnTo>
                  <a:pt x="3993783" y="1394129"/>
                </a:lnTo>
                <a:lnTo>
                  <a:pt x="3990558" y="1400579"/>
                </a:lnTo>
                <a:lnTo>
                  <a:pt x="3993783" y="1407029"/>
                </a:lnTo>
                <a:lnTo>
                  <a:pt x="3993783" y="1410253"/>
                </a:lnTo>
                <a:lnTo>
                  <a:pt x="3990558" y="1416702"/>
                </a:lnTo>
                <a:lnTo>
                  <a:pt x="3984109" y="1416702"/>
                </a:lnTo>
                <a:lnTo>
                  <a:pt x="3977660" y="1416702"/>
                </a:lnTo>
                <a:lnTo>
                  <a:pt x="3964760" y="1416702"/>
                </a:lnTo>
                <a:lnTo>
                  <a:pt x="3964760" y="1407029"/>
                </a:lnTo>
                <a:lnTo>
                  <a:pt x="3961536" y="1397355"/>
                </a:lnTo>
                <a:lnTo>
                  <a:pt x="3958312" y="1381231"/>
                </a:lnTo>
                <a:lnTo>
                  <a:pt x="3961536" y="1368332"/>
                </a:lnTo>
                <a:lnTo>
                  <a:pt x="3958312" y="1361882"/>
                </a:lnTo>
                <a:lnTo>
                  <a:pt x="3948637" y="1352208"/>
                </a:lnTo>
                <a:lnTo>
                  <a:pt x="3945413" y="1339310"/>
                </a:lnTo>
                <a:lnTo>
                  <a:pt x="3942188" y="1326411"/>
                </a:lnTo>
                <a:lnTo>
                  <a:pt x="3938963" y="1310287"/>
                </a:lnTo>
                <a:lnTo>
                  <a:pt x="3932513" y="1297389"/>
                </a:lnTo>
                <a:lnTo>
                  <a:pt x="3926065" y="1290940"/>
                </a:lnTo>
                <a:lnTo>
                  <a:pt x="3924452" y="1271592"/>
                </a:lnTo>
                <a:lnTo>
                  <a:pt x="3926065" y="1265142"/>
                </a:lnTo>
                <a:lnTo>
                  <a:pt x="3935739" y="1274816"/>
                </a:lnTo>
                <a:lnTo>
                  <a:pt x="3935739" y="1274814"/>
                </a:lnTo>
                <a:lnTo>
                  <a:pt x="3926067" y="1265142"/>
                </a:lnTo>
                <a:lnTo>
                  <a:pt x="3926065" y="1265142"/>
                </a:lnTo>
                <a:lnTo>
                  <a:pt x="3921229" y="1265142"/>
                </a:lnTo>
                <a:lnTo>
                  <a:pt x="3911555" y="1261917"/>
                </a:lnTo>
                <a:lnTo>
                  <a:pt x="3901881" y="1271592"/>
                </a:lnTo>
                <a:lnTo>
                  <a:pt x="3876084" y="1294164"/>
                </a:lnTo>
                <a:lnTo>
                  <a:pt x="3863184" y="1307063"/>
                </a:lnTo>
                <a:lnTo>
                  <a:pt x="3850285" y="1310287"/>
                </a:lnTo>
                <a:lnTo>
                  <a:pt x="3824488" y="1303838"/>
                </a:lnTo>
                <a:lnTo>
                  <a:pt x="3811590" y="1294164"/>
                </a:lnTo>
                <a:lnTo>
                  <a:pt x="3801916" y="1281266"/>
                </a:lnTo>
                <a:lnTo>
                  <a:pt x="3805140" y="1271592"/>
                </a:lnTo>
                <a:lnTo>
                  <a:pt x="3811590" y="1268367"/>
                </a:lnTo>
                <a:lnTo>
                  <a:pt x="3818039" y="1255468"/>
                </a:lnTo>
                <a:lnTo>
                  <a:pt x="3808364" y="1255468"/>
                </a:lnTo>
                <a:lnTo>
                  <a:pt x="3801916" y="1258693"/>
                </a:lnTo>
                <a:lnTo>
                  <a:pt x="3798690" y="1255468"/>
                </a:lnTo>
                <a:lnTo>
                  <a:pt x="3798690" y="1242569"/>
                </a:lnTo>
                <a:lnTo>
                  <a:pt x="3801916" y="1239345"/>
                </a:lnTo>
                <a:lnTo>
                  <a:pt x="3808364" y="1229670"/>
                </a:lnTo>
                <a:lnTo>
                  <a:pt x="3808364" y="1226446"/>
                </a:lnTo>
                <a:lnTo>
                  <a:pt x="3805140" y="1219996"/>
                </a:lnTo>
                <a:lnTo>
                  <a:pt x="3798690" y="1219996"/>
                </a:lnTo>
                <a:lnTo>
                  <a:pt x="3795466" y="1210322"/>
                </a:lnTo>
                <a:lnTo>
                  <a:pt x="3798690" y="1203872"/>
                </a:lnTo>
                <a:lnTo>
                  <a:pt x="3795466" y="1190974"/>
                </a:lnTo>
                <a:lnTo>
                  <a:pt x="3792241" y="1181300"/>
                </a:lnTo>
                <a:lnTo>
                  <a:pt x="3792241" y="1174851"/>
                </a:lnTo>
                <a:lnTo>
                  <a:pt x="3795466" y="1168401"/>
                </a:lnTo>
                <a:lnTo>
                  <a:pt x="3795466" y="1161952"/>
                </a:lnTo>
                <a:lnTo>
                  <a:pt x="3789016" y="1152278"/>
                </a:lnTo>
                <a:lnTo>
                  <a:pt x="3795466" y="1142604"/>
                </a:lnTo>
                <a:lnTo>
                  <a:pt x="3795466" y="1126480"/>
                </a:lnTo>
                <a:lnTo>
                  <a:pt x="3805140" y="1126480"/>
                </a:lnTo>
                <a:lnTo>
                  <a:pt x="3814814" y="1123256"/>
                </a:lnTo>
                <a:lnTo>
                  <a:pt x="3818039" y="1110357"/>
                </a:lnTo>
                <a:lnTo>
                  <a:pt x="3821264" y="1107132"/>
                </a:lnTo>
                <a:lnTo>
                  <a:pt x="3834163" y="1107132"/>
                </a:lnTo>
                <a:lnTo>
                  <a:pt x="3834163" y="1100683"/>
                </a:lnTo>
                <a:lnTo>
                  <a:pt x="3834163" y="1091009"/>
                </a:lnTo>
                <a:lnTo>
                  <a:pt x="3843837" y="1087784"/>
                </a:lnTo>
                <a:lnTo>
                  <a:pt x="3856735" y="1091009"/>
                </a:lnTo>
                <a:lnTo>
                  <a:pt x="3859960" y="1084559"/>
                </a:lnTo>
                <a:lnTo>
                  <a:pt x="3869634" y="1071660"/>
                </a:lnTo>
                <a:lnTo>
                  <a:pt x="3885758" y="1068436"/>
                </a:lnTo>
                <a:lnTo>
                  <a:pt x="3885758" y="1061986"/>
                </a:lnTo>
                <a:lnTo>
                  <a:pt x="3892207" y="1058762"/>
                </a:lnTo>
                <a:lnTo>
                  <a:pt x="3892207" y="1049088"/>
                </a:lnTo>
                <a:lnTo>
                  <a:pt x="3901881" y="1036189"/>
                </a:lnTo>
                <a:lnTo>
                  <a:pt x="3908330" y="1029739"/>
                </a:lnTo>
                <a:lnTo>
                  <a:pt x="3911555" y="1020065"/>
                </a:lnTo>
                <a:lnTo>
                  <a:pt x="3921229" y="1020065"/>
                </a:lnTo>
                <a:lnTo>
                  <a:pt x="3921229" y="1013615"/>
                </a:lnTo>
                <a:lnTo>
                  <a:pt x="3924453" y="1013615"/>
                </a:lnTo>
                <a:lnTo>
                  <a:pt x="3929291" y="1016841"/>
                </a:lnTo>
                <a:lnTo>
                  <a:pt x="3935741" y="1013615"/>
                </a:lnTo>
                <a:lnTo>
                  <a:pt x="3929291" y="1007166"/>
                </a:lnTo>
                <a:lnTo>
                  <a:pt x="3926067" y="1000717"/>
                </a:lnTo>
                <a:lnTo>
                  <a:pt x="3932515" y="991042"/>
                </a:lnTo>
                <a:lnTo>
                  <a:pt x="3942190" y="984594"/>
                </a:lnTo>
                <a:lnTo>
                  <a:pt x="3951864" y="984594"/>
                </a:lnTo>
                <a:lnTo>
                  <a:pt x="3955089" y="971695"/>
                </a:lnTo>
                <a:lnTo>
                  <a:pt x="3951864" y="958796"/>
                </a:lnTo>
                <a:lnTo>
                  <a:pt x="3951864" y="949121"/>
                </a:lnTo>
                <a:lnTo>
                  <a:pt x="3958313" y="932998"/>
                </a:lnTo>
                <a:lnTo>
                  <a:pt x="3961538" y="929774"/>
                </a:lnTo>
                <a:lnTo>
                  <a:pt x="3964763" y="916874"/>
                </a:lnTo>
                <a:lnTo>
                  <a:pt x="3967988" y="907200"/>
                </a:lnTo>
                <a:lnTo>
                  <a:pt x="3980886" y="884628"/>
                </a:lnTo>
                <a:lnTo>
                  <a:pt x="3990560" y="884628"/>
                </a:lnTo>
                <a:lnTo>
                  <a:pt x="3997010" y="871729"/>
                </a:lnTo>
                <a:lnTo>
                  <a:pt x="4006683" y="868505"/>
                </a:lnTo>
                <a:lnTo>
                  <a:pt x="4003459" y="852381"/>
                </a:lnTo>
                <a:lnTo>
                  <a:pt x="4013133" y="839482"/>
                </a:lnTo>
                <a:lnTo>
                  <a:pt x="4003459" y="836258"/>
                </a:lnTo>
                <a:lnTo>
                  <a:pt x="4009909" y="829808"/>
                </a:lnTo>
                <a:lnTo>
                  <a:pt x="4016358" y="829808"/>
                </a:lnTo>
                <a:lnTo>
                  <a:pt x="4026032" y="829808"/>
                </a:lnTo>
                <a:lnTo>
                  <a:pt x="4029257" y="823359"/>
                </a:lnTo>
                <a:lnTo>
                  <a:pt x="4035706" y="826584"/>
                </a:lnTo>
                <a:lnTo>
                  <a:pt x="4048604" y="820134"/>
                </a:lnTo>
                <a:lnTo>
                  <a:pt x="4042156" y="810459"/>
                </a:lnTo>
                <a:lnTo>
                  <a:pt x="4042156" y="797561"/>
                </a:lnTo>
                <a:lnTo>
                  <a:pt x="4045380" y="787886"/>
                </a:lnTo>
                <a:lnTo>
                  <a:pt x="4048604" y="784662"/>
                </a:lnTo>
                <a:lnTo>
                  <a:pt x="4058279" y="774988"/>
                </a:lnTo>
                <a:lnTo>
                  <a:pt x="4064728" y="768538"/>
                </a:lnTo>
                <a:lnTo>
                  <a:pt x="4067953" y="758864"/>
                </a:lnTo>
                <a:lnTo>
                  <a:pt x="4080851" y="736291"/>
                </a:lnTo>
                <a:lnTo>
                  <a:pt x="4084077" y="733067"/>
                </a:lnTo>
                <a:lnTo>
                  <a:pt x="4087301" y="729842"/>
                </a:lnTo>
                <a:lnTo>
                  <a:pt x="4093751" y="723393"/>
                </a:lnTo>
                <a:lnTo>
                  <a:pt x="4122772" y="704044"/>
                </a:lnTo>
                <a:lnTo>
                  <a:pt x="4129222" y="707270"/>
                </a:lnTo>
                <a:lnTo>
                  <a:pt x="4132447" y="716944"/>
                </a:lnTo>
                <a:lnTo>
                  <a:pt x="4138896" y="710494"/>
                </a:lnTo>
                <a:lnTo>
                  <a:pt x="4145346" y="700820"/>
                </a:lnTo>
                <a:lnTo>
                  <a:pt x="4145346" y="687921"/>
                </a:lnTo>
                <a:lnTo>
                  <a:pt x="4164693" y="681472"/>
                </a:lnTo>
                <a:lnTo>
                  <a:pt x="4174368" y="684697"/>
                </a:lnTo>
                <a:lnTo>
                  <a:pt x="4184042" y="687921"/>
                </a:lnTo>
                <a:lnTo>
                  <a:pt x="4196940" y="681472"/>
                </a:lnTo>
                <a:lnTo>
                  <a:pt x="4206615" y="662123"/>
                </a:lnTo>
                <a:lnTo>
                  <a:pt x="4213064" y="646000"/>
                </a:lnTo>
                <a:lnTo>
                  <a:pt x="4219514" y="649225"/>
                </a:lnTo>
                <a:lnTo>
                  <a:pt x="4222738" y="639550"/>
                </a:lnTo>
                <a:lnTo>
                  <a:pt x="4235637" y="639550"/>
                </a:lnTo>
                <a:lnTo>
                  <a:pt x="4242087" y="639550"/>
                </a:lnTo>
                <a:lnTo>
                  <a:pt x="4248536" y="646000"/>
                </a:lnTo>
                <a:lnTo>
                  <a:pt x="4242087" y="658899"/>
                </a:lnTo>
                <a:lnTo>
                  <a:pt x="4232413" y="668573"/>
                </a:lnTo>
                <a:lnTo>
                  <a:pt x="4229188" y="691146"/>
                </a:lnTo>
                <a:lnTo>
                  <a:pt x="4232413" y="697596"/>
                </a:lnTo>
                <a:lnTo>
                  <a:pt x="4238861" y="687921"/>
                </a:lnTo>
                <a:lnTo>
                  <a:pt x="4245311" y="671797"/>
                </a:lnTo>
                <a:lnTo>
                  <a:pt x="4258210" y="646000"/>
                </a:lnTo>
                <a:lnTo>
                  <a:pt x="4264660" y="649225"/>
                </a:lnTo>
                <a:lnTo>
                  <a:pt x="4264660" y="665349"/>
                </a:lnTo>
                <a:lnTo>
                  <a:pt x="4261435" y="678247"/>
                </a:lnTo>
                <a:lnTo>
                  <a:pt x="4271108" y="671797"/>
                </a:lnTo>
                <a:lnTo>
                  <a:pt x="4274334" y="652449"/>
                </a:lnTo>
                <a:lnTo>
                  <a:pt x="4274334" y="642776"/>
                </a:lnTo>
                <a:lnTo>
                  <a:pt x="4284008" y="633102"/>
                </a:lnTo>
                <a:lnTo>
                  <a:pt x="4300131" y="629876"/>
                </a:lnTo>
                <a:lnTo>
                  <a:pt x="4306581" y="636326"/>
                </a:lnTo>
                <a:lnTo>
                  <a:pt x="4303355" y="646000"/>
                </a:lnTo>
                <a:lnTo>
                  <a:pt x="4306581" y="652449"/>
                </a:lnTo>
                <a:lnTo>
                  <a:pt x="4325929" y="652449"/>
                </a:lnTo>
                <a:lnTo>
                  <a:pt x="4322704" y="658899"/>
                </a:lnTo>
                <a:lnTo>
                  <a:pt x="4329153" y="655674"/>
                </a:lnTo>
                <a:lnTo>
                  <a:pt x="4332378" y="652449"/>
                </a:lnTo>
                <a:lnTo>
                  <a:pt x="4342052" y="655674"/>
                </a:lnTo>
                <a:lnTo>
                  <a:pt x="4354951" y="668573"/>
                </a:lnTo>
                <a:lnTo>
                  <a:pt x="4361400" y="675023"/>
                </a:lnTo>
                <a:lnTo>
                  <a:pt x="4361400" y="684697"/>
                </a:lnTo>
                <a:lnTo>
                  <a:pt x="4332378" y="697596"/>
                </a:lnTo>
                <a:lnTo>
                  <a:pt x="4319479" y="694370"/>
                </a:lnTo>
                <a:lnTo>
                  <a:pt x="4306581" y="691146"/>
                </a:lnTo>
                <a:lnTo>
                  <a:pt x="4322704" y="700820"/>
                </a:lnTo>
                <a:lnTo>
                  <a:pt x="4332378" y="704044"/>
                </a:lnTo>
                <a:lnTo>
                  <a:pt x="4332378" y="716944"/>
                </a:lnTo>
                <a:lnTo>
                  <a:pt x="4338828" y="716944"/>
                </a:lnTo>
                <a:lnTo>
                  <a:pt x="4342052" y="723393"/>
                </a:lnTo>
                <a:lnTo>
                  <a:pt x="4342052" y="716944"/>
                </a:lnTo>
                <a:lnTo>
                  <a:pt x="4342052" y="710494"/>
                </a:lnTo>
                <a:lnTo>
                  <a:pt x="4345276" y="710494"/>
                </a:lnTo>
                <a:lnTo>
                  <a:pt x="4354951" y="713718"/>
                </a:lnTo>
                <a:lnTo>
                  <a:pt x="4358176" y="713718"/>
                </a:lnTo>
                <a:lnTo>
                  <a:pt x="4367850" y="720167"/>
                </a:lnTo>
                <a:lnTo>
                  <a:pt x="4374299" y="720167"/>
                </a:lnTo>
                <a:lnTo>
                  <a:pt x="4377523" y="713718"/>
                </a:lnTo>
                <a:lnTo>
                  <a:pt x="4383973" y="704043"/>
                </a:lnTo>
                <a:lnTo>
                  <a:pt x="4396872" y="713718"/>
                </a:lnTo>
                <a:lnTo>
                  <a:pt x="4406546" y="716943"/>
                </a:lnTo>
                <a:lnTo>
                  <a:pt x="4403321" y="729841"/>
                </a:lnTo>
                <a:lnTo>
                  <a:pt x="4412996" y="736290"/>
                </a:lnTo>
                <a:lnTo>
                  <a:pt x="4425894" y="742740"/>
                </a:lnTo>
                <a:lnTo>
                  <a:pt x="4445242" y="745964"/>
                </a:lnTo>
                <a:lnTo>
                  <a:pt x="4467815" y="752414"/>
                </a:lnTo>
                <a:lnTo>
                  <a:pt x="4496838" y="774987"/>
                </a:lnTo>
                <a:lnTo>
                  <a:pt x="4509736" y="784661"/>
                </a:lnTo>
                <a:lnTo>
                  <a:pt x="4522635" y="797560"/>
                </a:lnTo>
                <a:lnTo>
                  <a:pt x="4538759" y="813684"/>
                </a:lnTo>
                <a:lnTo>
                  <a:pt x="4548433" y="820133"/>
                </a:lnTo>
                <a:lnTo>
                  <a:pt x="4577455" y="839481"/>
                </a:lnTo>
                <a:lnTo>
                  <a:pt x="4587129" y="868504"/>
                </a:lnTo>
                <a:lnTo>
                  <a:pt x="4583904" y="891076"/>
                </a:lnTo>
                <a:lnTo>
                  <a:pt x="4574230" y="907199"/>
                </a:lnTo>
                <a:lnTo>
                  <a:pt x="4561332" y="920099"/>
                </a:lnTo>
                <a:lnTo>
                  <a:pt x="4535534" y="929773"/>
                </a:lnTo>
                <a:lnTo>
                  <a:pt x="4509736" y="929773"/>
                </a:lnTo>
                <a:lnTo>
                  <a:pt x="4480714" y="920099"/>
                </a:lnTo>
                <a:lnTo>
                  <a:pt x="4451691" y="910425"/>
                </a:lnTo>
                <a:lnTo>
                  <a:pt x="4425894" y="897525"/>
                </a:lnTo>
                <a:lnTo>
                  <a:pt x="4412996" y="894301"/>
                </a:lnTo>
                <a:lnTo>
                  <a:pt x="4400097" y="881402"/>
                </a:lnTo>
                <a:lnTo>
                  <a:pt x="4400097" y="878178"/>
                </a:lnTo>
                <a:lnTo>
                  <a:pt x="4393647" y="871728"/>
                </a:lnTo>
                <a:lnTo>
                  <a:pt x="4377523" y="871728"/>
                </a:lnTo>
                <a:lnTo>
                  <a:pt x="4390423" y="884627"/>
                </a:lnTo>
                <a:lnTo>
                  <a:pt x="4396872" y="891076"/>
                </a:lnTo>
                <a:lnTo>
                  <a:pt x="4400097" y="900751"/>
                </a:lnTo>
                <a:lnTo>
                  <a:pt x="4412996" y="910425"/>
                </a:lnTo>
                <a:lnTo>
                  <a:pt x="4419444" y="916874"/>
                </a:lnTo>
                <a:lnTo>
                  <a:pt x="4445242" y="942672"/>
                </a:lnTo>
                <a:lnTo>
                  <a:pt x="4448467" y="952346"/>
                </a:lnTo>
                <a:lnTo>
                  <a:pt x="4442018" y="965244"/>
                </a:lnTo>
                <a:lnTo>
                  <a:pt x="4438793" y="965244"/>
                </a:lnTo>
                <a:lnTo>
                  <a:pt x="4435568" y="968469"/>
                </a:lnTo>
                <a:lnTo>
                  <a:pt x="4442018" y="991042"/>
                </a:lnTo>
                <a:lnTo>
                  <a:pt x="4445242" y="1000716"/>
                </a:lnTo>
                <a:lnTo>
                  <a:pt x="4442018" y="1013614"/>
                </a:lnTo>
                <a:lnTo>
                  <a:pt x="4454917" y="1023288"/>
                </a:lnTo>
                <a:lnTo>
                  <a:pt x="4458141" y="1023288"/>
                </a:lnTo>
                <a:lnTo>
                  <a:pt x="4461365" y="1020064"/>
                </a:lnTo>
                <a:lnTo>
                  <a:pt x="4471040" y="1029738"/>
                </a:lnTo>
                <a:lnTo>
                  <a:pt x="4474265" y="1039412"/>
                </a:lnTo>
                <a:lnTo>
                  <a:pt x="4483938" y="1042637"/>
                </a:lnTo>
                <a:lnTo>
                  <a:pt x="4493613" y="1045862"/>
                </a:lnTo>
                <a:lnTo>
                  <a:pt x="4506512" y="1042637"/>
                </a:lnTo>
                <a:lnTo>
                  <a:pt x="4516186" y="1039412"/>
                </a:lnTo>
                <a:lnTo>
                  <a:pt x="4512961" y="1026514"/>
                </a:lnTo>
                <a:lnTo>
                  <a:pt x="4493613" y="1020064"/>
                </a:lnTo>
                <a:lnTo>
                  <a:pt x="4483938" y="1000716"/>
                </a:lnTo>
                <a:lnTo>
                  <a:pt x="4487164" y="984593"/>
                </a:lnTo>
                <a:lnTo>
                  <a:pt x="4490388" y="978143"/>
                </a:lnTo>
                <a:lnTo>
                  <a:pt x="4506512" y="984593"/>
                </a:lnTo>
                <a:lnTo>
                  <a:pt x="4516186" y="1000716"/>
                </a:lnTo>
                <a:lnTo>
                  <a:pt x="4522635" y="1000716"/>
                </a:lnTo>
                <a:lnTo>
                  <a:pt x="4529085" y="1000716"/>
                </a:lnTo>
                <a:lnTo>
                  <a:pt x="4541983" y="1007165"/>
                </a:lnTo>
                <a:lnTo>
                  <a:pt x="4554882" y="1013614"/>
                </a:lnTo>
                <a:lnTo>
                  <a:pt x="4567780" y="1013614"/>
                </a:lnTo>
                <a:lnTo>
                  <a:pt x="4567780" y="1010390"/>
                </a:lnTo>
                <a:lnTo>
                  <a:pt x="4554882" y="978143"/>
                </a:lnTo>
                <a:lnTo>
                  <a:pt x="4551658" y="965244"/>
                </a:lnTo>
                <a:lnTo>
                  <a:pt x="4554882" y="955570"/>
                </a:lnTo>
                <a:lnTo>
                  <a:pt x="4574230" y="939447"/>
                </a:lnTo>
                <a:lnTo>
                  <a:pt x="4593579" y="926548"/>
                </a:lnTo>
                <a:lnTo>
                  <a:pt x="4603253" y="913649"/>
                </a:lnTo>
                <a:lnTo>
                  <a:pt x="4609702" y="907199"/>
                </a:lnTo>
                <a:lnTo>
                  <a:pt x="4625826" y="913649"/>
                </a:lnTo>
                <a:lnTo>
                  <a:pt x="4638724" y="920099"/>
                </a:lnTo>
                <a:lnTo>
                  <a:pt x="4645174" y="926548"/>
                </a:lnTo>
                <a:lnTo>
                  <a:pt x="4648398" y="923323"/>
                </a:lnTo>
                <a:lnTo>
                  <a:pt x="4654848" y="900751"/>
                </a:lnTo>
                <a:lnTo>
                  <a:pt x="4654848" y="887852"/>
                </a:lnTo>
                <a:lnTo>
                  <a:pt x="4648398" y="871728"/>
                </a:lnTo>
                <a:lnTo>
                  <a:pt x="4638724" y="868504"/>
                </a:lnTo>
                <a:lnTo>
                  <a:pt x="4645174" y="849155"/>
                </a:lnTo>
                <a:lnTo>
                  <a:pt x="4648398" y="816908"/>
                </a:lnTo>
                <a:lnTo>
                  <a:pt x="4651623" y="807234"/>
                </a:lnTo>
                <a:lnTo>
                  <a:pt x="4645174" y="800784"/>
                </a:lnTo>
                <a:lnTo>
                  <a:pt x="4632274" y="791110"/>
                </a:lnTo>
                <a:lnTo>
                  <a:pt x="4629050" y="784661"/>
                </a:lnTo>
                <a:lnTo>
                  <a:pt x="4632274" y="784661"/>
                </a:lnTo>
                <a:lnTo>
                  <a:pt x="4645174" y="791110"/>
                </a:lnTo>
                <a:lnTo>
                  <a:pt x="4658072" y="791110"/>
                </a:lnTo>
                <a:lnTo>
                  <a:pt x="4683870" y="794335"/>
                </a:lnTo>
                <a:lnTo>
                  <a:pt x="4693544" y="807234"/>
                </a:lnTo>
                <a:lnTo>
                  <a:pt x="4699993" y="816908"/>
                </a:lnTo>
                <a:lnTo>
                  <a:pt x="4703218" y="829807"/>
                </a:lnTo>
                <a:lnTo>
                  <a:pt x="4693544" y="836257"/>
                </a:lnTo>
                <a:lnTo>
                  <a:pt x="4680645" y="836257"/>
                </a:lnTo>
                <a:lnTo>
                  <a:pt x="4670971" y="849155"/>
                </a:lnTo>
                <a:lnTo>
                  <a:pt x="4667747" y="862054"/>
                </a:lnTo>
                <a:lnTo>
                  <a:pt x="4680645" y="878178"/>
                </a:lnTo>
                <a:lnTo>
                  <a:pt x="4683870" y="887852"/>
                </a:lnTo>
                <a:lnTo>
                  <a:pt x="4690319" y="891076"/>
                </a:lnTo>
                <a:lnTo>
                  <a:pt x="4699993" y="891076"/>
                </a:lnTo>
                <a:lnTo>
                  <a:pt x="4716116" y="887852"/>
                </a:lnTo>
                <a:lnTo>
                  <a:pt x="4725791" y="881402"/>
                </a:lnTo>
                <a:lnTo>
                  <a:pt x="4729016" y="858829"/>
                </a:lnTo>
                <a:lnTo>
                  <a:pt x="4729016" y="849155"/>
                </a:lnTo>
                <a:lnTo>
                  <a:pt x="4735465" y="842706"/>
                </a:lnTo>
                <a:lnTo>
                  <a:pt x="4748363" y="839481"/>
                </a:lnTo>
                <a:lnTo>
                  <a:pt x="4777386" y="816908"/>
                </a:lnTo>
                <a:lnTo>
                  <a:pt x="4790284" y="807234"/>
                </a:lnTo>
                <a:lnTo>
                  <a:pt x="4803184" y="800784"/>
                </a:lnTo>
                <a:lnTo>
                  <a:pt x="4816083" y="794335"/>
                </a:lnTo>
                <a:lnTo>
                  <a:pt x="4838655" y="778211"/>
                </a:lnTo>
                <a:lnTo>
                  <a:pt x="4851554" y="771763"/>
                </a:lnTo>
                <a:lnTo>
                  <a:pt x="4864452" y="765313"/>
                </a:lnTo>
                <a:lnTo>
                  <a:pt x="4870902" y="768537"/>
                </a:lnTo>
                <a:lnTo>
                  <a:pt x="4861228" y="778211"/>
                </a:lnTo>
                <a:lnTo>
                  <a:pt x="4851554" y="800784"/>
                </a:lnTo>
                <a:lnTo>
                  <a:pt x="4848329" y="810458"/>
                </a:lnTo>
                <a:lnTo>
                  <a:pt x="4861228" y="810458"/>
                </a:lnTo>
                <a:lnTo>
                  <a:pt x="4870902" y="810458"/>
                </a:lnTo>
                <a:lnTo>
                  <a:pt x="4883801" y="800784"/>
                </a:lnTo>
                <a:lnTo>
                  <a:pt x="4893475" y="791110"/>
                </a:lnTo>
                <a:lnTo>
                  <a:pt x="4906373" y="787886"/>
                </a:lnTo>
                <a:lnTo>
                  <a:pt x="4919272" y="791110"/>
                </a:lnTo>
                <a:lnTo>
                  <a:pt x="4919272" y="787886"/>
                </a:lnTo>
                <a:lnTo>
                  <a:pt x="4938620" y="787886"/>
                </a:lnTo>
                <a:lnTo>
                  <a:pt x="4941846" y="781437"/>
                </a:lnTo>
                <a:lnTo>
                  <a:pt x="4951519" y="774987"/>
                </a:lnTo>
                <a:lnTo>
                  <a:pt x="4967643" y="765313"/>
                </a:lnTo>
                <a:lnTo>
                  <a:pt x="4970867" y="768537"/>
                </a:lnTo>
                <a:lnTo>
                  <a:pt x="4974093" y="768537"/>
                </a:lnTo>
                <a:lnTo>
                  <a:pt x="4983767" y="781437"/>
                </a:lnTo>
                <a:lnTo>
                  <a:pt x="4977317" y="791110"/>
                </a:lnTo>
                <a:lnTo>
                  <a:pt x="4977317" y="800784"/>
                </a:lnTo>
                <a:lnTo>
                  <a:pt x="4983767" y="804009"/>
                </a:lnTo>
                <a:lnTo>
                  <a:pt x="4993440" y="800784"/>
                </a:lnTo>
                <a:lnTo>
                  <a:pt x="5009564" y="778211"/>
                </a:lnTo>
                <a:lnTo>
                  <a:pt x="5016014" y="758863"/>
                </a:lnTo>
                <a:lnTo>
                  <a:pt x="5012788" y="752414"/>
                </a:lnTo>
                <a:lnTo>
                  <a:pt x="5006340" y="742740"/>
                </a:lnTo>
                <a:lnTo>
                  <a:pt x="4999890" y="729841"/>
                </a:lnTo>
                <a:lnTo>
                  <a:pt x="5003114" y="723392"/>
                </a:lnTo>
                <a:lnTo>
                  <a:pt x="5016014" y="710493"/>
                </a:lnTo>
                <a:lnTo>
                  <a:pt x="5025687" y="713718"/>
                </a:lnTo>
                <a:lnTo>
                  <a:pt x="5054709" y="716943"/>
                </a:lnTo>
                <a:lnTo>
                  <a:pt x="5083732" y="729841"/>
                </a:lnTo>
                <a:lnTo>
                  <a:pt x="5093406" y="736290"/>
                </a:lnTo>
                <a:lnTo>
                  <a:pt x="5106305" y="745964"/>
                </a:lnTo>
                <a:lnTo>
                  <a:pt x="5115979" y="752414"/>
                </a:lnTo>
                <a:lnTo>
                  <a:pt x="5119203" y="755639"/>
                </a:lnTo>
                <a:lnTo>
                  <a:pt x="5125653" y="762088"/>
                </a:lnTo>
                <a:lnTo>
                  <a:pt x="5135327" y="765313"/>
                </a:lnTo>
                <a:lnTo>
                  <a:pt x="5151450" y="778211"/>
                </a:lnTo>
                <a:lnTo>
                  <a:pt x="5164350" y="791110"/>
                </a:lnTo>
                <a:lnTo>
                  <a:pt x="5174023" y="797560"/>
                </a:lnTo>
                <a:lnTo>
                  <a:pt x="5177248" y="807234"/>
                </a:lnTo>
                <a:lnTo>
                  <a:pt x="5177248" y="813684"/>
                </a:lnTo>
                <a:lnTo>
                  <a:pt x="5178769" y="812669"/>
                </a:lnTo>
                <a:lnTo>
                  <a:pt x="5186922" y="807234"/>
                </a:lnTo>
                <a:lnTo>
                  <a:pt x="5190147" y="787885"/>
                </a:lnTo>
                <a:lnTo>
                  <a:pt x="5190147" y="768537"/>
                </a:lnTo>
                <a:lnTo>
                  <a:pt x="5174023" y="749188"/>
                </a:lnTo>
                <a:lnTo>
                  <a:pt x="5170798" y="733066"/>
                </a:lnTo>
                <a:lnTo>
                  <a:pt x="5161124" y="726616"/>
                </a:lnTo>
                <a:lnTo>
                  <a:pt x="5154675" y="723391"/>
                </a:lnTo>
                <a:lnTo>
                  <a:pt x="5148226" y="720167"/>
                </a:lnTo>
                <a:lnTo>
                  <a:pt x="5148226" y="729841"/>
                </a:lnTo>
                <a:lnTo>
                  <a:pt x="5145001" y="710493"/>
                </a:lnTo>
                <a:lnTo>
                  <a:pt x="5148226" y="700819"/>
                </a:lnTo>
                <a:lnTo>
                  <a:pt x="5154675" y="662122"/>
                </a:lnTo>
                <a:lnTo>
                  <a:pt x="5151450" y="649223"/>
                </a:lnTo>
                <a:lnTo>
                  <a:pt x="5145001" y="652449"/>
                </a:lnTo>
                <a:lnTo>
                  <a:pt x="5141776" y="629875"/>
                </a:lnTo>
                <a:lnTo>
                  <a:pt x="5148226" y="616976"/>
                </a:lnTo>
                <a:lnTo>
                  <a:pt x="5151450" y="616976"/>
                </a:lnTo>
                <a:lnTo>
                  <a:pt x="5177248" y="591179"/>
                </a:lnTo>
                <a:lnTo>
                  <a:pt x="5193371" y="517011"/>
                </a:lnTo>
                <a:lnTo>
                  <a:pt x="5199821" y="504113"/>
                </a:lnTo>
                <a:lnTo>
                  <a:pt x="5203045" y="497663"/>
                </a:lnTo>
                <a:lnTo>
                  <a:pt x="5209495" y="497663"/>
                </a:lnTo>
                <a:lnTo>
                  <a:pt x="5232068" y="500887"/>
                </a:lnTo>
                <a:lnTo>
                  <a:pt x="5248191" y="500887"/>
                </a:lnTo>
                <a:lnTo>
                  <a:pt x="5270763" y="513786"/>
                </a:lnTo>
                <a:lnTo>
                  <a:pt x="5277213" y="517011"/>
                </a:lnTo>
                <a:lnTo>
                  <a:pt x="5277213" y="539584"/>
                </a:lnTo>
                <a:lnTo>
                  <a:pt x="5270763" y="565381"/>
                </a:lnTo>
                <a:lnTo>
                  <a:pt x="5267539" y="584730"/>
                </a:lnTo>
                <a:lnTo>
                  <a:pt x="5264315" y="591179"/>
                </a:lnTo>
                <a:lnTo>
                  <a:pt x="5254641" y="604078"/>
                </a:lnTo>
                <a:lnTo>
                  <a:pt x="5261090" y="616976"/>
                </a:lnTo>
                <a:lnTo>
                  <a:pt x="5270763" y="626651"/>
                </a:lnTo>
                <a:lnTo>
                  <a:pt x="5277213" y="642775"/>
                </a:lnTo>
                <a:lnTo>
                  <a:pt x="5277213" y="652449"/>
                </a:lnTo>
                <a:lnTo>
                  <a:pt x="5273989" y="675021"/>
                </a:lnTo>
                <a:lnTo>
                  <a:pt x="5270763" y="681470"/>
                </a:lnTo>
                <a:lnTo>
                  <a:pt x="5273989" y="707268"/>
                </a:lnTo>
                <a:lnTo>
                  <a:pt x="5273989" y="745964"/>
                </a:lnTo>
                <a:lnTo>
                  <a:pt x="5270763" y="752414"/>
                </a:lnTo>
                <a:lnTo>
                  <a:pt x="5270763" y="765312"/>
                </a:lnTo>
                <a:lnTo>
                  <a:pt x="5280438" y="778211"/>
                </a:lnTo>
                <a:lnTo>
                  <a:pt x="5293337" y="791110"/>
                </a:lnTo>
                <a:lnTo>
                  <a:pt x="5296562" y="797559"/>
                </a:lnTo>
                <a:lnTo>
                  <a:pt x="5293337" y="797559"/>
                </a:lnTo>
                <a:lnTo>
                  <a:pt x="5286887" y="807234"/>
                </a:lnTo>
                <a:lnTo>
                  <a:pt x="5283663" y="810458"/>
                </a:lnTo>
                <a:lnTo>
                  <a:pt x="5283663" y="823358"/>
                </a:lnTo>
                <a:lnTo>
                  <a:pt x="5277213" y="845931"/>
                </a:lnTo>
                <a:lnTo>
                  <a:pt x="5261090" y="878177"/>
                </a:lnTo>
                <a:lnTo>
                  <a:pt x="5244966" y="887852"/>
                </a:lnTo>
                <a:lnTo>
                  <a:pt x="5251416" y="897525"/>
                </a:lnTo>
                <a:lnTo>
                  <a:pt x="5248191" y="900750"/>
                </a:lnTo>
                <a:lnTo>
                  <a:pt x="5251416" y="920099"/>
                </a:lnTo>
                <a:lnTo>
                  <a:pt x="5254641" y="923323"/>
                </a:lnTo>
                <a:lnTo>
                  <a:pt x="5261090" y="923323"/>
                </a:lnTo>
                <a:lnTo>
                  <a:pt x="5264315" y="916873"/>
                </a:lnTo>
                <a:lnTo>
                  <a:pt x="5270763" y="903975"/>
                </a:lnTo>
                <a:lnTo>
                  <a:pt x="5280438" y="894300"/>
                </a:lnTo>
                <a:lnTo>
                  <a:pt x="5293337" y="891076"/>
                </a:lnTo>
                <a:lnTo>
                  <a:pt x="5299786" y="881402"/>
                </a:lnTo>
                <a:lnTo>
                  <a:pt x="5303010" y="871728"/>
                </a:lnTo>
                <a:lnTo>
                  <a:pt x="5315910" y="849155"/>
                </a:lnTo>
                <a:lnTo>
                  <a:pt x="5322359" y="829807"/>
                </a:lnTo>
                <a:lnTo>
                  <a:pt x="5315910" y="807234"/>
                </a:lnTo>
                <a:lnTo>
                  <a:pt x="5309460" y="800784"/>
                </a:lnTo>
                <a:lnTo>
                  <a:pt x="5312685" y="787885"/>
                </a:lnTo>
                <a:lnTo>
                  <a:pt x="5322359" y="774987"/>
                </a:lnTo>
                <a:lnTo>
                  <a:pt x="5335258" y="771762"/>
                </a:lnTo>
                <a:lnTo>
                  <a:pt x="5348157" y="765312"/>
                </a:lnTo>
                <a:lnTo>
                  <a:pt x="5354606" y="755638"/>
                </a:lnTo>
                <a:lnTo>
                  <a:pt x="5332033" y="752414"/>
                </a:lnTo>
                <a:lnTo>
                  <a:pt x="5319134" y="755638"/>
                </a:lnTo>
                <a:lnTo>
                  <a:pt x="5306236" y="758863"/>
                </a:lnTo>
                <a:lnTo>
                  <a:pt x="5296562" y="749188"/>
                </a:lnTo>
                <a:lnTo>
                  <a:pt x="5296562" y="707268"/>
                </a:lnTo>
                <a:lnTo>
                  <a:pt x="5306236" y="675021"/>
                </a:lnTo>
                <a:lnTo>
                  <a:pt x="5309460" y="655673"/>
                </a:lnTo>
                <a:lnTo>
                  <a:pt x="5283663" y="610528"/>
                </a:lnTo>
                <a:lnTo>
                  <a:pt x="5293337" y="578280"/>
                </a:lnTo>
                <a:lnTo>
                  <a:pt x="5309460" y="568607"/>
                </a:lnTo>
                <a:lnTo>
                  <a:pt x="5325584" y="558932"/>
                </a:lnTo>
                <a:lnTo>
                  <a:pt x="5325584" y="526685"/>
                </a:lnTo>
                <a:lnTo>
                  <a:pt x="5322359" y="504113"/>
                </a:lnTo>
                <a:lnTo>
                  <a:pt x="5335258" y="510562"/>
                </a:lnTo>
                <a:lnTo>
                  <a:pt x="5338483" y="526685"/>
                </a:lnTo>
                <a:lnTo>
                  <a:pt x="5338483" y="546034"/>
                </a:lnTo>
                <a:lnTo>
                  <a:pt x="5335258" y="565381"/>
                </a:lnTo>
                <a:lnTo>
                  <a:pt x="5328809" y="578280"/>
                </a:lnTo>
                <a:lnTo>
                  <a:pt x="5332033" y="610528"/>
                </a:lnTo>
                <a:lnTo>
                  <a:pt x="5341707" y="620201"/>
                </a:lnTo>
                <a:lnTo>
                  <a:pt x="5357831" y="623426"/>
                </a:lnTo>
                <a:lnTo>
                  <a:pt x="5367505" y="629875"/>
                </a:lnTo>
                <a:lnTo>
                  <a:pt x="5364280" y="604078"/>
                </a:lnTo>
                <a:lnTo>
                  <a:pt x="5351381" y="597628"/>
                </a:lnTo>
                <a:lnTo>
                  <a:pt x="5348157" y="578280"/>
                </a:lnTo>
                <a:lnTo>
                  <a:pt x="5348157" y="571831"/>
                </a:lnTo>
                <a:lnTo>
                  <a:pt x="5361055" y="565381"/>
                </a:lnTo>
                <a:lnTo>
                  <a:pt x="5380404" y="552483"/>
                </a:lnTo>
                <a:lnTo>
                  <a:pt x="5406201" y="539584"/>
                </a:lnTo>
                <a:lnTo>
                  <a:pt x="5435223" y="552483"/>
                </a:lnTo>
                <a:lnTo>
                  <a:pt x="5448122" y="562157"/>
                </a:lnTo>
                <a:lnTo>
                  <a:pt x="5454572" y="571831"/>
                </a:lnTo>
                <a:lnTo>
                  <a:pt x="5461021" y="581505"/>
                </a:lnTo>
                <a:lnTo>
                  <a:pt x="5486819" y="584730"/>
                </a:lnTo>
                <a:lnTo>
                  <a:pt x="5490043" y="565381"/>
                </a:lnTo>
                <a:lnTo>
                  <a:pt x="5486819" y="558932"/>
                </a:lnTo>
                <a:lnTo>
                  <a:pt x="5486819" y="552483"/>
                </a:lnTo>
                <a:lnTo>
                  <a:pt x="5483593" y="546034"/>
                </a:lnTo>
                <a:lnTo>
                  <a:pt x="5454572" y="533134"/>
                </a:lnTo>
                <a:lnTo>
                  <a:pt x="5448122" y="507337"/>
                </a:lnTo>
                <a:lnTo>
                  <a:pt x="5444898" y="458966"/>
                </a:lnTo>
                <a:lnTo>
                  <a:pt x="5448122" y="449292"/>
                </a:lnTo>
                <a:lnTo>
                  <a:pt x="5457796" y="449292"/>
                </a:lnTo>
                <a:lnTo>
                  <a:pt x="5470695" y="446068"/>
                </a:lnTo>
                <a:lnTo>
                  <a:pt x="5499717" y="442843"/>
                </a:lnTo>
                <a:lnTo>
                  <a:pt x="5525514" y="439619"/>
                </a:lnTo>
                <a:lnTo>
                  <a:pt x="5544863" y="436394"/>
                </a:lnTo>
                <a:lnTo>
                  <a:pt x="5554537" y="433169"/>
                </a:lnTo>
                <a:lnTo>
                  <a:pt x="5567435" y="426719"/>
                </a:lnTo>
                <a:lnTo>
                  <a:pt x="5583559" y="423495"/>
                </a:lnTo>
                <a:lnTo>
                  <a:pt x="5586784" y="413821"/>
                </a:lnTo>
                <a:lnTo>
                  <a:pt x="5593233" y="413821"/>
                </a:lnTo>
                <a:lnTo>
                  <a:pt x="5586784" y="384798"/>
                </a:lnTo>
                <a:lnTo>
                  <a:pt x="5570661" y="368675"/>
                </a:lnTo>
                <a:lnTo>
                  <a:pt x="5570661" y="349327"/>
                </a:lnTo>
                <a:lnTo>
                  <a:pt x="5590008" y="359001"/>
                </a:lnTo>
                <a:lnTo>
                  <a:pt x="5593233" y="339653"/>
                </a:lnTo>
                <a:lnTo>
                  <a:pt x="5586784" y="326754"/>
                </a:lnTo>
                <a:lnTo>
                  <a:pt x="5586784" y="323529"/>
                </a:lnTo>
                <a:lnTo>
                  <a:pt x="5593233" y="320304"/>
                </a:lnTo>
                <a:lnTo>
                  <a:pt x="5615806" y="317080"/>
                </a:lnTo>
                <a:lnTo>
                  <a:pt x="5622256" y="307406"/>
                </a:lnTo>
                <a:lnTo>
                  <a:pt x="5631929" y="297732"/>
                </a:lnTo>
                <a:lnTo>
                  <a:pt x="5635155" y="294507"/>
                </a:lnTo>
                <a:lnTo>
                  <a:pt x="5689974" y="275159"/>
                </a:lnTo>
                <a:lnTo>
                  <a:pt x="5718997" y="265485"/>
                </a:lnTo>
                <a:lnTo>
                  <a:pt x="5718997" y="259035"/>
                </a:lnTo>
                <a:lnTo>
                  <a:pt x="5715771" y="249362"/>
                </a:lnTo>
                <a:lnTo>
                  <a:pt x="5722221" y="239688"/>
                </a:lnTo>
                <a:lnTo>
                  <a:pt x="5735120" y="236462"/>
                </a:lnTo>
                <a:lnTo>
                  <a:pt x="5748018" y="236462"/>
                </a:lnTo>
                <a:lnTo>
                  <a:pt x="5751244" y="242912"/>
                </a:lnTo>
                <a:lnTo>
                  <a:pt x="5760918" y="239688"/>
                </a:lnTo>
                <a:lnTo>
                  <a:pt x="5770591" y="233238"/>
                </a:lnTo>
                <a:lnTo>
                  <a:pt x="5786715" y="236462"/>
                </a:lnTo>
                <a:lnTo>
                  <a:pt x="5796389" y="249362"/>
                </a:lnTo>
                <a:lnTo>
                  <a:pt x="5809288" y="249362"/>
                </a:lnTo>
                <a:lnTo>
                  <a:pt x="5822186" y="249362"/>
                </a:lnTo>
                <a:lnTo>
                  <a:pt x="5838310" y="226788"/>
                </a:lnTo>
                <a:lnTo>
                  <a:pt x="5857658" y="226788"/>
                </a:lnTo>
                <a:lnTo>
                  <a:pt x="5864107" y="217114"/>
                </a:lnTo>
                <a:lnTo>
                  <a:pt x="5867333" y="204215"/>
                </a:lnTo>
                <a:lnTo>
                  <a:pt x="5896354" y="204215"/>
                </a:lnTo>
                <a:lnTo>
                  <a:pt x="5899580" y="200991"/>
                </a:lnTo>
                <a:lnTo>
                  <a:pt x="5893130" y="171968"/>
                </a:lnTo>
                <a:lnTo>
                  <a:pt x="5899580" y="142947"/>
                </a:lnTo>
                <a:lnTo>
                  <a:pt x="5915702" y="120373"/>
                </a:lnTo>
                <a:lnTo>
                  <a:pt x="5941501" y="91352"/>
                </a:lnTo>
                <a:lnTo>
                  <a:pt x="5954399" y="84902"/>
                </a:lnTo>
                <a:close/>
                <a:moveTo>
                  <a:pt x="1367271" y="78453"/>
                </a:moveTo>
                <a:lnTo>
                  <a:pt x="1370495" y="81679"/>
                </a:lnTo>
                <a:lnTo>
                  <a:pt x="1376945" y="94577"/>
                </a:lnTo>
                <a:lnTo>
                  <a:pt x="1389843" y="120374"/>
                </a:lnTo>
                <a:lnTo>
                  <a:pt x="1393068" y="136498"/>
                </a:lnTo>
                <a:lnTo>
                  <a:pt x="1386619" y="142948"/>
                </a:lnTo>
                <a:lnTo>
                  <a:pt x="1376945" y="136498"/>
                </a:lnTo>
                <a:lnTo>
                  <a:pt x="1367271" y="123600"/>
                </a:lnTo>
                <a:lnTo>
                  <a:pt x="1360821" y="94577"/>
                </a:lnTo>
                <a:close/>
                <a:moveTo>
                  <a:pt x="1605897" y="75229"/>
                </a:moveTo>
                <a:lnTo>
                  <a:pt x="1622021" y="75229"/>
                </a:lnTo>
                <a:lnTo>
                  <a:pt x="1638144" y="81679"/>
                </a:lnTo>
                <a:lnTo>
                  <a:pt x="1631695" y="110701"/>
                </a:lnTo>
                <a:lnTo>
                  <a:pt x="1615572" y="107476"/>
                </a:lnTo>
                <a:lnTo>
                  <a:pt x="1583325" y="107476"/>
                </a:lnTo>
                <a:lnTo>
                  <a:pt x="1576875" y="104251"/>
                </a:lnTo>
                <a:lnTo>
                  <a:pt x="1570426" y="91353"/>
                </a:lnTo>
                <a:lnTo>
                  <a:pt x="1573651" y="81679"/>
                </a:lnTo>
                <a:close/>
                <a:moveTo>
                  <a:pt x="3295638" y="62330"/>
                </a:moveTo>
                <a:lnTo>
                  <a:pt x="3295638" y="72004"/>
                </a:lnTo>
                <a:lnTo>
                  <a:pt x="3292414" y="84902"/>
                </a:lnTo>
                <a:lnTo>
                  <a:pt x="3282740" y="84902"/>
                </a:lnTo>
                <a:close/>
                <a:moveTo>
                  <a:pt x="1444663" y="62330"/>
                </a:moveTo>
                <a:lnTo>
                  <a:pt x="1464011" y="72004"/>
                </a:lnTo>
                <a:lnTo>
                  <a:pt x="1467236" y="78453"/>
                </a:lnTo>
                <a:lnTo>
                  <a:pt x="1467236" y="81679"/>
                </a:lnTo>
                <a:lnTo>
                  <a:pt x="1457562" y="84903"/>
                </a:lnTo>
                <a:lnTo>
                  <a:pt x="1438213" y="81679"/>
                </a:lnTo>
                <a:lnTo>
                  <a:pt x="1434989" y="65555"/>
                </a:lnTo>
                <a:close/>
                <a:moveTo>
                  <a:pt x="1177014" y="46206"/>
                </a:moveTo>
                <a:lnTo>
                  <a:pt x="1183463" y="59106"/>
                </a:lnTo>
                <a:lnTo>
                  <a:pt x="1193136" y="72004"/>
                </a:lnTo>
                <a:lnTo>
                  <a:pt x="1157665" y="55880"/>
                </a:lnTo>
                <a:lnTo>
                  <a:pt x="1167339" y="49432"/>
                </a:lnTo>
                <a:close/>
                <a:moveTo>
                  <a:pt x="1241507" y="42982"/>
                </a:moveTo>
                <a:lnTo>
                  <a:pt x="1273754" y="42982"/>
                </a:lnTo>
                <a:lnTo>
                  <a:pt x="1280204" y="46206"/>
                </a:lnTo>
                <a:lnTo>
                  <a:pt x="1276979" y="59106"/>
                </a:lnTo>
                <a:lnTo>
                  <a:pt x="1267304" y="101027"/>
                </a:lnTo>
                <a:lnTo>
                  <a:pt x="1241507" y="117150"/>
                </a:lnTo>
                <a:lnTo>
                  <a:pt x="1215710" y="117150"/>
                </a:lnTo>
                <a:lnTo>
                  <a:pt x="1206036" y="107476"/>
                </a:lnTo>
                <a:lnTo>
                  <a:pt x="1199586" y="101027"/>
                </a:lnTo>
                <a:lnTo>
                  <a:pt x="1196362" y="75229"/>
                </a:lnTo>
                <a:lnTo>
                  <a:pt x="1199586" y="62330"/>
                </a:lnTo>
                <a:lnTo>
                  <a:pt x="1209261" y="55880"/>
                </a:lnTo>
                <a:lnTo>
                  <a:pt x="1215710" y="52656"/>
                </a:lnTo>
                <a:close/>
                <a:moveTo>
                  <a:pt x="6028567" y="33307"/>
                </a:moveTo>
                <a:lnTo>
                  <a:pt x="6041465" y="36531"/>
                </a:lnTo>
                <a:lnTo>
                  <a:pt x="6038241" y="46205"/>
                </a:lnTo>
                <a:lnTo>
                  <a:pt x="6031792" y="46205"/>
                </a:lnTo>
                <a:lnTo>
                  <a:pt x="6012443" y="39756"/>
                </a:lnTo>
                <a:lnTo>
                  <a:pt x="6015669" y="36531"/>
                </a:lnTo>
                <a:close/>
                <a:moveTo>
                  <a:pt x="4180817" y="26859"/>
                </a:moveTo>
                <a:lnTo>
                  <a:pt x="4193716" y="36533"/>
                </a:lnTo>
                <a:lnTo>
                  <a:pt x="4187266" y="52656"/>
                </a:lnTo>
                <a:lnTo>
                  <a:pt x="4206615" y="65555"/>
                </a:lnTo>
                <a:lnTo>
                  <a:pt x="4216289" y="68780"/>
                </a:lnTo>
                <a:lnTo>
                  <a:pt x="4222738" y="75229"/>
                </a:lnTo>
                <a:lnTo>
                  <a:pt x="4219514" y="81679"/>
                </a:lnTo>
                <a:lnTo>
                  <a:pt x="4206615" y="94577"/>
                </a:lnTo>
                <a:lnTo>
                  <a:pt x="4203390" y="104252"/>
                </a:lnTo>
                <a:lnTo>
                  <a:pt x="4200166" y="110701"/>
                </a:lnTo>
                <a:lnTo>
                  <a:pt x="4180817" y="126824"/>
                </a:lnTo>
                <a:lnTo>
                  <a:pt x="4171143" y="126824"/>
                </a:lnTo>
                <a:lnTo>
                  <a:pt x="4164693" y="104252"/>
                </a:lnTo>
                <a:lnTo>
                  <a:pt x="4161469" y="107476"/>
                </a:lnTo>
                <a:lnTo>
                  <a:pt x="4145346" y="110701"/>
                </a:lnTo>
                <a:lnTo>
                  <a:pt x="4138896" y="110701"/>
                </a:lnTo>
                <a:lnTo>
                  <a:pt x="4138896" y="97802"/>
                </a:lnTo>
                <a:lnTo>
                  <a:pt x="4145346" y="81679"/>
                </a:lnTo>
                <a:lnTo>
                  <a:pt x="4148570" y="55881"/>
                </a:lnTo>
                <a:lnTo>
                  <a:pt x="4138896" y="46208"/>
                </a:lnTo>
                <a:lnTo>
                  <a:pt x="4142121" y="36533"/>
                </a:lnTo>
                <a:lnTo>
                  <a:pt x="4158245" y="30084"/>
                </a:lnTo>
                <a:close/>
                <a:moveTo>
                  <a:pt x="6015669" y="17184"/>
                </a:moveTo>
                <a:lnTo>
                  <a:pt x="6022117" y="23632"/>
                </a:lnTo>
                <a:lnTo>
                  <a:pt x="6012443" y="30082"/>
                </a:lnTo>
                <a:lnTo>
                  <a:pt x="6005993" y="30082"/>
                </a:lnTo>
                <a:close/>
                <a:moveTo>
                  <a:pt x="5878345" y="0"/>
                </a:moveTo>
                <a:lnTo>
                  <a:pt x="5988073" y="0"/>
                </a:lnTo>
                <a:lnTo>
                  <a:pt x="5986645" y="4284"/>
                </a:lnTo>
                <a:lnTo>
                  <a:pt x="5980196" y="13958"/>
                </a:lnTo>
                <a:lnTo>
                  <a:pt x="5970522" y="13958"/>
                </a:lnTo>
                <a:lnTo>
                  <a:pt x="5944725" y="26858"/>
                </a:lnTo>
                <a:lnTo>
                  <a:pt x="5915702" y="30082"/>
                </a:lnTo>
                <a:lnTo>
                  <a:pt x="5886680" y="46205"/>
                </a:lnTo>
                <a:lnTo>
                  <a:pt x="5873781" y="55879"/>
                </a:lnTo>
                <a:lnTo>
                  <a:pt x="5860883" y="55879"/>
                </a:lnTo>
                <a:close/>
                <a:moveTo>
                  <a:pt x="4124470" y="0"/>
                </a:moveTo>
                <a:lnTo>
                  <a:pt x="4167919" y="0"/>
                </a:lnTo>
                <a:lnTo>
                  <a:pt x="4167919" y="23634"/>
                </a:lnTo>
                <a:lnTo>
                  <a:pt x="4161469" y="26859"/>
                </a:lnTo>
                <a:lnTo>
                  <a:pt x="4142121" y="30084"/>
                </a:lnTo>
                <a:lnTo>
                  <a:pt x="4135672" y="20409"/>
                </a:lnTo>
                <a:lnTo>
                  <a:pt x="4132447" y="10735"/>
                </a:lnTo>
                <a:lnTo>
                  <a:pt x="4122772" y="1061"/>
                </a:lnTo>
                <a:close/>
                <a:moveTo>
                  <a:pt x="4023890" y="0"/>
                </a:moveTo>
                <a:lnTo>
                  <a:pt x="4102343" y="0"/>
                </a:lnTo>
                <a:lnTo>
                  <a:pt x="4100200" y="4286"/>
                </a:lnTo>
                <a:lnTo>
                  <a:pt x="4096975" y="17185"/>
                </a:lnTo>
                <a:lnTo>
                  <a:pt x="4096975" y="26859"/>
                </a:lnTo>
                <a:lnTo>
                  <a:pt x="4087301" y="65555"/>
                </a:lnTo>
                <a:lnTo>
                  <a:pt x="4077627" y="94577"/>
                </a:lnTo>
                <a:lnTo>
                  <a:pt x="4071178" y="107476"/>
                </a:lnTo>
                <a:lnTo>
                  <a:pt x="4055054" y="178420"/>
                </a:lnTo>
                <a:lnTo>
                  <a:pt x="4051830" y="194543"/>
                </a:lnTo>
                <a:lnTo>
                  <a:pt x="4042156" y="194543"/>
                </a:lnTo>
                <a:lnTo>
                  <a:pt x="4022807" y="165521"/>
                </a:lnTo>
                <a:lnTo>
                  <a:pt x="4013133" y="152621"/>
                </a:lnTo>
                <a:lnTo>
                  <a:pt x="3997010" y="133274"/>
                </a:lnTo>
                <a:lnTo>
                  <a:pt x="3987336" y="113926"/>
                </a:lnTo>
                <a:lnTo>
                  <a:pt x="3987336" y="101027"/>
                </a:lnTo>
                <a:lnTo>
                  <a:pt x="3990560" y="97802"/>
                </a:lnTo>
                <a:lnTo>
                  <a:pt x="3997010" y="94577"/>
                </a:lnTo>
                <a:lnTo>
                  <a:pt x="4000235" y="104252"/>
                </a:lnTo>
                <a:lnTo>
                  <a:pt x="4003459" y="101027"/>
                </a:lnTo>
                <a:lnTo>
                  <a:pt x="4006683" y="97802"/>
                </a:lnTo>
                <a:lnTo>
                  <a:pt x="4003459" y="88128"/>
                </a:lnTo>
                <a:lnTo>
                  <a:pt x="3990560" y="75229"/>
                </a:lnTo>
                <a:lnTo>
                  <a:pt x="3980886" y="78453"/>
                </a:lnTo>
                <a:lnTo>
                  <a:pt x="3977662" y="49432"/>
                </a:lnTo>
                <a:lnTo>
                  <a:pt x="3984111" y="42982"/>
                </a:lnTo>
                <a:lnTo>
                  <a:pt x="3993785" y="42982"/>
                </a:lnTo>
                <a:lnTo>
                  <a:pt x="4009909" y="36533"/>
                </a:lnTo>
                <a:lnTo>
                  <a:pt x="4022807" y="20409"/>
                </a:lnTo>
                <a:lnTo>
                  <a:pt x="4026032" y="4286"/>
                </a:lnTo>
                <a:close/>
                <a:moveTo>
                  <a:pt x="3950582" y="0"/>
                </a:moveTo>
                <a:lnTo>
                  <a:pt x="4002625" y="0"/>
                </a:lnTo>
                <a:lnTo>
                  <a:pt x="4003459" y="7511"/>
                </a:lnTo>
                <a:lnTo>
                  <a:pt x="3993785" y="20409"/>
                </a:lnTo>
                <a:lnTo>
                  <a:pt x="3984111" y="30084"/>
                </a:lnTo>
                <a:lnTo>
                  <a:pt x="3964763" y="23634"/>
                </a:lnTo>
                <a:close/>
                <a:moveTo>
                  <a:pt x="3927595" y="0"/>
                </a:moveTo>
                <a:lnTo>
                  <a:pt x="3937358" y="0"/>
                </a:lnTo>
                <a:lnTo>
                  <a:pt x="3938965" y="4286"/>
                </a:lnTo>
                <a:lnTo>
                  <a:pt x="3948639" y="30084"/>
                </a:lnTo>
                <a:lnTo>
                  <a:pt x="3932515" y="10735"/>
                </a:lnTo>
                <a:close/>
                <a:moveTo>
                  <a:pt x="2089243" y="0"/>
                </a:moveTo>
                <a:lnTo>
                  <a:pt x="3220393" y="0"/>
                </a:lnTo>
                <a:lnTo>
                  <a:pt x="3215022" y="26858"/>
                </a:lnTo>
                <a:lnTo>
                  <a:pt x="3198898" y="84902"/>
                </a:lnTo>
                <a:lnTo>
                  <a:pt x="3208572" y="84902"/>
                </a:lnTo>
                <a:lnTo>
                  <a:pt x="3224695" y="94576"/>
                </a:lnTo>
                <a:lnTo>
                  <a:pt x="3253717" y="117149"/>
                </a:lnTo>
                <a:lnTo>
                  <a:pt x="3279515" y="120374"/>
                </a:lnTo>
                <a:lnTo>
                  <a:pt x="3282740" y="136498"/>
                </a:lnTo>
                <a:lnTo>
                  <a:pt x="3282740" y="165520"/>
                </a:lnTo>
                <a:lnTo>
                  <a:pt x="3269841" y="168744"/>
                </a:lnTo>
                <a:lnTo>
                  <a:pt x="3244043" y="155846"/>
                </a:lnTo>
                <a:lnTo>
                  <a:pt x="3218246" y="155846"/>
                </a:lnTo>
                <a:lnTo>
                  <a:pt x="3198898" y="165520"/>
                </a:lnTo>
                <a:lnTo>
                  <a:pt x="3189224" y="171969"/>
                </a:lnTo>
                <a:lnTo>
                  <a:pt x="3182775" y="181643"/>
                </a:lnTo>
                <a:lnTo>
                  <a:pt x="3189224" y="197767"/>
                </a:lnTo>
                <a:lnTo>
                  <a:pt x="3202122" y="220340"/>
                </a:lnTo>
                <a:lnTo>
                  <a:pt x="3231145" y="226788"/>
                </a:lnTo>
                <a:lnTo>
                  <a:pt x="3244043" y="223564"/>
                </a:lnTo>
                <a:lnTo>
                  <a:pt x="3250493" y="236463"/>
                </a:lnTo>
                <a:lnTo>
                  <a:pt x="3250493" y="242912"/>
                </a:lnTo>
                <a:lnTo>
                  <a:pt x="3250493" y="255811"/>
                </a:lnTo>
                <a:lnTo>
                  <a:pt x="3256942" y="281609"/>
                </a:lnTo>
                <a:lnTo>
                  <a:pt x="3253717" y="320305"/>
                </a:lnTo>
                <a:lnTo>
                  <a:pt x="3244043" y="323529"/>
                </a:lnTo>
                <a:lnTo>
                  <a:pt x="3227920" y="339653"/>
                </a:lnTo>
                <a:lnTo>
                  <a:pt x="3227920" y="362226"/>
                </a:lnTo>
                <a:lnTo>
                  <a:pt x="3247269" y="365450"/>
                </a:lnTo>
                <a:lnTo>
                  <a:pt x="3266616" y="378350"/>
                </a:lnTo>
                <a:lnTo>
                  <a:pt x="3247269" y="397698"/>
                </a:lnTo>
                <a:lnTo>
                  <a:pt x="3240819" y="394473"/>
                </a:lnTo>
                <a:lnTo>
                  <a:pt x="3237594" y="384799"/>
                </a:lnTo>
                <a:lnTo>
                  <a:pt x="3231145" y="381574"/>
                </a:lnTo>
                <a:lnTo>
                  <a:pt x="3215022" y="378350"/>
                </a:lnTo>
                <a:lnTo>
                  <a:pt x="3208572" y="381574"/>
                </a:lnTo>
                <a:lnTo>
                  <a:pt x="3202122" y="388024"/>
                </a:lnTo>
                <a:lnTo>
                  <a:pt x="3198898" y="394473"/>
                </a:lnTo>
                <a:lnTo>
                  <a:pt x="3195673" y="413821"/>
                </a:lnTo>
                <a:lnTo>
                  <a:pt x="3202122" y="423495"/>
                </a:lnTo>
                <a:lnTo>
                  <a:pt x="3208572" y="413821"/>
                </a:lnTo>
                <a:lnTo>
                  <a:pt x="3221470" y="420271"/>
                </a:lnTo>
                <a:lnTo>
                  <a:pt x="3227920" y="426720"/>
                </a:lnTo>
                <a:lnTo>
                  <a:pt x="3231145" y="439619"/>
                </a:lnTo>
                <a:lnTo>
                  <a:pt x="3234369" y="452518"/>
                </a:lnTo>
                <a:lnTo>
                  <a:pt x="3231145" y="458967"/>
                </a:lnTo>
                <a:lnTo>
                  <a:pt x="3218246" y="458967"/>
                </a:lnTo>
                <a:lnTo>
                  <a:pt x="3208572" y="458967"/>
                </a:lnTo>
                <a:lnTo>
                  <a:pt x="3195673" y="475091"/>
                </a:lnTo>
                <a:lnTo>
                  <a:pt x="3182775" y="468641"/>
                </a:lnTo>
                <a:lnTo>
                  <a:pt x="3166651" y="458967"/>
                </a:lnTo>
                <a:lnTo>
                  <a:pt x="3156977" y="449292"/>
                </a:lnTo>
                <a:lnTo>
                  <a:pt x="3147302" y="446068"/>
                </a:lnTo>
                <a:lnTo>
                  <a:pt x="3144078" y="452518"/>
                </a:lnTo>
                <a:lnTo>
                  <a:pt x="3140854" y="452518"/>
                </a:lnTo>
                <a:lnTo>
                  <a:pt x="3137628" y="449292"/>
                </a:lnTo>
                <a:lnTo>
                  <a:pt x="3131179" y="458967"/>
                </a:lnTo>
                <a:lnTo>
                  <a:pt x="3115056" y="475091"/>
                </a:lnTo>
                <a:lnTo>
                  <a:pt x="3118280" y="484765"/>
                </a:lnTo>
                <a:lnTo>
                  <a:pt x="3124730" y="487989"/>
                </a:lnTo>
                <a:lnTo>
                  <a:pt x="3131179" y="487989"/>
                </a:lnTo>
                <a:lnTo>
                  <a:pt x="3134404" y="494439"/>
                </a:lnTo>
                <a:lnTo>
                  <a:pt x="3137628" y="510562"/>
                </a:lnTo>
                <a:lnTo>
                  <a:pt x="3140854" y="517012"/>
                </a:lnTo>
                <a:lnTo>
                  <a:pt x="3144078" y="526686"/>
                </a:lnTo>
                <a:lnTo>
                  <a:pt x="3144078" y="536359"/>
                </a:lnTo>
                <a:lnTo>
                  <a:pt x="3166651" y="555707"/>
                </a:lnTo>
                <a:lnTo>
                  <a:pt x="3185999" y="571831"/>
                </a:lnTo>
                <a:lnTo>
                  <a:pt x="3189224" y="584730"/>
                </a:lnTo>
                <a:lnTo>
                  <a:pt x="3189224" y="594404"/>
                </a:lnTo>
                <a:lnTo>
                  <a:pt x="3189224" y="613752"/>
                </a:lnTo>
                <a:lnTo>
                  <a:pt x="3195673" y="604078"/>
                </a:lnTo>
                <a:lnTo>
                  <a:pt x="3205347" y="600854"/>
                </a:lnTo>
                <a:lnTo>
                  <a:pt x="3205347" y="610528"/>
                </a:lnTo>
                <a:lnTo>
                  <a:pt x="3205347" y="626651"/>
                </a:lnTo>
                <a:lnTo>
                  <a:pt x="3202122" y="649224"/>
                </a:lnTo>
                <a:lnTo>
                  <a:pt x="3208572" y="658898"/>
                </a:lnTo>
                <a:lnTo>
                  <a:pt x="3208572" y="671796"/>
                </a:lnTo>
                <a:lnTo>
                  <a:pt x="3205347" y="675022"/>
                </a:lnTo>
                <a:lnTo>
                  <a:pt x="3202122" y="675022"/>
                </a:lnTo>
                <a:lnTo>
                  <a:pt x="3185999" y="675022"/>
                </a:lnTo>
                <a:lnTo>
                  <a:pt x="3173101" y="675022"/>
                </a:lnTo>
                <a:lnTo>
                  <a:pt x="3163426" y="665348"/>
                </a:lnTo>
                <a:lnTo>
                  <a:pt x="3150527" y="645999"/>
                </a:lnTo>
                <a:lnTo>
                  <a:pt x="3150527" y="636325"/>
                </a:lnTo>
                <a:lnTo>
                  <a:pt x="3147302" y="626651"/>
                </a:lnTo>
                <a:lnTo>
                  <a:pt x="3134404" y="616977"/>
                </a:lnTo>
                <a:lnTo>
                  <a:pt x="3121505" y="623427"/>
                </a:lnTo>
                <a:lnTo>
                  <a:pt x="3115056" y="629875"/>
                </a:lnTo>
                <a:lnTo>
                  <a:pt x="3092483" y="639550"/>
                </a:lnTo>
                <a:lnTo>
                  <a:pt x="3082809" y="639550"/>
                </a:lnTo>
                <a:lnTo>
                  <a:pt x="3079584" y="639550"/>
                </a:lnTo>
                <a:lnTo>
                  <a:pt x="3073134" y="642775"/>
                </a:lnTo>
                <a:lnTo>
                  <a:pt x="3069910" y="645999"/>
                </a:lnTo>
                <a:lnTo>
                  <a:pt x="3066686" y="655673"/>
                </a:lnTo>
                <a:lnTo>
                  <a:pt x="3060236" y="665348"/>
                </a:lnTo>
                <a:lnTo>
                  <a:pt x="3060236" y="675022"/>
                </a:lnTo>
                <a:lnTo>
                  <a:pt x="3076359" y="681471"/>
                </a:lnTo>
                <a:lnTo>
                  <a:pt x="3089258" y="687920"/>
                </a:lnTo>
                <a:lnTo>
                  <a:pt x="3098933" y="687920"/>
                </a:lnTo>
                <a:lnTo>
                  <a:pt x="3105381" y="687920"/>
                </a:lnTo>
                <a:lnTo>
                  <a:pt x="3115056" y="681471"/>
                </a:lnTo>
                <a:lnTo>
                  <a:pt x="3124730" y="678246"/>
                </a:lnTo>
                <a:lnTo>
                  <a:pt x="3140854" y="681471"/>
                </a:lnTo>
                <a:lnTo>
                  <a:pt x="3166651" y="694369"/>
                </a:lnTo>
                <a:lnTo>
                  <a:pt x="3195673" y="697595"/>
                </a:lnTo>
                <a:lnTo>
                  <a:pt x="3185999" y="707269"/>
                </a:lnTo>
                <a:lnTo>
                  <a:pt x="3176325" y="713718"/>
                </a:lnTo>
                <a:lnTo>
                  <a:pt x="3169875" y="716943"/>
                </a:lnTo>
                <a:lnTo>
                  <a:pt x="3156977" y="733066"/>
                </a:lnTo>
                <a:lnTo>
                  <a:pt x="3144078" y="742740"/>
                </a:lnTo>
                <a:lnTo>
                  <a:pt x="3140854" y="739516"/>
                </a:lnTo>
                <a:lnTo>
                  <a:pt x="3131179" y="755639"/>
                </a:lnTo>
                <a:lnTo>
                  <a:pt x="3127954" y="762088"/>
                </a:lnTo>
                <a:lnTo>
                  <a:pt x="3121505" y="768537"/>
                </a:lnTo>
                <a:lnTo>
                  <a:pt x="3108607" y="781437"/>
                </a:lnTo>
                <a:lnTo>
                  <a:pt x="3095707" y="787886"/>
                </a:lnTo>
                <a:lnTo>
                  <a:pt x="3066686" y="797560"/>
                </a:lnTo>
                <a:lnTo>
                  <a:pt x="3060236" y="794335"/>
                </a:lnTo>
                <a:lnTo>
                  <a:pt x="3053786" y="804009"/>
                </a:lnTo>
                <a:lnTo>
                  <a:pt x="3047337" y="804009"/>
                </a:lnTo>
                <a:lnTo>
                  <a:pt x="3040888" y="807234"/>
                </a:lnTo>
                <a:lnTo>
                  <a:pt x="3011865" y="816908"/>
                </a:lnTo>
                <a:lnTo>
                  <a:pt x="2998967" y="820133"/>
                </a:lnTo>
                <a:lnTo>
                  <a:pt x="2986068" y="816908"/>
                </a:lnTo>
                <a:lnTo>
                  <a:pt x="2979618" y="804009"/>
                </a:lnTo>
                <a:lnTo>
                  <a:pt x="2969944" y="787886"/>
                </a:lnTo>
                <a:lnTo>
                  <a:pt x="2969944" y="791110"/>
                </a:lnTo>
                <a:lnTo>
                  <a:pt x="2969944" y="800784"/>
                </a:lnTo>
                <a:lnTo>
                  <a:pt x="2973169" y="829807"/>
                </a:lnTo>
                <a:lnTo>
                  <a:pt x="2960271" y="842706"/>
                </a:lnTo>
                <a:lnTo>
                  <a:pt x="2953821" y="855605"/>
                </a:lnTo>
                <a:lnTo>
                  <a:pt x="2950597" y="868504"/>
                </a:lnTo>
                <a:lnTo>
                  <a:pt x="2944147" y="878178"/>
                </a:lnTo>
                <a:lnTo>
                  <a:pt x="2937697" y="887852"/>
                </a:lnTo>
                <a:lnTo>
                  <a:pt x="2931248" y="900751"/>
                </a:lnTo>
                <a:lnTo>
                  <a:pt x="2918350" y="913649"/>
                </a:lnTo>
                <a:lnTo>
                  <a:pt x="2908676" y="920099"/>
                </a:lnTo>
                <a:lnTo>
                  <a:pt x="2905450" y="920099"/>
                </a:lnTo>
                <a:lnTo>
                  <a:pt x="2899001" y="929773"/>
                </a:lnTo>
                <a:lnTo>
                  <a:pt x="2889327" y="939447"/>
                </a:lnTo>
                <a:lnTo>
                  <a:pt x="2869979" y="949120"/>
                </a:lnTo>
                <a:lnTo>
                  <a:pt x="2857080" y="942672"/>
                </a:lnTo>
                <a:lnTo>
                  <a:pt x="2844182" y="952346"/>
                </a:lnTo>
                <a:lnTo>
                  <a:pt x="2824833" y="958795"/>
                </a:lnTo>
                <a:lnTo>
                  <a:pt x="2815159" y="965244"/>
                </a:lnTo>
                <a:lnTo>
                  <a:pt x="2805485" y="981367"/>
                </a:lnTo>
                <a:lnTo>
                  <a:pt x="2795811" y="987817"/>
                </a:lnTo>
                <a:lnTo>
                  <a:pt x="2792587" y="981367"/>
                </a:lnTo>
                <a:lnTo>
                  <a:pt x="2786137" y="984593"/>
                </a:lnTo>
                <a:lnTo>
                  <a:pt x="2782912" y="997491"/>
                </a:lnTo>
                <a:lnTo>
                  <a:pt x="2789361" y="1003940"/>
                </a:lnTo>
                <a:lnTo>
                  <a:pt x="2792587" y="1010390"/>
                </a:lnTo>
                <a:lnTo>
                  <a:pt x="2795811" y="1023288"/>
                </a:lnTo>
                <a:lnTo>
                  <a:pt x="2786137" y="1020064"/>
                </a:lnTo>
                <a:lnTo>
                  <a:pt x="2776463" y="1023288"/>
                </a:lnTo>
                <a:lnTo>
                  <a:pt x="2770014" y="1026514"/>
                </a:lnTo>
                <a:lnTo>
                  <a:pt x="2782912" y="1032963"/>
                </a:lnTo>
                <a:lnTo>
                  <a:pt x="2792587" y="1032963"/>
                </a:lnTo>
                <a:lnTo>
                  <a:pt x="2792587" y="1055535"/>
                </a:lnTo>
                <a:lnTo>
                  <a:pt x="2786137" y="1068435"/>
                </a:lnTo>
                <a:lnTo>
                  <a:pt x="2753890" y="1110356"/>
                </a:lnTo>
                <a:lnTo>
                  <a:pt x="2750665" y="1113580"/>
                </a:lnTo>
                <a:lnTo>
                  <a:pt x="2753890" y="1116805"/>
                </a:lnTo>
                <a:lnTo>
                  <a:pt x="2753890" y="1123255"/>
                </a:lnTo>
                <a:lnTo>
                  <a:pt x="2757114" y="1136153"/>
                </a:lnTo>
                <a:lnTo>
                  <a:pt x="2753890" y="1149052"/>
                </a:lnTo>
                <a:lnTo>
                  <a:pt x="2753890" y="1152277"/>
                </a:lnTo>
                <a:lnTo>
                  <a:pt x="2747441" y="1165176"/>
                </a:lnTo>
                <a:lnTo>
                  <a:pt x="2744216" y="1178074"/>
                </a:lnTo>
                <a:lnTo>
                  <a:pt x="2744216" y="1194197"/>
                </a:lnTo>
                <a:lnTo>
                  <a:pt x="2744216" y="1197423"/>
                </a:lnTo>
                <a:lnTo>
                  <a:pt x="2740991" y="1203871"/>
                </a:lnTo>
                <a:lnTo>
                  <a:pt x="2734542" y="1207097"/>
                </a:lnTo>
                <a:lnTo>
                  <a:pt x="2737767" y="1219995"/>
                </a:lnTo>
                <a:lnTo>
                  <a:pt x="2731317" y="1223220"/>
                </a:lnTo>
                <a:lnTo>
                  <a:pt x="2721643" y="1219995"/>
                </a:lnTo>
                <a:lnTo>
                  <a:pt x="2711969" y="1219995"/>
                </a:lnTo>
                <a:lnTo>
                  <a:pt x="2705520" y="1226445"/>
                </a:lnTo>
                <a:lnTo>
                  <a:pt x="2699070" y="1226445"/>
                </a:lnTo>
                <a:lnTo>
                  <a:pt x="2692620" y="1219995"/>
                </a:lnTo>
                <a:lnTo>
                  <a:pt x="2692620" y="1207097"/>
                </a:lnTo>
                <a:lnTo>
                  <a:pt x="2679722" y="1203871"/>
                </a:lnTo>
                <a:lnTo>
                  <a:pt x="2673273" y="1200647"/>
                </a:lnTo>
                <a:lnTo>
                  <a:pt x="2670048" y="1190973"/>
                </a:lnTo>
                <a:lnTo>
                  <a:pt x="2663599" y="1178074"/>
                </a:lnTo>
                <a:lnTo>
                  <a:pt x="2650699" y="1184523"/>
                </a:lnTo>
                <a:lnTo>
                  <a:pt x="2631352" y="1187748"/>
                </a:lnTo>
                <a:lnTo>
                  <a:pt x="2628127" y="1187748"/>
                </a:lnTo>
                <a:lnTo>
                  <a:pt x="2624902" y="1184523"/>
                </a:lnTo>
                <a:lnTo>
                  <a:pt x="2618452" y="1178074"/>
                </a:lnTo>
                <a:lnTo>
                  <a:pt x="2612004" y="1165176"/>
                </a:lnTo>
                <a:lnTo>
                  <a:pt x="2602330" y="1155501"/>
                </a:lnTo>
                <a:lnTo>
                  <a:pt x="2602330" y="1149052"/>
                </a:lnTo>
                <a:lnTo>
                  <a:pt x="2592655" y="1136153"/>
                </a:lnTo>
                <a:lnTo>
                  <a:pt x="2579757" y="1113580"/>
                </a:lnTo>
                <a:lnTo>
                  <a:pt x="2579757" y="1103906"/>
                </a:lnTo>
                <a:lnTo>
                  <a:pt x="2576531" y="1094232"/>
                </a:lnTo>
                <a:lnTo>
                  <a:pt x="2563633" y="1071659"/>
                </a:lnTo>
                <a:lnTo>
                  <a:pt x="2560408" y="1071659"/>
                </a:lnTo>
                <a:lnTo>
                  <a:pt x="2553959" y="1058761"/>
                </a:lnTo>
                <a:lnTo>
                  <a:pt x="2544285" y="1036188"/>
                </a:lnTo>
                <a:lnTo>
                  <a:pt x="2528162" y="981367"/>
                </a:lnTo>
                <a:lnTo>
                  <a:pt x="2524937" y="958795"/>
                </a:lnTo>
                <a:lnTo>
                  <a:pt x="2515263" y="952346"/>
                </a:lnTo>
                <a:lnTo>
                  <a:pt x="2505589" y="929773"/>
                </a:lnTo>
                <a:lnTo>
                  <a:pt x="2508813" y="910425"/>
                </a:lnTo>
                <a:lnTo>
                  <a:pt x="2521712" y="900751"/>
                </a:lnTo>
                <a:lnTo>
                  <a:pt x="2499139" y="878178"/>
                </a:lnTo>
                <a:lnTo>
                  <a:pt x="2502363" y="855605"/>
                </a:lnTo>
                <a:lnTo>
                  <a:pt x="2505589" y="836257"/>
                </a:lnTo>
                <a:lnTo>
                  <a:pt x="2512038" y="826583"/>
                </a:lnTo>
                <a:lnTo>
                  <a:pt x="2508813" y="813684"/>
                </a:lnTo>
                <a:lnTo>
                  <a:pt x="2518487" y="813684"/>
                </a:lnTo>
                <a:lnTo>
                  <a:pt x="2524937" y="800784"/>
                </a:lnTo>
                <a:lnTo>
                  <a:pt x="2537836" y="791110"/>
                </a:lnTo>
                <a:lnTo>
                  <a:pt x="2557184" y="791110"/>
                </a:lnTo>
                <a:lnTo>
                  <a:pt x="2563633" y="787886"/>
                </a:lnTo>
                <a:lnTo>
                  <a:pt x="2570083" y="774987"/>
                </a:lnTo>
                <a:lnTo>
                  <a:pt x="2563633" y="778211"/>
                </a:lnTo>
                <a:lnTo>
                  <a:pt x="2557184" y="778211"/>
                </a:lnTo>
                <a:lnTo>
                  <a:pt x="2560408" y="752414"/>
                </a:lnTo>
                <a:lnTo>
                  <a:pt x="2566858" y="729841"/>
                </a:lnTo>
                <a:lnTo>
                  <a:pt x="2573307" y="716943"/>
                </a:lnTo>
                <a:lnTo>
                  <a:pt x="2579757" y="716943"/>
                </a:lnTo>
                <a:lnTo>
                  <a:pt x="2579757" y="700819"/>
                </a:lnTo>
                <a:lnTo>
                  <a:pt x="2570083" y="704043"/>
                </a:lnTo>
                <a:lnTo>
                  <a:pt x="2560408" y="704043"/>
                </a:lnTo>
                <a:lnTo>
                  <a:pt x="2550734" y="704043"/>
                </a:lnTo>
                <a:lnTo>
                  <a:pt x="2534611" y="697595"/>
                </a:lnTo>
                <a:lnTo>
                  <a:pt x="2515263" y="681471"/>
                </a:lnTo>
                <a:lnTo>
                  <a:pt x="2499139" y="675022"/>
                </a:lnTo>
                <a:lnTo>
                  <a:pt x="2486240" y="658898"/>
                </a:lnTo>
                <a:lnTo>
                  <a:pt x="2495915" y="649224"/>
                </a:lnTo>
                <a:lnTo>
                  <a:pt x="2508813" y="649224"/>
                </a:lnTo>
                <a:lnTo>
                  <a:pt x="2521712" y="652449"/>
                </a:lnTo>
                <a:lnTo>
                  <a:pt x="2537836" y="662122"/>
                </a:lnTo>
                <a:lnTo>
                  <a:pt x="2550734" y="671796"/>
                </a:lnTo>
                <a:lnTo>
                  <a:pt x="2553959" y="671796"/>
                </a:lnTo>
                <a:lnTo>
                  <a:pt x="2557184" y="665348"/>
                </a:lnTo>
                <a:lnTo>
                  <a:pt x="2560408" y="665348"/>
                </a:lnTo>
                <a:lnTo>
                  <a:pt x="2570083" y="662122"/>
                </a:lnTo>
                <a:lnTo>
                  <a:pt x="2566858" y="649224"/>
                </a:lnTo>
                <a:lnTo>
                  <a:pt x="2544285" y="633101"/>
                </a:lnTo>
                <a:lnTo>
                  <a:pt x="2557184" y="639550"/>
                </a:lnTo>
                <a:lnTo>
                  <a:pt x="2566858" y="633101"/>
                </a:lnTo>
                <a:lnTo>
                  <a:pt x="2531386" y="626651"/>
                </a:lnTo>
                <a:lnTo>
                  <a:pt x="2531386" y="610528"/>
                </a:lnTo>
                <a:lnTo>
                  <a:pt x="2528162" y="610528"/>
                </a:lnTo>
                <a:lnTo>
                  <a:pt x="2521712" y="607303"/>
                </a:lnTo>
                <a:lnTo>
                  <a:pt x="2531386" y="597628"/>
                </a:lnTo>
                <a:lnTo>
                  <a:pt x="2521712" y="587954"/>
                </a:lnTo>
                <a:lnTo>
                  <a:pt x="2515263" y="587954"/>
                </a:lnTo>
                <a:lnTo>
                  <a:pt x="2512038" y="578280"/>
                </a:lnTo>
                <a:lnTo>
                  <a:pt x="2505589" y="584730"/>
                </a:lnTo>
                <a:lnTo>
                  <a:pt x="2499139" y="597628"/>
                </a:lnTo>
                <a:lnTo>
                  <a:pt x="2492690" y="610528"/>
                </a:lnTo>
                <a:lnTo>
                  <a:pt x="2486240" y="613752"/>
                </a:lnTo>
                <a:lnTo>
                  <a:pt x="2470118" y="610528"/>
                </a:lnTo>
                <a:lnTo>
                  <a:pt x="2457218" y="591180"/>
                </a:lnTo>
                <a:lnTo>
                  <a:pt x="2460443" y="584730"/>
                </a:lnTo>
                <a:lnTo>
                  <a:pt x="2463668" y="568607"/>
                </a:lnTo>
                <a:lnTo>
                  <a:pt x="2473342" y="552483"/>
                </a:lnTo>
                <a:lnTo>
                  <a:pt x="2466892" y="529910"/>
                </a:lnTo>
                <a:lnTo>
                  <a:pt x="2476566" y="533135"/>
                </a:lnTo>
                <a:lnTo>
                  <a:pt x="2479791" y="526686"/>
                </a:lnTo>
                <a:lnTo>
                  <a:pt x="2479791" y="507337"/>
                </a:lnTo>
                <a:lnTo>
                  <a:pt x="2486240" y="507337"/>
                </a:lnTo>
                <a:lnTo>
                  <a:pt x="2476566" y="494439"/>
                </a:lnTo>
                <a:lnTo>
                  <a:pt x="2466892" y="487989"/>
                </a:lnTo>
                <a:lnTo>
                  <a:pt x="2463668" y="455742"/>
                </a:lnTo>
                <a:lnTo>
                  <a:pt x="2453994" y="442844"/>
                </a:lnTo>
                <a:lnTo>
                  <a:pt x="2450769" y="388024"/>
                </a:lnTo>
                <a:lnTo>
                  <a:pt x="2450769" y="371900"/>
                </a:lnTo>
                <a:lnTo>
                  <a:pt x="2444319" y="371900"/>
                </a:lnTo>
                <a:lnTo>
                  <a:pt x="2434645" y="359002"/>
                </a:lnTo>
                <a:lnTo>
                  <a:pt x="2431421" y="346103"/>
                </a:lnTo>
                <a:lnTo>
                  <a:pt x="2424971" y="339653"/>
                </a:lnTo>
                <a:lnTo>
                  <a:pt x="2399174" y="307406"/>
                </a:lnTo>
                <a:lnTo>
                  <a:pt x="2405623" y="297732"/>
                </a:lnTo>
                <a:lnTo>
                  <a:pt x="2405623" y="284834"/>
                </a:lnTo>
                <a:lnTo>
                  <a:pt x="2395950" y="271935"/>
                </a:lnTo>
                <a:lnTo>
                  <a:pt x="2383050" y="262261"/>
                </a:lnTo>
                <a:lnTo>
                  <a:pt x="2366927" y="249362"/>
                </a:lnTo>
                <a:lnTo>
                  <a:pt x="2312107" y="223564"/>
                </a:lnTo>
                <a:lnTo>
                  <a:pt x="2289535" y="213890"/>
                </a:lnTo>
                <a:lnTo>
                  <a:pt x="2286309" y="230014"/>
                </a:lnTo>
                <a:lnTo>
                  <a:pt x="2279861" y="236463"/>
                </a:lnTo>
                <a:lnTo>
                  <a:pt x="2273411" y="226788"/>
                </a:lnTo>
                <a:lnTo>
                  <a:pt x="2266961" y="226788"/>
                </a:lnTo>
                <a:lnTo>
                  <a:pt x="2237939" y="236463"/>
                </a:lnTo>
                <a:lnTo>
                  <a:pt x="2225040" y="255811"/>
                </a:lnTo>
                <a:lnTo>
                  <a:pt x="2215367" y="249362"/>
                </a:lnTo>
                <a:lnTo>
                  <a:pt x="2186344" y="239688"/>
                </a:lnTo>
                <a:lnTo>
                  <a:pt x="2173446" y="230014"/>
                </a:lnTo>
                <a:lnTo>
                  <a:pt x="2163772" y="217114"/>
                </a:lnTo>
                <a:lnTo>
                  <a:pt x="2150872" y="194542"/>
                </a:lnTo>
                <a:lnTo>
                  <a:pt x="2134749" y="175194"/>
                </a:lnTo>
                <a:lnTo>
                  <a:pt x="2128299" y="168744"/>
                </a:lnTo>
                <a:lnTo>
                  <a:pt x="2118625" y="155846"/>
                </a:lnTo>
                <a:lnTo>
                  <a:pt x="2121850" y="142947"/>
                </a:lnTo>
                <a:lnTo>
                  <a:pt x="2131525" y="133273"/>
                </a:lnTo>
                <a:lnTo>
                  <a:pt x="2147648" y="130048"/>
                </a:lnTo>
                <a:lnTo>
                  <a:pt x="2157322" y="133273"/>
                </a:lnTo>
                <a:lnTo>
                  <a:pt x="2166996" y="107475"/>
                </a:lnTo>
                <a:lnTo>
                  <a:pt x="2137973" y="88127"/>
                </a:lnTo>
                <a:lnTo>
                  <a:pt x="2134749" y="84902"/>
                </a:lnTo>
                <a:lnTo>
                  <a:pt x="2134749" y="75228"/>
                </a:lnTo>
                <a:lnTo>
                  <a:pt x="2128299" y="75228"/>
                </a:lnTo>
                <a:lnTo>
                  <a:pt x="2115401" y="72004"/>
                </a:lnTo>
                <a:lnTo>
                  <a:pt x="2099278" y="59105"/>
                </a:lnTo>
                <a:lnTo>
                  <a:pt x="2083154" y="36531"/>
                </a:lnTo>
                <a:close/>
                <a:moveTo>
                  <a:pt x="1767127" y="0"/>
                </a:moveTo>
                <a:lnTo>
                  <a:pt x="2040922" y="0"/>
                </a:lnTo>
                <a:lnTo>
                  <a:pt x="2038007" y="20409"/>
                </a:lnTo>
                <a:lnTo>
                  <a:pt x="2025108" y="42982"/>
                </a:lnTo>
                <a:lnTo>
                  <a:pt x="2015434" y="55880"/>
                </a:lnTo>
                <a:lnTo>
                  <a:pt x="1986411" y="59106"/>
                </a:lnTo>
                <a:lnTo>
                  <a:pt x="1973513" y="55880"/>
                </a:lnTo>
                <a:lnTo>
                  <a:pt x="1963839" y="62330"/>
                </a:lnTo>
                <a:lnTo>
                  <a:pt x="1970287" y="72004"/>
                </a:lnTo>
                <a:lnTo>
                  <a:pt x="1976737" y="94577"/>
                </a:lnTo>
                <a:lnTo>
                  <a:pt x="1963839" y="117150"/>
                </a:lnTo>
                <a:lnTo>
                  <a:pt x="1957389" y="123600"/>
                </a:lnTo>
                <a:lnTo>
                  <a:pt x="1947715" y="136498"/>
                </a:lnTo>
                <a:lnTo>
                  <a:pt x="1944490" y="155847"/>
                </a:lnTo>
                <a:lnTo>
                  <a:pt x="1950940" y="168745"/>
                </a:lnTo>
                <a:lnTo>
                  <a:pt x="1957389" y="165521"/>
                </a:lnTo>
                <a:lnTo>
                  <a:pt x="1976737" y="171969"/>
                </a:lnTo>
                <a:lnTo>
                  <a:pt x="1976737" y="188093"/>
                </a:lnTo>
                <a:lnTo>
                  <a:pt x="1967063" y="200992"/>
                </a:lnTo>
                <a:lnTo>
                  <a:pt x="1954164" y="210666"/>
                </a:lnTo>
                <a:lnTo>
                  <a:pt x="1941266" y="220340"/>
                </a:lnTo>
                <a:lnTo>
                  <a:pt x="1931592" y="223565"/>
                </a:lnTo>
                <a:lnTo>
                  <a:pt x="1915468" y="233239"/>
                </a:lnTo>
                <a:lnTo>
                  <a:pt x="1912243" y="233239"/>
                </a:lnTo>
                <a:lnTo>
                  <a:pt x="1905794" y="236463"/>
                </a:lnTo>
                <a:lnTo>
                  <a:pt x="1912243" y="210666"/>
                </a:lnTo>
                <a:lnTo>
                  <a:pt x="1902569" y="200992"/>
                </a:lnTo>
                <a:lnTo>
                  <a:pt x="1892895" y="204216"/>
                </a:lnTo>
                <a:lnTo>
                  <a:pt x="1886446" y="204216"/>
                </a:lnTo>
                <a:lnTo>
                  <a:pt x="1883221" y="207442"/>
                </a:lnTo>
                <a:lnTo>
                  <a:pt x="1870322" y="210666"/>
                </a:lnTo>
                <a:lnTo>
                  <a:pt x="1854199" y="210666"/>
                </a:lnTo>
                <a:lnTo>
                  <a:pt x="1844525" y="200992"/>
                </a:lnTo>
                <a:lnTo>
                  <a:pt x="1828401" y="207442"/>
                </a:lnTo>
                <a:lnTo>
                  <a:pt x="1831626" y="217116"/>
                </a:lnTo>
                <a:lnTo>
                  <a:pt x="1818727" y="220340"/>
                </a:lnTo>
                <a:lnTo>
                  <a:pt x="1805829" y="217116"/>
                </a:lnTo>
                <a:lnTo>
                  <a:pt x="1792930" y="213891"/>
                </a:lnTo>
                <a:lnTo>
                  <a:pt x="1780032" y="217116"/>
                </a:lnTo>
                <a:lnTo>
                  <a:pt x="1751009" y="213891"/>
                </a:lnTo>
                <a:lnTo>
                  <a:pt x="1721986" y="200992"/>
                </a:lnTo>
                <a:lnTo>
                  <a:pt x="1718762" y="184868"/>
                </a:lnTo>
                <a:lnTo>
                  <a:pt x="1721986" y="165521"/>
                </a:lnTo>
                <a:lnTo>
                  <a:pt x="1738110" y="146172"/>
                </a:lnTo>
                <a:lnTo>
                  <a:pt x="1763908" y="139723"/>
                </a:lnTo>
                <a:lnTo>
                  <a:pt x="1754233" y="104251"/>
                </a:lnTo>
                <a:lnTo>
                  <a:pt x="1751009" y="72004"/>
                </a:lnTo>
                <a:lnTo>
                  <a:pt x="1776806" y="65555"/>
                </a:lnTo>
                <a:lnTo>
                  <a:pt x="1789705" y="72004"/>
                </a:lnTo>
                <a:lnTo>
                  <a:pt x="1802604" y="107476"/>
                </a:lnTo>
                <a:lnTo>
                  <a:pt x="1812278" y="117150"/>
                </a:lnTo>
                <a:lnTo>
                  <a:pt x="1828401" y="120374"/>
                </a:lnTo>
                <a:lnTo>
                  <a:pt x="1828401" y="113925"/>
                </a:lnTo>
                <a:lnTo>
                  <a:pt x="1828401" y="107476"/>
                </a:lnTo>
                <a:lnTo>
                  <a:pt x="1818727" y="94577"/>
                </a:lnTo>
                <a:lnTo>
                  <a:pt x="1812278" y="88127"/>
                </a:lnTo>
                <a:lnTo>
                  <a:pt x="1809053" y="62330"/>
                </a:lnTo>
                <a:lnTo>
                  <a:pt x="1796155" y="46206"/>
                </a:lnTo>
                <a:lnTo>
                  <a:pt x="1786481" y="42982"/>
                </a:lnTo>
                <a:lnTo>
                  <a:pt x="1767132" y="39757"/>
                </a:lnTo>
                <a:lnTo>
                  <a:pt x="1763908" y="39757"/>
                </a:lnTo>
                <a:lnTo>
                  <a:pt x="1763908" y="7511"/>
                </a:lnTo>
                <a:close/>
                <a:moveTo>
                  <a:pt x="1642880" y="0"/>
                </a:moveTo>
                <a:lnTo>
                  <a:pt x="1751274" y="0"/>
                </a:lnTo>
                <a:lnTo>
                  <a:pt x="1751009" y="1061"/>
                </a:lnTo>
                <a:lnTo>
                  <a:pt x="1741335" y="13959"/>
                </a:lnTo>
                <a:lnTo>
                  <a:pt x="1728436" y="33308"/>
                </a:lnTo>
                <a:lnTo>
                  <a:pt x="1715538" y="20409"/>
                </a:lnTo>
                <a:lnTo>
                  <a:pt x="1689740" y="36533"/>
                </a:lnTo>
                <a:lnTo>
                  <a:pt x="1663943" y="30083"/>
                </a:lnTo>
                <a:lnTo>
                  <a:pt x="1651043" y="17185"/>
                </a:lnTo>
                <a:lnTo>
                  <a:pt x="1644594" y="4286"/>
                </a:lnTo>
                <a:close/>
                <a:moveTo>
                  <a:pt x="1526208" y="0"/>
                </a:moveTo>
                <a:lnTo>
                  <a:pt x="1591938" y="0"/>
                </a:lnTo>
                <a:lnTo>
                  <a:pt x="1602673" y="10735"/>
                </a:lnTo>
                <a:lnTo>
                  <a:pt x="1602673" y="46206"/>
                </a:lnTo>
                <a:lnTo>
                  <a:pt x="1596223" y="59106"/>
                </a:lnTo>
                <a:lnTo>
                  <a:pt x="1573651" y="65555"/>
                </a:lnTo>
                <a:lnTo>
                  <a:pt x="1560752" y="75229"/>
                </a:lnTo>
                <a:lnTo>
                  <a:pt x="1544628" y="52656"/>
                </a:lnTo>
                <a:lnTo>
                  <a:pt x="1547853" y="30083"/>
                </a:lnTo>
                <a:lnTo>
                  <a:pt x="1534955" y="20409"/>
                </a:lnTo>
                <a:close/>
                <a:moveTo>
                  <a:pt x="1380169" y="0"/>
                </a:moveTo>
                <a:lnTo>
                  <a:pt x="1499482" y="0"/>
                </a:lnTo>
                <a:lnTo>
                  <a:pt x="1499482" y="10735"/>
                </a:lnTo>
                <a:lnTo>
                  <a:pt x="1502707" y="30083"/>
                </a:lnTo>
                <a:lnTo>
                  <a:pt x="1512381" y="42982"/>
                </a:lnTo>
                <a:lnTo>
                  <a:pt x="1512381" y="65555"/>
                </a:lnTo>
                <a:lnTo>
                  <a:pt x="1505932" y="68780"/>
                </a:lnTo>
                <a:lnTo>
                  <a:pt x="1496258" y="72004"/>
                </a:lnTo>
                <a:lnTo>
                  <a:pt x="1483360" y="72004"/>
                </a:lnTo>
                <a:lnTo>
                  <a:pt x="1470460" y="52656"/>
                </a:lnTo>
                <a:lnTo>
                  <a:pt x="1467236" y="36533"/>
                </a:lnTo>
                <a:lnTo>
                  <a:pt x="1464011" y="30083"/>
                </a:lnTo>
                <a:lnTo>
                  <a:pt x="1431764" y="13959"/>
                </a:lnTo>
                <a:lnTo>
                  <a:pt x="1399518" y="26859"/>
                </a:lnTo>
                <a:lnTo>
                  <a:pt x="1386619" y="17185"/>
                </a:lnTo>
                <a:lnTo>
                  <a:pt x="1380169" y="7511"/>
                </a:lnTo>
                <a:close/>
                <a:moveTo>
                  <a:pt x="1213547" y="0"/>
                </a:moveTo>
                <a:lnTo>
                  <a:pt x="1285946" y="0"/>
                </a:lnTo>
                <a:lnTo>
                  <a:pt x="1286653" y="1061"/>
                </a:lnTo>
                <a:lnTo>
                  <a:pt x="1283428" y="20409"/>
                </a:lnTo>
                <a:lnTo>
                  <a:pt x="1276979" y="20409"/>
                </a:lnTo>
                <a:lnTo>
                  <a:pt x="1238283" y="23633"/>
                </a:lnTo>
                <a:lnTo>
                  <a:pt x="1231833" y="23633"/>
                </a:lnTo>
                <a:lnTo>
                  <a:pt x="1228609" y="17185"/>
                </a:lnTo>
                <a:lnTo>
                  <a:pt x="1225385" y="13959"/>
                </a:lnTo>
                <a:lnTo>
                  <a:pt x="1209261" y="20409"/>
                </a:lnTo>
                <a:lnTo>
                  <a:pt x="1196362" y="17185"/>
                </a:lnTo>
                <a:close/>
              </a:path>
            </a:pathLst>
          </a:custGeom>
          <a:solidFill>
            <a:srgbClr val="EAEAEA"/>
          </a:solidFill>
          <a:ln w="3175">
            <a:solidFill>
              <a:srgbClr val="EAEAEA"/>
            </a:solidFill>
            <a:prstDash val="solid"/>
            <a:round/>
            <a:headEnd/>
            <a:tailEnd/>
          </a:ln>
        </p:spPr>
        <p:txBody>
          <a:bodyPr wrap="square">
            <a:noAutofit/>
          </a:bodyPr>
          <a:lstStyle/>
          <a:p>
            <a:endParaRPr lang="en-US" sz="1799" dirty="0"/>
          </a:p>
        </p:txBody>
      </p:sp>
      <p:sp>
        <p:nvSpPr>
          <p:cNvPr id="2" name="Titel 1"/>
          <p:cNvSpPr>
            <a:spLocks noGrp="1"/>
          </p:cNvSpPr>
          <p:nvPr>
            <p:ph type="title" hasCustomPrompt="1"/>
          </p:nvPr>
        </p:nvSpPr>
        <p:spPr>
          <a:xfrm>
            <a:off x="768000" y="333200"/>
            <a:ext cx="10080000" cy="864000"/>
          </a:xfrm>
        </p:spPr>
        <p:txBody>
          <a:bodyPr vert="horz"/>
          <a:lstStyle/>
          <a:p>
            <a:r>
              <a:rPr lang="en-US" dirty="0"/>
              <a:t>Click to add title</a:t>
            </a:r>
            <a:endParaRPr lang="en-US" noProof="0" dirty="0"/>
          </a:p>
        </p:txBody>
      </p:sp>
      <p:sp>
        <p:nvSpPr>
          <p:cNvPr id="3" name="Datumsplatzhalter 2"/>
          <p:cNvSpPr>
            <a:spLocks noGrp="1"/>
          </p:cNvSpPr>
          <p:nvPr>
            <p:ph type="dt" sz="half" idx="10"/>
          </p:nvPr>
        </p:nvSpPr>
        <p:spPr/>
        <p:txBody>
          <a:bodyPr/>
          <a:lstStyle/>
          <a:p>
            <a:fld id="{443CB149-07B9-4D96-903A-E51812E0BE95}" type="datetime1">
              <a:rPr lang="en-US" noProof="0" smtClean="0"/>
              <a:t>6/19/2025</a:t>
            </a:fld>
            <a:endParaRPr lang="en-US" noProof="0" dirty="0"/>
          </a:p>
        </p:txBody>
      </p:sp>
      <p:sp>
        <p:nvSpPr>
          <p:cNvPr id="4" name="Fußzeilenplatzhalter 3"/>
          <p:cNvSpPr>
            <a:spLocks noGrp="1"/>
          </p:cNvSpPr>
          <p:nvPr>
            <p:ph type="ftr" sz="quarter" idx="11"/>
          </p:nvPr>
        </p:nvSpPr>
        <p:spPr/>
        <p:txBody>
          <a:bodyPr/>
          <a:lstStyle/>
          <a:p>
            <a:r>
              <a:rPr lang="en-US" noProof="0" dirty="0"/>
              <a:t>© Forum Network Technology/Network Operation in the VDE</a:t>
            </a:r>
          </a:p>
        </p:txBody>
      </p:sp>
      <p:sp>
        <p:nvSpPr>
          <p:cNvPr id="5" name="Foliennummernplatzhalter 4"/>
          <p:cNvSpPr>
            <a:spLocks noGrp="1"/>
          </p:cNvSpPr>
          <p:nvPr>
            <p:ph type="sldNum" sz="quarter" idx="12"/>
          </p:nvPr>
        </p:nvSpPr>
        <p:spPr/>
        <p:txBody>
          <a:bodyPr/>
          <a:lstStyle/>
          <a:p>
            <a:fld id="{2AA1E7D3-1333-45EE-ABB9-51527D316BA3}" type="slidenum">
              <a:rPr lang="en-US" noProof="0" smtClean="0"/>
              <a:pPr/>
              <a:t>‹#›</a:t>
            </a:fld>
            <a:endParaRPr lang="en-US" noProof="0" dirty="0"/>
          </a:p>
        </p:txBody>
      </p:sp>
      <p:pic>
        <p:nvPicPr>
          <p:cNvPr id="9" name="Picture 24" descr="D:\Daten\03 BM\BM1\VDE-Logos\Final-3\VDE_Safety.png">
            <a:extLst>
              <a:ext uri="{FF2B5EF4-FFF2-40B4-BE49-F238E27FC236}">
                <a16:creationId xmlns:a16="http://schemas.microsoft.com/office/drawing/2014/main" id="{38183546-5001-4560-9F88-24E70488DB6A}"/>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gray">
          <a:xfrm>
            <a:off x="11289840" y="333201"/>
            <a:ext cx="515824" cy="418716"/>
          </a:xfrm>
          <a:prstGeom prst="rect">
            <a:avLst/>
          </a:prstGeom>
          <a:noFill/>
          <a:extLst>
            <a:ext uri="{909E8E84-426E-40DD-AFC4-6F175D3DCCD1}">
              <a14:hiddenFill xmlns:a14="http://schemas.microsoft.com/office/drawing/2010/main">
                <a:solidFill>
                  <a:srgbClr val="FFFFFF"/>
                </a:solidFill>
              </a14:hiddenFill>
            </a:ext>
          </a:extLst>
        </p:spPr>
      </p:pic>
      <p:sp>
        <p:nvSpPr>
          <p:cNvPr id="20" name="Textplatzhalter 19">
            <a:extLst>
              <a:ext uri="{FF2B5EF4-FFF2-40B4-BE49-F238E27FC236}">
                <a16:creationId xmlns:a16="http://schemas.microsoft.com/office/drawing/2014/main" id="{A97953E4-C1F3-478D-95A4-D30B84EA90F3}"/>
              </a:ext>
            </a:extLst>
          </p:cNvPr>
          <p:cNvSpPr>
            <a:spLocks noGrp="1"/>
          </p:cNvSpPr>
          <p:nvPr>
            <p:ph type="body" sz="quarter" idx="13" hasCustomPrompt="1"/>
          </p:nvPr>
        </p:nvSpPr>
        <p:spPr>
          <a:xfrm>
            <a:off x="768000" y="1471411"/>
            <a:ext cx="10080000" cy="574516"/>
          </a:xfrm>
        </p:spPr>
        <p:txBody>
          <a:bodyPr>
            <a:spAutoFit/>
          </a:bodyPr>
          <a:lstStyle>
            <a:lvl1pPr marL="0" indent="0">
              <a:buNone/>
              <a:defRPr sz="3733">
                <a:solidFill>
                  <a:schemeClr val="accent1"/>
                </a:solidFill>
              </a:defRPr>
            </a:lvl1pPr>
          </a:lstStyle>
          <a:p>
            <a:pPr lvl="0"/>
            <a:r>
              <a:rPr lang="en-US" dirty="0"/>
              <a:t>Edit master text format</a:t>
            </a:r>
          </a:p>
        </p:txBody>
      </p:sp>
      <p:sp>
        <p:nvSpPr>
          <p:cNvPr id="23" name="Textplatzhalter 22">
            <a:extLst>
              <a:ext uri="{FF2B5EF4-FFF2-40B4-BE49-F238E27FC236}">
                <a16:creationId xmlns:a16="http://schemas.microsoft.com/office/drawing/2014/main" id="{37802DAF-75FE-4308-91AB-EA1C9B92C272}"/>
              </a:ext>
            </a:extLst>
          </p:cNvPr>
          <p:cNvSpPr>
            <a:spLocks noGrp="1"/>
          </p:cNvSpPr>
          <p:nvPr>
            <p:ph type="body" sz="quarter" idx="14" hasCustomPrompt="1"/>
          </p:nvPr>
        </p:nvSpPr>
        <p:spPr>
          <a:xfrm>
            <a:off x="768000" y="2320138"/>
            <a:ext cx="2520355" cy="3413913"/>
          </a:xfrm>
          <a:solidFill>
            <a:schemeClr val="bg1"/>
          </a:solidFill>
          <a:ln>
            <a:solidFill>
              <a:srgbClr val="DADADA"/>
            </a:solidFill>
          </a:ln>
        </p:spPr>
        <p:txBody>
          <a:bodyPr lIns="108000" tIns="108000" rIns="108000" bIns="108000"/>
          <a:lstStyle/>
          <a:p>
            <a:pPr lvl="0"/>
            <a:r>
              <a:rPr lang="en-US" dirty="0"/>
              <a:t>Click to edit Master text styles</a:t>
            </a:r>
          </a:p>
          <a:p>
            <a:pPr lvl="1"/>
            <a:endParaRPr lang="en-US" noProof="0" dirty="0"/>
          </a:p>
        </p:txBody>
      </p:sp>
      <p:sp>
        <p:nvSpPr>
          <p:cNvPr id="24" name="Textplatzhalter 22">
            <a:extLst>
              <a:ext uri="{FF2B5EF4-FFF2-40B4-BE49-F238E27FC236}">
                <a16:creationId xmlns:a16="http://schemas.microsoft.com/office/drawing/2014/main" id="{A04748C1-9C1D-4048-9543-7445C5209E18}"/>
              </a:ext>
            </a:extLst>
          </p:cNvPr>
          <p:cNvSpPr>
            <a:spLocks noGrp="1"/>
          </p:cNvSpPr>
          <p:nvPr>
            <p:ph type="body" sz="quarter" idx="15" hasCustomPrompt="1"/>
          </p:nvPr>
        </p:nvSpPr>
        <p:spPr>
          <a:xfrm>
            <a:off x="3480471" y="2320138"/>
            <a:ext cx="2520355" cy="3413913"/>
          </a:xfrm>
          <a:solidFill>
            <a:schemeClr val="bg1"/>
          </a:solidFill>
          <a:ln>
            <a:solidFill>
              <a:srgbClr val="DADADA"/>
            </a:solidFill>
          </a:ln>
        </p:spPr>
        <p:txBody>
          <a:bodyPr lIns="108000" tIns="108000" rIns="108000" bIns="108000"/>
          <a:lstStyle/>
          <a:p>
            <a:pPr lvl="0"/>
            <a:r>
              <a:rPr lang="en-US" dirty="0"/>
              <a:t>Click to edit Master text styles</a:t>
            </a:r>
          </a:p>
          <a:p>
            <a:pPr lvl="1"/>
            <a:endParaRPr lang="en-US" dirty="0"/>
          </a:p>
        </p:txBody>
      </p:sp>
      <p:sp>
        <p:nvSpPr>
          <p:cNvPr id="25" name="Textplatzhalter 22">
            <a:extLst>
              <a:ext uri="{FF2B5EF4-FFF2-40B4-BE49-F238E27FC236}">
                <a16:creationId xmlns:a16="http://schemas.microsoft.com/office/drawing/2014/main" id="{219E17B3-8175-4488-88B3-4C356C97E373}"/>
              </a:ext>
            </a:extLst>
          </p:cNvPr>
          <p:cNvSpPr>
            <a:spLocks noGrp="1"/>
          </p:cNvSpPr>
          <p:nvPr>
            <p:ph type="body" sz="quarter" idx="16" hasCustomPrompt="1"/>
          </p:nvPr>
        </p:nvSpPr>
        <p:spPr>
          <a:xfrm>
            <a:off x="6192941" y="2320138"/>
            <a:ext cx="2520355" cy="3413913"/>
          </a:xfrm>
          <a:solidFill>
            <a:schemeClr val="bg1"/>
          </a:solidFill>
          <a:ln>
            <a:solidFill>
              <a:srgbClr val="DADADA"/>
            </a:solidFill>
          </a:ln>
        </p:spPr>
        <p:txBody>
          <a:bodyPr lIns="108000" tIns="108000" rIns="108000" bIns="108000"/>
          <a:lstStyle/>
          <a:p>
            <a:pPr lvl="0"/>
            <a:r>
              <a:rPr lang="en-US" dirty="0"/>
              <a:t>Click to edit Master text styles</a:t>
            </a:r>
          </a:p>
          <a:p>
            <a:pPr lvl="1"/>
            <a:endParaRPr lang="en-US" noProof="0" dirty="0"/>
          </a:p>
        </p:txBody>
      </p:sp>
      <p:sp>
        <p:nvSpPr>
          <p:cNvPr id="26" name="Textplatzhalter 22">
            <a:extLst>
              <a:ext uri="{FF2B5EF4-FFF2-40B4-BE49-F238E27FC236}">
                <a16:creationId xmlns:a16="http://schemas.microsoft.com/office/drawing/2014/main" id="{43900910-CDA0-4293-84A5-627292886E27}"/>
              </a:ext>
            </a:extLst>
          </p:cNvPr>
          <p:cNvSpPr>
            <a:spLocks noGrp="1"/>
          </p:cNvSpPr>
          <p:nvPr>
            <p:ph type="body" sz="quarter" idx="17" hasCustomPrompt="1"/>
          </p:nvPr>
        </p:nvSpPr>
        <p:spPr>
          <a:xfrm>
            <a:off x="8905412" y="2320138"/>
            <a:ext cx="2520355" cy="3413913"/>
          </a:xfrm>
          <a:solidFill>
            <a:schemeClr val="bg1"/>
          </a:solidFill>
          <a:ln>
            <a:solidFill>
              <a:srgbClr val="DADADA"/>
            </a:solidFill>
          </a:ln>
        </p:spPr>
        <p:txBody>
          <a:bodyPr lIns="108000" tIns="108000" rIns="108000" bIns="108000"/>
          <a:lstStyle/>
          <a:p>
            <a:pPr lvl="0"/>
            <a:r>
              <a:rPr lang="en-US" dirty="0"/>
              <a:t>Click to edit Master text styles</a:t>
            </a:r>
          </a:p>
        </p:txBody>
      </p:sp>
    </p:spTree>
    <p:extLst>
      <p:ext uri="{BB962C8B-B14F-4D97-AF65-F5344CB8AC3E}">
        <p14:creationId xmlns:p14="http://schemas.microsoft.com/office/powerpoint/2010/main" val="298720930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grey area and 4x tex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39569BA2-E2D1-4DF9-AB12-F98FC2A65C7A}"/>
              </a:ext>
            </a:extLst>
          </p:cNvPr>
          <p:cNvGraphicFramePr>
            <a:graphicFrameLocks noChangeAspect="1"/>
          </p:cNvGraphicFramePr>
          <p:nvPr userDrawn="1">
            <p:custDataLst>
              <p:tags r:id="rId1"/>
            </p:custDataLst>
            <p:extLst>
              <p:ext uri="{D42A27DB-BD31-4B8C-83A1-F6EECF244321}">
                <p14:modId xmlns:p14="http://schemas.microsoft.com/office/powerpoint/2010/main" val="296406613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8" name="Objekt 7" hidden="1">
                        <a:extLst>
                          <a:ext uri="{FF2B5EF4-FFF2-40B4-BE49-F238E27FC236}">
                            <a16:creationId xmlns:a16="http://schemas.microsoft.com/office/drawing/2014/main" id="{39569BA2-E2D1-4DF9-AB12-F98FC2A65C7A}"/>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2" name="Titel 1"/>
          <p:cNvSpPr>
            <a:spLocks noGrp="1"/>
          </p:cNvSpPr>
          <p:nvPr>
            <p:ph type="title" hasCustomPrompt="1"/>
          </p:nvPr>
        </p:nvSpPr>
        <p:spPr/>
        <p:txBody>
          <a:bodyPr vert="horz"/>
          <a:lstStyle/>
          <a:p>
            <a:r>
              <a:rPr lang="en-US" dirty="0"/>
              <a:t>Click to add title</a:t>
            </a:r>
            <a:endParaRPr lang="en-US" noProof="0" dirty="0"/>
          </a:p>
        </p:txBody>
      </p:sp>
      <p:sp>
        <p:nvSpPr>
          <p:cNvPr id="3" name="Datumsplatzhalter 2"/>
          <p:cNvSpPr>
            <a:spLocks noGrp="1"/>
          </p:cNvSpPr>
          <p:nvPr>
            <p:ph type="dt" sz="half" idx="10"/>
          </p:nvPr>
        </p:nvSpPr>
        <p:spPr/>
        <p:txBody>
          <a:bodyPr/>
          <a:lstStyle/>
          <a:p>
            <a:fld id="{24162CBA-6983-4549-8EB1-6AFDF6828C3D}" type="datetime1">
              <a:rPr lang="en-US" noProof="0" smtClean="0"/>
              <a:t>6/19/2025</a:t>
            </a:fld>
            <a:endParaRPr lang="en-US" noProof="0" dirty="0"/>
          </a:p>
        </p:txBody>
      </p:sp>
      <p:sp>
        <p:nvSpPr>
          <p:cNvPr id="4" name="Fußzeilenplatzhalter 3"/>
          <p:cNvSpPr>
            <a:spLocks noGrp="1"/>
          </p:cNvSpPr>
          <p:nvPr>
            <p:ph type="ftr" sz="quarter" idx="11"/>
          </p:nvPr>
        </p:nvSpPr>
        <p:spPr/>
        <p:txBody>
          <a:bodyPr/>
          <a:lstStyle/>
          <a:p>
            <a:r>
              <a:rPr lang="en-US" noProof="0" dirty="0"/>
              <a:t>© Forum Network Technology/Network Operation in the VDE</a:t>
            </a:r>
          </a:p>
        </p:txBody>
      </p:sp>
      <p:sp>
        <p:nvSpPr>
          <p:cNvPr id="5" name="Foliennummernplatzhalter 4"/>
          <p:cNvSpPr>
            <a:spLocks noGrp="1"/>
          </p:cNvSpPr>
          <p:nvPr>
            <p:ph type="sldNum" sz="quarter" idx="12"/>
          </p:nvPr>
        </p:nvSpPr>
        <p:spPr/>
        <p:txBody>
          <a:bodyPr/>
          <a:lstStyle/>
          <a:p>
            <a:fld id="{2AA1E7D3-1333-45EE-ABB9-51527D316BA3}" type="slidenum">
              <a:rPr lang="en-US" noProof="0" smtClean="0"/>
              <a:pPr/>
              <a:t>‹#›</a:t>
            </a:fld>
            <a:endParaRPr lang="en-US" noProof="0" dirty="0"/>
          </a:p>
        </p:txBody>
      </p:sp>
      <p:sp>
        <p:nvSpPr>
          <p:cNvPr id="6" name="Rechteck 5">
            <a:extLst>
              <a:ext uri="{FF2B5EF4-FFF2-40B4-BE49-F238E27FC236}">
                <a16:creationId xmlns:a16="http://schemas.microsoft.com/office/drawing/2014/main" id="{F31C8B50-0FE5-4C68-907B-E53209C41397}"/>
              </a:ext>
            </a:extLst>
          </p:cNvPr>
          <p:cNvSpPr/>
          <p:nvPr userDrawn="1"/>
        </p:nvSpPr>
        <p:spPr bwMode="gray">
          <a:xfrm>
            <a:off x="0" y="2667755"/>
            <a:ext cx="12192000" cy="3066296"/>
          </a:xfrm>
          <a:prstGeom prst="rect">
            <a:avLst/>
          </a:prstGeom>
          <a:solidFill>
            <a:srgbClr val="EAEAEA"/>
          </a:solidFill>
          <a:ln w="9525" algn="ctr">
            <a:noFill/>
            <a:miter lim="800000"/>
            <a:headEnd/>
            <a:tailEnd/>
          </a:ln>
          <a:effectLst/>
        </p:spPr>
        <p:txBody>
          <a:bodyPr lIns="192000" tIns="48000" rIns="192000" bIns="48000" rtlCol="0" anchor="ctr"/>
          <a:lstStyle/>
          <a:p>
            <a:pPr algn="ctr"/>
            <a:endParaRPr lang="en-US" sz="1467" b="1" kern="0" dirty="0">
              <a:solidFill>
                <a:srgbClr val="FFFFFF"/>
              </a:solidFill>
            </a:endParaRPr>
          </a:p>
        </p:txBody>
      </p:sp>
      <p:sp>
        <p:nvSpPr>
          <p:cNvPr id="12" name="Textplatzhalter 19">
            <a:extLst>
              <a:ext uri="{FF2B5EF4-FFF2-40B4-BE49-F238E27FC236}">
                <a16:creationId xmlns:a16="http://schemas.microsoft.com/office/drawing/2014/main" id="{9E43EA09-7514-4C9C-9F74-70B228EE5778}"/>
              </a:ext>
            </a:extLst>
          </p:cNvPr>
          <p:cNvSpPr>
            <a:spLocks noGrp="1"/>
          </p:cNvSpPr>
          <p:nvPr>
            <p:ph type="body" sz="quarter" idx="13" hasCustomPrompt="1"/>
          </p:nvPr>
        </p:nvSpPr>
        <p:spPr>
          <a:xfrm>
            <a:off x="768000" y="1471411"/>
            <a:ext cx="10080000" cy="574516"/>
          </a:xfrm>
        </p:spPr>
        <p:txBody>
          <a:bodyPr>
            <a:spAutoFit/>
          </a:bodyPr>
          <a:lstStyle>
            <a:lvl1pPr marL="0" indent="0">
              <a:buNone/>
              <a:defRPr sz="3733">
                <a:solidFill>
                  <a:schemeClr val="accent1"/>
                </a:solidFill>
              </a:defRPr>
            </a:lvl1pPr>
          </a:lstStyle>
          <a:p>
            <a:pPr lvl="0"/>
            <a:r>
              <a:rPr lang="en-US" dirty="0"/>
              <a:t>Edit master text format</a:t>
            </a:r>
          </a:p>
        </p:txBody>
      </p:sp>
      <p:sp>
        <p:nvSpPr>
          <p:cNvPr id="14" name="Textplatzhalter 13">
            <a:extLst>
              <a:ext uri="{FF2B5EF4-FFF2-40B4-BE49-F238E27FC236}">
                <a16:creationId xmlns:a16="http://schemas.microsoft.com/office/drawing/2014/main" id="{D15AC3D2-BB1C-4978-B11B-C781004DD8AB}"/>
              </a:ext>
            </a:extLst>
          </p:cNvPr>
          <p:cNvSpPr>
            <a:spLocks noGrp="1"/>
          </p:cNvSpPr>
          <p:nvPr>
            <p:ph type="body" sz="quarter" idx="14" hasCustomPrompt="1"/>
          </p:nvPr>
        </p:nvSpPr>
        <p:spPr>
          <a:xfrm>
            <a:off x="768001" y="2879313"/>
            <a:ext cx="2524145" cy="266893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platzhalter 13">
            <a:extLst>
              <a:ext uri="{FF2B5EF4-FFF2-40B4-BE49-F238E27FC236}">
                <a16:creationId xmlns:a16="http://schemas.microsoft.com/office/drawing/2014/main" id="{12CA6AF7-3CE1-4A76-BF53-55FE9C8D6DE4}"/>
              </a:ext>
            </a:extLst>
          </p:cNvPr>
          <p:cNvSpPr>
            <a:spLocks noGrp="1"/>
          </p:cNvSpPr>
          <p:nvPr>
            <p:ph type="body" sz="quarter" idx="15" hasCustomPrompt="1"/>
          </p:nvPr>
        </p:nvSpPr>
        <p:spPr>
          <a:xfrm>
            <a:off x="3478620" y="2879313"/>
            <a:ext cx="2524145" cy="266893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3"/>
            <a:endParaRPr lang="en-US" dirty="0"/>
          </a:p>
        </p:txBody>
      </p:sp>
      <p:sp>
        <p:nvSpPr>
          <p:cNvPr id="16" name="Textplatzhalter 13">
            <a:extLst>
              <a:ext uri="{FF2B5EF4-FFF2-40B4-BE49-F238E27FC236}">
                <a16:creationId xmlns:a16="http://schemas.microsoft.com/office/drawing/2014/main" id="{A29E4B66-0665-4B3F-86B7-6A7BAFED0609}"/>
              </a:ext>
            </a:extLst>
          </p:cNvPr>
          <p:cNvSpPr>
            <a:spLocks noGrp="1"/>
          </p:cNvSpPr>
          <p:nvPr>
            <p:ph type="body" sz="quarter" idx="16" hasCustomPrompt="1"/>
          </p:nvPr>
        </p:nvSpPr>
        <p:spPr>
          <a:xfrm>
            <a:off x="6189238" y="2879313"/>
            <a:ext cx="2524145" cy="266893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3"/>
            <a:endParaRPr lang="en-US" dirty="0"/>
          </a:p>
        </p:txBody>
      </p:sp>
      <p:sp>
        <p:nvSpPr>
          <p:cNvPr id="17" name="Textplatzhalter 13">
            <a:extLst>
              <a:ext uri="{FF2B5EF4-FFF2-40B4-BE49-F238E27FC236}">
                <a16:creationId xmlns:a16="http://schemas.microsoft.com/office/drawing/2014/main" id="{3B2D8665-F700-43F7-9170-97911FF75DC3}"/>
              </a:ext>
            </a:extLst>
          </p:cNvPr>
          <p:cNvSpPr>
            <a:spLocks noGrp="1"/>
          </p:cNvSpPr>
          <p:nvPr>
            <p:ph type="body" sz="quarter" idx="17" hasCustomPrompt="1"/>
          </p:nvPr>
        </p:nvSpPr>
        <p:spPr>
          <a:xfrm>
            <a:off x="8899856" y="2879313"/>
            <a:ext cx="2524145" cy="266893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3"/>
            <a:endParaRPr lang="en-US" dirty="0"/>
          </a:p>
        </p:txBody>
      </p:sp>
    </p:spTree>
    <p:extLst>
      <p:ext uri="{BB962C8B-B14F-4D97-AF65-F5344CB8AC3E}">
        <p14:creationId xmlns:p14="http://schemas.microsoft.com/office/powerpoint/2010/main" val="83311453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grey area and 3x text and picture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6DE85A8-D9F2-46D7-96FB-04DDCE97E89C}"/>
              </a:ext>
            </a:extLst>
          </p:cNvPr>
          <p:cNvGraphicFramePr>
            <a:graphicFrameLocks noChangeAspect="1"/>
          </p:cNvGraphicFramePr>
          <p:nvPr userDrawn="1">
            <p:custDataLst>
              <p:tags r:id="rId1"/>
            </p:custDataLst>
            <p:extLst>
              <p:ext uri="{D42A27DB-BD31-4B8C-83A1-F6EECF244321}">
                <p14:modId xmlns:p14="http://schemas.microsoft.com/office/powerpoint/2010/main" val="4058064799"/>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8" name="Objekt 7" hidden="1">
                        <a:extLst>
                          <a:ext uri="{FF2B5EF4-FFF2-40B4-BE49-F238E27FC236}">
                            <a16:creationId xmlns:a16="http://schemas.microsoft.com/office/drawing/2014/main" id="{86DE85A8-D9F2-46D7-96FB-04DDCE97E89C}"/>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23" name="Rechteck 22">
            <a:extLst>
              <a:ext uri="{FF2B5EF4-FFF2-40B4-BE49-F238E27FC236}">
                <a16:creationId xmlns:a16="http://schemas.microsoft.com/office/drawing/2014/main" id="{1A756D30-154D-400C-A975-CF40B947FB3E}"/>
              </a:ext>
            </a:extLst>
          </p:cNvPr>
          <p:cNvSpPr>
            <a:spLocks/>
          </p:cNvSpPr>
          <p:nvPr userDrawn="1"/>
        </p:nvSpPr>
        <p:spPr bwMode="gray">
          <a:xfrm>
            <a:off x="0" y="3225800"/>
            <a:ext cx="12192000" cy="2508251"/>
          </a:xfrm>
          <a:prstGeom prst="rect">
            <a:avLst/>
          </a:prstGeom>
          <a:solidFill>
            <a:srgbClr val="EAEAEA"/>
          </a:solidFill>
          <a:ln w="9525" algn="ctr">
            <a:noFill/>
            <a:miter lim="800000"/>
            <a:headEnd/>
            <a:tailEnd/>
          </a:ln>
          <a:effectLst/>
        </p:spPr>
        <p:txBody>
          <a:bodyPr lIns="192000" tIns="48000" rIns="192000" bIns="48000" rtlCol="0" anchor="ctr"/>
          <a:lstStyle/>
          <a:p>
            <a:pPr algn="ctr"/>
            <a:endParaRPr lang="en-US" sz="1467" b="1" kern="0" dirty="0">
              <a:solidFill>
                <a:srgbClr val="FFFFFF"/>
              </a:solidFill>
            </a:endParaRPr>
          </a:p>
        </p:txBody>
      </p:sp>
      <p:sp>
        <p:nvSpPr>
          <p:cNvPr id="2" name="Titel 1"/>
          <p:cNvSpPr>
            <a:spLocks noGrp="1"/>
          </p:cNvSpPr>
          <p:nvPr>
            <p:ph type="title" hasCustomPrompt="1"/>
          </p:nvPr>
        </p:nvSpPr>
        <p:spPr/>
        <p:txBody>
          <a:bodyPr vert="horz"/>
          <a:lstStyle/>
          <a:p>
            <a:r>
              <a:rPr lang="en-US" dirty="0"/>
              <a:t>Click to add title</a:t>
            </a:r>
            <a:endParaRPr lang="en-US" noProof="0" dirty="0"/>
          </a:p>
        </p:txBody>
      </p:sp>
      <p:sp>
        <p:nvSpPr>
          <p:cNvPr id="3" name="Datumsplatzhalter 2"/>
          <p:cNvSpPr>
            <a:spLocks noGrp="1"/>
          </p:cNvSpPr>
          <p:nvPr>
            <p:ph type="dt" sz="half" idx="10"/>
          </p:nvPr>
        </p:nvSpPr>
        <p:spPr/>
        <p:txBody>
          <a:bodyPr/>
          <a:lstStyle/>
          <a:p>
            <a:fld id="{F0D4B07D-8B20-495D-90D5-7C84DA855EB4}" type="datetime1">
              <a:rPr lang="en-US" noProof="0" smtClean="0"/>
              <a:t>6/19/2025</a:t>
            </a:fld>
            <a:endParaRPr lang="en-US" noProof="0" dirty="0"/>
          </a:p>
        </p:txBody>
      </p:sp>
      <p:sp>
        <p:nvSpPr>
          <p:cNvPr id="4" name="Fußzeilenplatzhalter 3"/>
          <p:cNvSpPr>
            <a:spLocks noGrp="1"/>
          </p:cNvSpPr>
          <p:nvPr>
            <p:ph type="ftr" sz="quarter" idx="11"/>
          </p:nvPr>
        </p:nvSpPr>
        <p:spPr/>
        <p:txBody>
          <a:bodyPr/>
          <a:lstStyle/>
          <a:p>
            <a:r>
              <a:rPr lang="en-US" noProof="0" dirty="0"/>
              <a:t>© Forum Network Technology/Network Operation in the VDE</a:t>
            </a:r>
          </a:p>
        </p:txBody>
      </p:sp>
      <p:sp>
        <p:nvSpPr>
          <p:cNvPr id="5" name="Foliennummernplatzhalter 4"/>
          <p:cNvSpPr>
            <a:spLocks noGrp="1"/>
          </p:cNvSpPr>
          <p:nvPr>
            <p:ph type="sldNum" sz="quarter" idx="12"/>
          </p:nvPr>
        </p:nvSpPr>
        <p:spPr/>
        <p:txBody>
          <a:bodyPr/>
          <a:lstStyle/>
          <a:p>
            <a:fld id="{2AA1E7D3-1333-45EE-ABB9-51527D316BA3}" type="slidenum">
              <a:rPr lang="en-US" noProof="0" smtClean="0"/>
              <a:pPr/>
              <a:t>‹#›</a:t>
            </a:fld>
            <a:endParaRPr lang="en-US" noProof="0" dirty="0"/>
          </a:p>
        </p:txBody>
      </p:sp>
      <p:sp>
        <p:nvSpPr>
          <p:cNvPr id="10" name="Textplatzhalter 9">
            <a:extLst>
              <a:ext uri="{FF2B5EF4-FFF2-40B4-BE49-F238E27FC236}">
                <a16:creationId xmlns:a16="http://schemas.microsoft.com/office/drawing/2014/main" id="{714D2321-3CBD-4257-8899-7325B761135C}"/>
              </a:ext>
            </a:extLst>
          </p:cNvPr>
          <p:cNvSpPr>
            <a:spLocks noGrp="1"/>
          </p:cNvSpPr>
          <p:nvPr>
            <p:ph type="body" sz="quarter" idx="13" hasCustomPrompt="1"/>
          </p:nvPr>
        </p:nvSpPr>
        <p:spPr>
          <a:xfrm>
            <a:off x="768351" y="1459763"/>
            <a:ext cx="3427191" cy="1552899"/>
          </a:xfrm>
        </p:spPr>
        <p:txBody>
          <a:bodyPr/>
          <a:lstStyle/>
          <a:p>
            <a:pPr lvl="0"/>
            <a:r>
              <a:rPr lang="en-US" dirty="0"/>
              <a:t>Click to edit Master text styles</a:t>
            </a:r>
          </a:p>
          <a:p>
            <a:pPr lvl="1"/>
            <a:r>
              <a:rPr lang="en-US" dirty="0"/>
              <a:t>Second level</a:t>
            </a:r>
          </a:p>
          <a:p>
            <a:pPr lvl="2"/>
            <a:r>
              <a:rPr lang="en-US" dirty="0"/>
              <a:t>Third level</a:t>
            </a:r>
          </a:p>
          <a:p>
            <a:pPr lvl="2"/>
            <a:endParaRPr lang="en-US" dirty="0"/>
          </a:p>
        </p:txBody>
      </p:sp>
      <p:sp>
        <p:nvSpPr>
          <p:cNvPr id="24" name="Textplatzhalter 9">
            <a:extLst>
              <a:ext uri="{FF2B5EF4-FFF2-40B4-BE49-F238E27FC236}">
                <a16:creationId xmlns:a16="http://schemas.microsoft.com/office/drawing/2014/main" id="{B618DAB3-D465-4973-8279-2F98A90BC123}"/>
              </a:ext>
            </a:extLst>
          </p:cNvPr>
          <p:cNvSpPr>
            <a:spLocks noGrp="1"/>
          </p:cNvSpPr>
          <p:nvPr>
            <p:ph type="body" sz="quarter" idx="14" hasCustomPrompt="1"/>
          </p:nvPr>
        </p:nvSpPr>
        <p:spPr>
          <a:xfrm>
            <a:off x="4384179" y="1459763"/>
            <a:ext cx="3427191" cy="1552899"/>
          </a:xfrm>
        </p:spPr>
        <p:txBody>
          <a:bodyPr/>
          <a:lstStyle/>
          <a:p>
            <a:pPr lvl="0"/>
            <a:r>
              <a:rPr lang="en-US" dirty="0"/>
              <a:t>Click to edit Master text styles</a:t>
            </a:r>
          </a:p>
          <a:p>
            <a:pPr lvl="1"/>
            <a:r>
              <a:rPr lang="en-US" dirty="0"/>
              <a:t>Second level</a:t>
            </a:r>
          </a:p>
          <a:p>
            <a:pPr lvl="2"/>
            <a:r>
              <a:rPr lang="en-US" dirty="0"/>
              <a:t>Third level</a:t>
            </a:r>
          </a:p>
          <a:p>
            <a:pPr lvl="2"/>
            <a:endParaRPr lang="en-US" dirty="0"/>
          </a:p>
        </p:txBody>
      </p:sp>
      <p:sp>
        <p:nvSpPr>
          <p:cNvPr id="25" name="Textplatzhalter 9">
            <a:extLst>
              <a:ext uri="{FF2B5EF4-FFF2-40B4-BE49-F238E27FC236}">
                <a16:creationId xmlns:a16="http://schemas.microsoft.com/office/drawing/2014/main" id="{61790C7C-4812-4AA8-BD2D-4E202F6E69E4}"/>
              </a:ext>
            </a:extLst>
          </p:cNvPr>
          <p:cNvSpPr>
            <a:spLocks noGrp="1"/>
          </p:cNvSpPr>
          <p:nvPr>
            <p:ph type="body" sz="quarter" idx="15" hasCustomPrompt="1"/>
          </p:nvPr>
        </p:nvSpPr>
        <p:spPr>
          <a:xfrm>
            <a:off x="8000009" y="1459763"/>
            <a:ext cx="3427191" cy="1552899"/>
          </a:xfrm>
        </p:spPr>
        <p:txBody>
          <a:bodyPr/>
          <a:lstStyle/>
          <a:p>
            <a:pPr lvl="0"/>
            <a:r>
              <a:rPr lang="en-US" dirty="0"/>
              <a:t>Click to edit Master text styles</a:t>
            </a:r>
          </a:p>
          <a:p>
            <a:pPr lvl="1"/>
            <a:r>
              <a:rPr lang="en-US" dirty="0"/>
              <a:t>Second level</a:t>
            </a:r>
          </a:p>
          <a:p>
            <a:pPr lvl="2"/>
            <a:r>
              <a:rPr lang="en-US" dirty="0"/>
              <a:t>Third level</a:t>
            </a:r>
          </a:p>
        </p:txBody>
      </p:sp>
      <p:sp>
        <p:nvSpPr>
          <p:cNvPr id="26" name="Bildplatzhalter 25">
            <a:extLst>
              <a:ext uri="{FF2B5EF4-FFF2-40B4-BE49-F238E27FC236}">
                <a16:creationId xmlns:a16="http://schemas.microsoft.com/office/drawing/2014/main" id="{53CD33DD-20C2-4584-923E-C26BF3F80FF7}"/>
              </a:ext>
            </a:extLst>
          </p:cNvPr>
          <p:cNvSpPr>
            <a:spLocks noGrp="1"/>
          </p:cNvSpPr>
          <p:nvPr>
            <p:ph type="pic" sz="quarter" idx="16" hasCustomPrompt="1"/>
          </p:nvPr>
        </p:nvSpPr>
        <p:spPr>
          <a:xfrm>
            <a:off x="768351" y="3406777"/>
            <a:ext cx="3427191" cy="2146300"/>
          </a:xfrm>
          <a:solidFill>
            <a:srgbClr val="C7D6F1"/>
          </a:solidFill>
        </p:spPr>
        <p:txBody>
          <a:bodyPr/>
          <a:lstStyle>
            <a:lvl1pPr marL="0" indent="0">
              <a:spcBef>
                <a:spcPts val="0"/>
              </a:spcBef>
              <a:buNone/>
              <a:defRPr/>
            </a:lvl1pPr>
          </a:lstStyle>
          <a:p>
            <a:r>
              <a:rPr lang="en-US" noProof="0" dirty="0"/>
              <a:t>Drag image or video to the spacer or add by clicking on the corresponding icon</a:t>
            </a:r>
          </a:p>
          <a:p>
            <a:endParaRPr lang="en-US" dirty="0"/>
          </a:p>
        </p:txBody>
      </p:sp>
      <p:sp>
        <p:nvSpPr>
          <p:cNvPr id="27" name="Bildplatzhalter 25">
            <a:extLst>
              <a:ext uri="{FF2B5EF4-FFF2-40B4-BE49-F238E27FC236}">
                <a16:creationId xmlns:a16="http://schemas.microsoft.com/office/drawing/2014/main" id="{A9DD8897-C8F6-4E36-A765-079C1BA46D22}"/>
              </a:ext>
            </a:extLst>
          </p:cNvPr>
          <p:cNvSpPr>
            <a:spLocks noGrp="1"/>
          </p:cNvSpPr>
          <p:nvPr>
            <p:ph type="pic" sz="quarter" idx="17" hasCustomPrompt="1"/>
          </p:nvPr>
        </p:nvSpPr>
        <p:spPr>
          <a:xfrm>
            <a:off x="4384179" y="3406777"/>
            <a:ext cx="3427191" cy="2146300"/>
          </a:xfrm>
          <a:solidFill>
            <a:srgbClr val="C7D6F1"/>
          </a:solidFill>
        </p:spPr>
        <p:txBody>
          <a:bodyPr/>
          <a:lstStyle>
            <a:lvl1pPr marL="0" indent="0">
              <a:spcBef>
                <a:spcPts val="0"/>
              </a:spcBef>
              <a:buNone/>
              <a:defRPr/>
            </a:lvl1pPr>
          </a:lstStyle>
          <a:p>
            <a:r>
              <a:rPr lang="en-US" noProof="0" dirty="0"/>
              <a:t>Drag image or video to the spacer or add by clicking on the corresponding icon</a:t>
            </a:r>
          </a:p>
          <a:p>
            <a:endParaRPr lang="en-US" dirty="0"/>
          </a:p>
        </p:txBody>
      </p:sp>
      <p:sp>
        <p:nvSpPr>
          <p:cNvPr id="28" name="Bildplatzhalter 25">
            <a:extLst>
              <a:ext uri="{FF2B5EF4-FFF2-40B4-BE49-F238E27FC236}">
                <a16:creationId xmlns:a16="http://schemas.microsoft.com/office/drawing/2014/main" id="{7C5385CE-AFA6-4A4A-AF6F-93BF0891DE6E}"/>
              </a:ext>
            </a:extLst>
          </p:cNvPr>
          <p:cNvSpPr>
            <a:spLocks noGrp="1"/>
          </p:cNvSpPr>
          <p:nvPr>
            <p:ph type="pic" sz="quarter" idx="18" hasCustomPrompt="1"/>
          </p:nvPr>
        </p:nvSpPr>
        <p:spPr>
          <a:xfrm>
            <a:off x="8000009" y="3406777"/>
            <a:ext cx="3427191" cy="2146300"/>
          </a:xfrm>
          <a:solidFill>
            <a:srgbClr val="C7D6F1"/>
          </a:solidFill>
        </p:spPr>
        <p:txBody>
          <a:bodyPr/>
          <a:lstStyle>
            <a:lvl1pPr marL="0" indent="0">
              <a:spcBef>
                <a:spcPts val="0"/>
              </a:spcBef>
              <a:buNone/>
              <a:defRPr/>
            </a:lvl1pPr>
          </a:lstStyle>
          <a:p>
            <a:r>
              <a:rPr lang="en-US" noProof="0" dirty="0"/>
              <a:t>Drag image or video to the spacer or add by clicking on the corresponding icon</a:t>
            </a:r>
          </a:p>
          <a:p>
            <a:endParaRPr lang="en-US" dirty="0"/>
          </a:p>
        </p:txBody>
      </p:sp>
    </p:spTree>
    <p:extLst>
      <p:ext uri="{BB962C8B-B14F-4D97-AF65-F5344CB8AC3E}">
        <p14:creationId xmlns:p14="http://schemas.microsoft.com/office/powerpoint/2010/main" val="42398217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blue area and text and pictur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6DE85A8-D9F2-46D7-96FB-04DDCE97E89C}"/>
              </a:ext>
            </a:extLst>
          </p:cNvPr>
          <p:cNvGraphicFramePr>
            <a:graphicFrameLocks noChangeAspect="1"/>
          </p:cNvGraphicFramePr>
          <p:nvPr userDrawn="1">
            <p:custDataLst>
              <p:tags r:id="rId1"/>
            </p:custDataLst>
            <p:extLst>
              <p:ext uri="{D42A27DB-BD31-4B8C-83A1-F6EECF244321}">
                <p14:modId xmlns:p14="http://schemas.microsoft.com/office/powerpoint/2010/main" val="411419629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8" name="Objekt 7" hidden="1">
                        <a:extLst>
                          <a:ext uri="{FF2B5EF4-FFF2-40B4-BE49-F238E27FC236}">
                            <a16:creationId xmlns:a16="http://schemas.microsoft.com/office/drawing/2014/main" id="{86DE85A8-D9F2-46D7-96FB-04DDCE97E89C}"/>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2" name="Titel 1"/>
          <p:cNvSpPr>
            <a:spLocks noGrp="1"/>
          </p:cNvSpPr>
          <p:nvPr>
            <p:ph type="title" hasCustomPrompt="1"/>
          </p:nvPr>
        </p:nvSpPr>
        <p:spPr/>
        <p:txBody>
          <a:bodyPr vert="horz"/>
          <a:lstStyle/>
          <a:p>
            <a:r>
              <a:rPr lang="en-US" dirty="0"/>
              <a:t>Click to add title</a:t>
            </a:r>
            <a:endParaRPr lang="en-US" noProof="0" dirty="0"/>
          </a:p>
        </p:txBody>
      </p:sp>
      <p:sp>
        <p:nvSpPr>
          <p:cNvPr id="3" name="Datumsplatzhalter 2"/>
          <p:cNvSpPr>
            <a:spLocks noGrp="1"/>
          </p:cNvSpPr>
          <p:nvPr>
            <p:ph type="dt" sz="half" idx="10"/>
          </p:nvPr>
        </p:nvSpPr>
        <p:spPr/>
        <p:txBody>
          <a:bodyPr/>
          <a:lstStyle/>
          <a:p>
            <a:fld id="{AFE3761C-24B8-4ECF-9996-6E13D8B3C665}" type="datetime1">
              <a:rPr lang="en-US" noProof="0" smtClean="0"/>
              <a:t>6/19/2025</a:t>
            </a:fld>
            <a:endParaRPr lang="en-US" noProof="0" dirty="0"/>
          </a:p>
        </p:txBody>
      </p:sp>
      <p:sp>
        <p:nvSpPr>
          <p:cNvPr id="4" name="Fußzeilenplatzhalter 3"/>
          <p:cNvSpPr>
            <a:spLocks noGrp="1"/>
          </p:cNvSpPr>
          <p:nvPr>
            <p:ph type="ftr" sz="quarter" idx="11"/>
          </p:nvPr>
        </p:nvSpPr>
        <p:spPr/>
        <p:txBody>
          <a:bodyPr/>
          <a:lstStyle/>
          <a:p>
            <a:r>
              <a:rPr lang="en-US" noProof="0" dirty="0"/>
              <a:t>© Forum Network Technology/Network Operation in the VDE</a:t>
            </a:r>
          </a:p>
        </p:txBody>
      </p:sp>
      <p:sp>
        <p:nvSpPr>
          <p:cNvPr id="5" name="Foliennummernplatzhalter 4"/>
          <p:cNvSpPr>
            <a:spLocks noGrp="1"/>
          </p:cNvSpPr>
          <p:nvPr>
            <p:ph type="sldNum" sz="quarter" idx="12"/>
          </p:nvPr>
        </p:nvSpPr>
        <p:spPr/>
        <p:txBody>
          <a:bodyPr/>
          <a:lstStyle/>
          <a:p>
            <a:fld id="{2AA1E7D3-1333-45EE-ABB9-51527D316BA3}" type="slidenum">
              <a:rPr lang="en-US" noProof="0" smtClean="0"/>
              <a:pPr/>
              <a:t>‹#›</a:t>
            </a:fld>
            <a:endParaRPr lang="en-US" noProof="0" dirty="0"/>
          </a:p>
        </p:txBody>
      </p:sp>
      <p:sp>
        <p:nvSpPr>
          <p:cNvPr id="26" name="Bildplatzhalter 25">
            <a:extLst>
              <a:ext uri="{FF2B5EF4-FFF2-40B4-BE49-F238E27FC236}">
                <a16:creationId xmlns:a16="http://schemas.microsoft.com/office/drawing/2014/main" id="{53CD33DD-20C2-4584-923E-C26BF3F80FF7}"/>
              </a:ext>
            </a:extLst>
          </p:cNvPr>
          <p:cNvSpPr>
            <a:spLocks noGrp="1"/>
          </p:cNvSpPr>
          <p:nvPr>
            <p:ph type="pic" sz="quarter" idx="16" hasCustomPrompt="1"/>
          </p:nvPr>
        </p:nvSpPr>
        <p:spPr>
          <a:xfrm>
            <a:off x="0" y="2781301"/>
            <a:ext cx="12192000" cy="2247900"/>
          </a:xfrm>
          <a:solidFill>
            <a:srgbClr val="C7D6F1"/>
          </a:solidFill>
        </p:spPr>
        <p:txBody>
          <a:bodyPr/>
          <a:lstStyle>
            <a:lvl1pPr marL="0" indent="0">
              <a:spcBef>
                <a:spcPts val="0"/>
              </a:spcBef>
              <a:buNone/>
              <a:defRPr/>
            </a:lvl1pPr>
          </a:lstStyle>
          <a:p>
            <a:r>
              <a:rPr lang="en-US" noProof="0" dirty="0"/>
              <a:t>Drag image or video to the spacer</a:t>
            </a:r>
            <a:br>
              <a:rPr lang="en-US" noProof="0" dirty="0"/>
            </a:br>
            <a:r>
              <a:rPr lang="en-US" noProof="0" dirty="0"/>
              <a:t>or add by clicking on the corresponding icon</a:t>
            </a:r>
          </a:p>
          <a:p>
            <a:endParaRPr lang="en-US" dirty="0"/>
          </a:p>
        </p:txBody>
      </p:sp>
      <p:sp>
        <p:nvSpPr>
          <p:cNvPr id="16" name="Textplatzhalter 7">
            <a:extLst>
              <a:ext uri="{FF2B5EF4-FFF2-40B4-BE49-F238E27FC236}">
                <a16:creationId xmlns:a16="http://schemas.microsoft.com/office/drawing/2014/main" id="{1EAC4DE1-3609-46E8-A971-8276085B429B}"/>
              </a:ext>
            </a:extLst>
          </p:cNvPr>
          <p:cNvSpPr>
            <a:spLocks noGrp="1"/>
          </p:cNvSpPr>
          <p:nvPr>
            <p:ph type="body" sz="quarter" idx="17" hasCustomPrompt="1"/>
          </p:nvPr>
        </p:nvSpPr>
        <p:spPr>
          <a:xfrm>
            <a:off x="0" y="2781300"/>
            <a:ext cx="12192000" cy="2247901"/>
          </a:xfrm>
          <a:gradFill>
            <a:gsLst>
              <a:gs pos="47000">
                <a:srgbClr val="0064B4">
                  <a:alpha val="80000"/>
                </a:srgbClr>
              </a:gs>
              <a:gs pos="0">
                <a:schemeClr val="accent1">
                  <a:alpha val="50000"/>
                </a:schemeClr>
              </a:gs>
              <a:gs pos="100000">
                <a:schemeClr val="accent1"/>
              </a:gs>
            </a:gsLst>
            <a:lin ang="0" scaled="1"/>
          </a:gradFill>
          <a:ln w="9525" algn="ctr">
            <a:noFill/>
            <a:miter lim="800000"/>
            <a:headEnd/>
            <a:tailEnd/>
          </a:ln>
          <a:effectLst/>
        </p:spPr>
        <p:txBody>
          <a:bodyPr lIns="144000" tIns="36000" rIns="144000" bIns="36000" rtlCol="0" anchor="t"/>
          <a:lstStyle>
            <a:lvl1pPr marL="0" indent="0" algn="l">
              <a:buNone/>
              <a:defRPr lang="de-DE" sz="133" b="1" kern="0" dirty="0" smtClean="0">
                <a:solidFill>
                  <a:schemeClr val="bg1"/>
                </a:solidFill>
              </a:defRPr>
            </a:lvl1pPr>
            <a:lvl2pPr>
              <a:defRPr lang="de-DE" sz="2400" dirty="0" smtClean="0"/>
            </a:lvl2pPr>
            <a:lvl3pPr>
              <a:defRPr lang="de-DE" sz="2400" dirty="0" smtClean="0"/>
            </a:lvl3pPr>
            <a:lvl4pPr>
              <a:defRPr lang="de-DE" sz="2400" dirty="0" smtClean="0"/>
            </a:lvl4pPr>
            <a:lvl5pPr>
              <a:defRPr lang="de-DE" sz="2400" dirty="0"/>
            </a:lvl5pPr>
          </a:lstStyle>
          <a:p>
            <a:pPr marL="0" lvl="0" algn="ctr"/>
            <a:r>
              <a:rPr lang="en-US" dirty="0"/>
              <a:t> </a:t>
            </a:r>
          </a:p>
        </p:txBody>
      </p:sp>
      <p:sp>
        <p:nvSpPr>
          <p:cNvPr id="10" name="Textplatzhalter 9">
            <a:extLst>
              <a:ext uri="{FF2B5EF4-FFF2-40B4-BE49-F238E27FC236}">
                <a16:creationId xmlns:a16="http://schemas.microsoft.com/office/drawing/2014/main" id="{714D2321-3CBD-4257-8899-7325B761135C}"/>
              </a:ext>
            </a:extLst>
          </p:cNvPr>
          <p:cNvSpPr>
            <a:spLocks noGrp="1"/>
          </p:cNvSpPr>
          <p:nvPr>
            <p:ph type="body" sz="quarter" idx="13" hasCustomPrompt="1"/>
          </p:nvPr>
        </p:nvSpPr>
        <p:spPr>
          <a:xfrm>
            <a:off x="768352" y="3128800"/>
            <a:ext cx="2483825" cy="1552899"/>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stStyle>
          <a:p>
            <a:pPr lvl="0"/>
            <a:r>
              <a:rPr lang="en-US" dirty="0"/>
              <a:t>Click to edit Master text styles</a:t>
            </a:r>
          </a:p>
          <a:p>
            <a:pPr lvl="1"/>
            <a:r>
              <a:rPr lang="en-US" dirty="0"/>
              <a:t>Second level</a:t>
            </a:r>
          </a:p>
          <a:p>
            <a:pPr lvl="2"/>
            <a:r>
              <a:rPr lang="en-US" dirty="0"/>
              <a:t>Third level</a:t>
            </a:r>
            <a:endParaRPr lang="en-US" noProof="0" dirty="0"/>
          </a:p>
        </p:txBody>
      </p:sp>
      <p:sp>
        <p:nvSpPr>
          <p:cNvPr id="18" name="Textplatzhalter 19">
            <a:extLst>
              <a:ext uri="{FF2B5EF4-FFF2-40B4-BE49-F238E27FC236}">
                <a16:creationId xmlns:a16="http://schemas.microsoft.com/office/drawing/2014/main" id="{D3D83A84-3D2D-4F6E-BAB4-418F7719B35C}"/>
              </a:ext>
            </a:extLst>
          </p:cNvPr>
          <p:cNvSpPr>
            <a:spLocks noGrp="1"/>
          </p:cNvSpPr>
          <p:nvPr>
            <p:ph type="body" sz="quarter" idx="18" hasCustomPrompt="1"/>
          </p:nvPr>
        </p:nvSpPr>
        <p:spPr>
          <a:xfrm>
            <a:off x="768000" y="1471411"/>
            <a:ext cx="10080000" cy="574516"/>
          </a:xfrm>
        </p:spPr>
        <p:txBody>
          <a:bodyPr>
            <a:spAutoFit/>
          </a:bodyPr>
          <a:lstStyle>
            <a:lvl1pPr marL="0" indent="0">
              <a:buNone/>
              <a:defRPr sz="3733">
                <a:solidFill>
                  <a:schemeClr val="accent1"/>
                </a:solidFill>
              </a:defRPr>
            </a:lvl1pPr>
          </a:lstStyle>
          <a:p>
            <a:pPr lvl="0"/>
            <a:r>
              <a:rPr lang="en-US" dirty="0"/>
              <a:t>Edit master text format</a:t>
            </a:r>
          </a:p>
        </p:txBody>
      </p:sp>
      <p:sp>
        <p:nvSpPr>
          <p:cNvPr id="19" name="Textplatzhalter 9">
            <a:extLst>
              <a:ext uri="{FF2B5EF4-FFF2-40B4-BE49-F238E27FC236}">
                <a16:creationId xmlns:a16="http://schemas.microsoft.com/office/drawing/2014/main" id="{0BC27E5B-AFA5-42D2-A17A-D9C6A450870F}"/>
              </a:ext>
            </a:extLst>
          </p:cNvPr>
          <p:cNvSpPr>
            <a:spLocks noGrp="1"/>
          </p:cNvSpPr>
          <p:nvPr>
            <p:ph type="body" sz="quarter" idx="19" hasCustomPrompt="1"/>
          </p:nvPr>
        </p:nvSpPr>
        <p:spPr>
          <a:xfrm>
            <a:off x="3492177" y="3128800"/>
            <a:ext cx="2483825" cy="1552899"/>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stStyle>
          <a:p>
            <a:pPr lvl="0"/>
            <a:r>
              <a:rPr lang="en-US" dirty="0"/>
              <a:t>Click to edit Master text styles</a:t>
            </a:r>
          </a:p>
          <a:p>
            <a:pPr lvl="1"/>
            <a:r>
              <a:rPr lang="en-US" dirty="0"/>
              <a:t>Second level</a:t>
            </a:r>
          </a:p>
          <a:p>
            <a:pPr lvl="2"/>
            <a:r>
              <a:rPr lang="en-US" dirty="0"/>
              <a:t>Third level</a:t>
            </a:r>
          </a:p>
        </p:txBody>
      </p:sp>
      <p:sp>
        <p:nvSpPr>
          <p:cNvPr id="20" name="Textplatzhalter 9">
            <a:extLst>
              <a:ext uri="{FF2B5EF4-FFF2-40B4-BE49-F238E27FC236}">
                <a16:creationId xmlns:a16="http://schemas.microsoft.com/office/drawing/2014/main" id="{8226A46B-0400-46E0-8B54-0174F67602EF}"/>
              </a:ext>
            </a:extLst>
          </p:cNvPr>
          <p:cNvSpPr>
            <a:spLocks noGrp="1"/>
          </p:cNvSpPr>
          <p:nvPr>
            <p:ph type="body" sz="quarter" idx="20" hasCustomPrompt="1"/>
          </p:nvPr>
        </p:nvSpPr>
        <p:spPr>
          <a:xfrm>
            <a:off x="6216001" y="3128800"/>
            <a:ext cx="2483825" cy="1552899"/>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stStyle>
          <a:p>
            <a:pPr lvl="0"/>
            <a:r>
              <a:rPr lang="en-US" dirty="0"/>
              <a:t>Click to edit Master text styles</a:t>
            </a:r>
          </a:p>
          <a:p>
            <a:pPr lvl="1"/>
            <a:r>
              <a:rPr lang="en-US" dirty="0"/>
              <a:t>Second level</a:t>
            </a:r>
          </a:p>
          <a:p>
            <a:pPr lvl="2"/>
            <a:r>
              <a:rPr lang="en-US" dirty="0"/>
              <a:t>Third level</a:t>
            </a:r>
            <a:endParaRPr lang="en-US" noProof="0" dirty="0"/>
          </a:p>
        </p:txBody>
      </p:sp>
      <p:sp>
        <p:nvSpPr>
          <p:cNvPr id="21" name="Textplatzhalter 9">
            <a:extLst>
              <a:ext uri="{FF2B5EF4-FFF2-40B4-BE49-F238E27FC236}">
                <a16:creationId xmlns:a16="http://schemas.microsoft.com/office/drawing/2014/main" id="{99472058-73CC-4A50-848C-A396A53EA0E6}"/>
              </a:ext>
            </a:extLst>
          </p:cNvPr>
          <p:cNvSpPr>
            <a:spLocks noGrp="1"/>
          </p:cNvSpPr>
          <p:nvPr>
            <p:ph type="body" sz="quarter" idx="21" hasCustomPrompt="1"/>
          </p:nvPr>
        </p:nvSpPr>
        <p:spPr>
          <a:xfrm>
            <a:off x="8939825" y="3128800"/>
            <a:ext cx="2483825" cy="1552899"/>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0690106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3_Title, Content and Phot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4DB68AD-5D1E-DB4B-91F2-5C15BA550E7B}"/>
              </a:ext>
            </a:extLst>
          </p:cNvPr>
          <p:cNvPicPr>
            <a:picLocks noChangeAspect="1"/>
          </p:cNvPicPr>
          <p:nvPr userDrawn="1"/>
        </p:nvPicPr>
        <p:blipFill rotWithShape="1">
          <a:blip r:embed="rId2"/>
          <a:srcRect t="375"/>
          <a:stretch/>
        </p:blipFill>
        <p:spPr>
          <a:xfrm>
            <a:off x="0" y="0"/>
            <a:ext cx="12207240" cy="2432304"/>
          </a:xfrm>
          <a:prstGeom prst="rect">
            <a:avLst/>
          </a:prstGeom>
        </p:spPr>
      </p:pic>
      <p:sp>
        <p:nvSpPr>
          <p:cNvPr id="4" name="Title 1">
            <a:extLst>
              <a:ext uri="{FF2B5EF4-FFF2-40B4-BE49-F238E27FC236}">
                <a16:creationId xmlns:a16="http://schemas.microsoft.com/office/drawing/2014/main" id="{D2776BFF-2D8E-5443-9DD8-7518895CAD4D}"/>
              </a:ext>
            </a:extLst>
          </p:cNvPr>
          <p:cNvSpPr>
            <a:spLocks noGrp="1"/>
          </p:cNvSpPr>
          <p:nvPr>
            <p:ph type="title"/>
          </p:nvPr>
        </p:nvSpPr>
        <p:spPr>
          <a:xfrm>
            <a:off x="762000" y="0"/>
            <a:ext cx="10018776" cy="2423159"/>
          </a:xfrm>
          <a:prstGeom prst="rect">
            <a:avLst/>
          </a:prstGeom>
        </p:spPr>
        <p:txBody>
          <a:bodyPr lIns="0" anchor="ctr"/>
          <a:lstStyle>
            <a:lvl1pPr>
              <a:defRPr b="0" i="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A05724B2-146D-9345-A327-28E9CF8BDE81}"/>
              </a:ext>
            </a:extLst>
          </p:cNvPr>
          <p:cNvSpPr>
            <a:spLocks noGrp="1"/>
          </p:cNvSpPr>
          <p:nvPr>
            <p:ph sz="quarter" idx="10"/>
          </p:nvPr>
        </p:nvSpPr>
        <p:spPr>
          <a:xfrm>
            <a:off x="762000" y="3730752"/>
            <a:ext cx="5730240" cy="2560320"/>
          </a:xfrm>
          <a:prstGeom prst="rect">
            <a:avLst/>
          </a:prstGeom>
        </p:spPr>
        <p:txBody>
          <a:bodyPr/>
          <a:lstStyle>
            <a:lvl1pPr marL="117475" indent="-117475">
              <a:buClr>
                <a:srgbClr val="F15934"/>
              </a:buClr>
              <a:buSzPct val="60000"/>
              <a:tabLst/>
              <a:defRPr sz="2000" b="0" i="0">
                <a:solidFill>
                  <a:schemeClr val="tx1"/>
                </a:solidFill>
                <a:latin typeface="Arial" panose="020B0604020202020204" pitchFamily="34" charset="0"/>
                <a:cs typeface="Arial" panose="020B0604020202020204" pitchFamily="34" charset="0"/>
              </a:defRPr>
            </a:lvl1pPr>
            <a:lvl2pPr>
              <a:buClr>
                <a:srgbClr val="F15934"/>
              </a:buClr>
              <a:buSzPct val="60000"/>
              <a:defRPr sz="2000" b="0" i="0">
                <a:solidFill>
                  <a:schemeClr val="tx1"/>
                </a:solidFill>
                <a:latin typeface="Arial" panose="020B0604020202020204" pitchFamily="34" charset="0"/>
                <a:cs typeface="Arial" panose="020B0604020202020204" pitchFamily="34" charset="0"/>
              </a:defRPr>
            </a:lvl2pPr>
            <a:lvl3pPr>
              <a:buClr>
                <a:srgbClr val="F15934"/>
              </a:buClr>
              <a:buSzPct val="60000"/>
              <a:defRPr sz="2000" b="0" i="0">
                <a:solidFill>
                  <a:schemeClr val="tx1"/>
                </a:solidFill>
                <a:latin typeface="Arial" panose="020B0604020202020204" pitchFamily="34" charset="0"/>
                <a:cs typeface="Arial" panose="020B0604020202020204" pitchFamily="34" charset="0"/>
              </a:defRPr>
            </a:lvl3pPr>
            <a:lvl4pPr>
              <a:buClr>
                <a:srgbClr val="F15934"/>
              </a:buClr>
              <a:buSzPct val="60000"/>
              <a:defRPr sz="2000" b="0" i="0">
                <a:solidFill>
                  <a:schemeClr val="tx1"/>
                </a:solidFill>
                <a:latin typeface="Arial" panose="020B0604020202020204" pitchFamily="34" charset="0"/>
                <a:cs typeface="Arial" panose="020B0604020202020204" pitchFamily="34" charset="0"/>
              </a:defRPr>
            </a:lvl4pPr>
            <a:lvl5pPr>
              <a:buClr>
                <a:srgbClr val="F15934"/>
              </a:buClr>
              <a:buSzPct val="60000"/>
              <a:defRPr sz="2000" b="0" i="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a:extLst>
              <a:ext uri="{FF2B5EF4-FFF2-40B4-BE49-F238E27FC236}">
                <a16:creationId xmlns:a16="http://schemas.microsoft.com/office/drawing/2014/main" id="{9626153A-BB35-364D-AAAE-F8CEF086FE95}"/>
              </a:ext>
            </a:extLst>
          </p:cNvPr>
          <p:cNvPicPr>
            <a:picLocks noChangeAspect="1"/>
          </p:cNvPicPr>
          <p:nvPr userDrawn="1"/>
        </p:nvPicPr>
        <p:blipFill>
          <a:blip r:embed="rId3"/>
          <a:stretch>
            <a:fillRect/>
          </a:stretch>
        </p:blipFill>
        <p:spPr>
          <a:xfrm>
            <a:off x="10942320" y="54864"/>
            <a:ext cx="1024129" cy="1280160"/>
          </a:xfrm>
          <a:prstGeom prst="rect">
            <a:avLst/>
          </a:prstGeom>
        </p:spPr>
      </p:pic>
      <p:sp>
        <p:nvSpPr>
          <p:cNvPr id="7" name="Rectangle 6">
            <a:extLst>
              <a:ext uri="{FF2B5EF4-FFF2-40B4-BE49-F238E27FC236}">
                <a16:creationId xmlns:a16="http://schemas.microsoft.com/office/drawing/2014/main" id="{ACD4AFB6-B24F-9443-9607-C1CDD2BE6741}"/>
              </a:ext>
            </a:extLst>
          </p:cNvPr>
          <p:cNvSpPr/>
          <p:nvPr userDrawn="1"/>
        </p:nvSpPr>
        <p:spPr>
          <a:xfrm>
            <a:off x="0" y="2423160"/>
            <a:ext cx="6876288" cy="107899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31520" tIns="182880" rIns="182880" bIns="182880" rtlCol="0" anchor="t"/>
          <a:lstStyle/>
          <a:p>
            <a:pPr algn="l"/>
            <a:r>
              <a:rPr lang="en-US" sz="2000" b="0" i="0" dirty="0">
                <a:solidFill>
                  <a:schemeClr val="tx1"/>
                </a:solidFill>
                <a:latin typeface="Arial" panose="020B0604020202020204" pitchFamily="34" charset="0"/>
                <a:cs typeface="Arial" panose="020B0604020202020204" pitchFamily="34" charset="0"/>
              </a:rPr>
              <a:t>Master text</a:t>
            </a:r>
          </a:p>
        </p:txBody>
      </p:sp>
      <p:sp>
        <p:nvSpPr>
          <p:cNvPr id="10" name="Picture Placeholder 9">
            <a:extLst>
              <a:ext uri="{FF2B5EF4-FFF2-40B4-BE49-F238E27FC236}">
                <a16:creationId xmlns:a16="http://schemas.microsoft.com/office/drawing/2014/main" id="{01045617-583E-0444-9005-59B1F39BF3AA}"/>
              </a:ext>
            </a:extLst>
          </p:cNvPr>
          <p:cNvSpPr>
            <a:spLocks noGrp="1"/>
          </p:cNvSpPr>
          <p:nvPr>
            <p:ph type="pic" sz="quarter" idx="11"/>
          </p:nvPr>
        </p:nvSpPr>
        <p:spPr>
          <a:xfrm>
            <a:off x="6884988" y="2422525"/>
            <a:ext cx="5307012" cy="4435475"/>
          </a:xfrm>
          <a:prstGeom prst="rect">
            <a:avLst/>
          </a:prstGeom>
        </p:spPr>
        <p:txBody>
          <a:bodyPr/>
          <a:lstStyle/>
          <a:p>
            <a:r>
              <a:rPr lang="en-US"/>
              <a:t>Click icon to add picture</a:t>
            </a:r>
          </a:p>
        </p:txBody>
      </p:sp>
      <p:sp>
        <p:nvSpPr>
          <p:cNvPr id="11" name="TextBox 10">
            <a:extLst>
              <a:ext uri="{FF2B5EF4-FFF2-40B4-BE49-F238E27FC236}">
                <a16:creationId xmlns:a16="http://schemas.microsoft.com/office/drawing/2014/main" id="{FFEDA725-0686-8D40-A57A-67430103B2F0}"/>
              </a:ext>
            </a:extLst>
          </p:cNvPr>
          <p:cNvSpPr txBox="1"/>
          <p:nvPr userDrawn="1"/>
        </p:nvSpPr>
        <p:spPr>
          <a:xfrm>
            <a:off x="11311128" y="6108192"/>
            <a:ext cx="521208" cy="276999"/>
          </a:xfrm>
          <a:prstGeom prst="rect">
            <a:avLst/>
          </a:prstGeom>
          <a:noFill/>
        </p:spPr>
        <p:txBody>
          <a:bodyPr wrap="square" rtlCol="0">
            <a:spAutoFit/>
          </a:bodyPr>
          <a:lstStyle/>
          <a:p>
            <a:pPr algn="r"/>
            <a:fld id="{90F21B5F-06DF-1840-B2F7-3636C65A51F9}" type="slidenum">
              <a:rPr lang="en-US" sz="1200" b="0" i="0" smtClean="0">
                <a:solidFill>
                  <a:schemeClr val="bg1">
                    <a:lumMod val="65000"/>
                  </a:schemeClr>
                </a:solidFill>
                <a:latin typeface="Montserrat Medium" pitchFamily="2" charset="77"/>
              </a:rPr>
              <a:pPr algn="r"/>
              <a:t>‹#›</a:t>
            </a:fld>
            <a:endParaRPr lang="en-US" sz="1200" b="0" i="0" dirty="0">
              <a:solidFill>
                <a:schemeClr val="bg1">
                  <a:lumMod val="65000"/>
                </a:schemeClr>
              </a:solidFill>
              <a:latin typeface="Montserrat Medium" pitchFamily="2" charset="77"/>
            </a:endParaRPr>
          </a:p>
        </p:txBody>
      </p:sp>
      <p:sp>
        <p:nvSpPr>
          <p:cNvPr id="12" name="Rectangle 11">
            <a:extLst>
              <a:ext uri="{FF2B5EF4-FFF2-40B4-BE49-F238E27FC236}">
                <a16:creationId xmlns:a16="http://schemas.microsoft.com/office/drawing/2014/main" id="{19390071-B18E-E241-8082-DE4EF3E5EAE8}"/>
              </a:ext>
            </a:extLst>
          </p:cNvPr>
          <p:cNvSpPr/>
          <p:nvPr userDrawn="1"/>
        </p:nvSpPr>
        <p:spPr>
          <a:xfrm>
            <a:off x="10157021" y="6374907"/>
            <a:ext cx="1808508" cy="215444"/>
          </a:xfrm>
          <a:prstGeom prst="rect">
            <a:avLst/>
          </a:prstGeom>
        </p:spPr>
        <p:txBody>
          <a:bodyPr wrap="none">
            <a:spAutoFit/>
          </a:bodyPr>
          <a:lstStyle/>
          <a:p>
            <a:r>
              <a:rPr lang="en-US" sz="800" b="0" dirty="0">
                <a:solidFill>
                  <a:schemeClr val="bg1">
                    <a:lumMod val="75000"/>
                  </a:schemeClr>
                </a:solidFill>
                <a:effectLst/>
                <a:latin typeface="Montserrat" pitchFamily="2" charset="77"/>
              </a:rPr>
              <a:t>©2022 ESIG. All rights Reserved.</a:t>
            </a:r>
            <a:endParaRPr lang="en-US" sz="800" b="0" dirty="0">
              <a:solidFill>
                <a:schemeClr val="bg1">
                  <a:lumMod val="75000"/>
                </a:schemeClr>
              </a:solidFill>
              <a:effectLst/>
              <a:latin typeface="Montserrat SemiBold" pitchFamily="2" charset="77"/>
            </a:endParaRPr>
          </a:p>
        </p:txBody>
      </p:sp>
    </p:spTree>
    <p:extLst>
      <p:ext uri="{BB962C8B-B14F-4D97-AF65-F5344CB8AC3E}">
        <p14:creationId xmlns:p14="http://schemas.microsoft.com/office/powerpoint/2010/main" val="91795192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ture blue and text">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2F3D9F3-C1CA-4854-A8A2-A0BF8852262D}"/>
              </a:ext>
            </a:extLst>
          </p:cNvPr>
          <p:cNvGraphicFramePr>
            <a:graphicFrameLocks noChangeAspect="1"/>
          </p:cNvGraphicFramePr>
          <p:nvPr userDrawn="1">
            <p:custDataLst>
              <p:tags r:id="rId1"/>
            </p:custDataLst>
            <p:extLst>
              <p:ext uri="{D42A27DB-BD31-4B8C-83A1-F6EECF244321}">
                <p14:modId xmlns:p14="http://schemas.microsoft.com/office/powerpoint/2010/main" val="1548818959"/>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9" name="Objekt 8" hidden="1">
                        <a:extLst>
                          <a:ext uri="{FF2B5EF4-FFF2-40B4-BE49-F238E27FC236}">
                            <a16:creationId xmlns:a16="http://schemas.microsoft.com/office/drawing/2014/main" id="{02F3D9F3-C1CA-4854-A8A2-A0BF8852262D}"/>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10" name="Bildplatzhalter 8">
            <a:extLst>
              <a:ext uri="{FF2B5EF4-FFF2-40B4-BE49-F238E27FC236}">
                <a16:creationId xmlns:a16="http://schemas.microsoft.com/office/drawing/2014/main" id="{ED98B857-1E5E-4742-969F-7286FA1B205A}"/>
              </a:ext>
            </a:extLst>
          </p:cNvPr>
          <p:cNvSpPr>
            <a:spLocks noGrp="1"/>
          </p:cNvSpPr>
          <p:nvPr>
            <p:ph type="pic" sz="quarter" idx="16" hasCustomPrompt="1"/>
          </p:nvPr>
        </p:nvSpPr>
        <p:spPr>
          <a:xfrm>
            <a:off x="0" y="1"/>
            <a:ext cx="12192000" cy="5734052"/>
          </a:xfrm>
          <a:solidFill>
            <a:srgbClr val="C7D6F1"/>
          </a:solidFill>
        </p:spPr>
        <p:txBody>
          <a:bodyPr/>
          <a:lstStyle>
            <a:lvl1pPr marL="0" indent="0">
              <a:spcBef>
                <a:spcPts val="0"/>
              </a:spcBef>
              <a:buNone/>
              <a:defRPr/>
            </a:lvl1pPr>
          </a:lstStyle>
          <a:p>
            <a:r>
              <a:rPr lang="en-US" noProof="0" dirty="0"/>
              <a:t>Drag image or video to the spacer</a:t>
            </a:r>
            <a:br>
              <a:rPr lang="en-US" noProof="0" dirty="0"/>
            </a:br>
            <a:r>
              <a:rPr lang="en-US" noProof="0" dirty="0"/>
              <a:t>or add by clicking on the corresponding icon</a:t>
            </a:r>
          </a:p>
        </p:txBody>
      </p:sp>
      <p:sp>
        <p:nvSpPr>
          <p:cNvPr id="6" name="Foliennummernplatzhalter 5"/>
          <p:cNvSpPr>
            <a:spLocks noGrp="1"/>
          </p:cNvSpPr>
          <p:nvPr>
            <p:ph type="sldNum" sz="quarter" idx="12"/>
          </p:nvPr>
        </p:nvSpPr>
        <p:spPr bwMode="gray"/>
        <p:txBody>
          <a:bodyPr/>
          <a:lstStyle/>
          <a:p>
            <a:fld id="{2AA1E7D3-1333-45EE-ABB9-51527D316BA3}" type="slidenum">
              <a:rPr lang="en-US" noProof="0" smtClean="0"/>
              <a:pPr/>
              <a:t>‹#›</a:t>
            </a:fld>
            <a:endParaRPr lang="en-US" noProof="0" dirty="0"/>
          </a:p>
        </p:txBody>
      </p:sp>
      <p:sp>
        <p:nvSpPr>
          <p:cNvPr id="14" name="Datumsplatzhalter 3">
            <a:extLst>
              <a:ext uri="{FF2B5EF4-FFF2-40B4-BE49-F238E27FC236}">
                <a16:creationId xmlns:a16="http://schemas.microsoft.com/office/drawing/2014/main" id="{A9BBF564-94B2-49DD-95D1-E0111E433EA0}"/>
              </a:ext>
            </a:extLst>
          </p:cNvPr>
          <p:cNvSpPr>
            <a:spLocks noGrp="1"/>
          </p:cNvSpPr>
          <p:nvPr>
            <p:ph type="dt" sz="half" idx="10"/>
          </p:nvPr>
        </p:nvSpPr>
        <p:spPr bwMode="gray">
          <a:xfrm>
            <a:off x="384000" y="6497381"/>
            <a:ext cx="1200000" cy="184665"/>
          </a:xfrm>
        </p:spPr>
        <p:txBody>
          <a:bodyPr/>
          <a:lstStyle/>
          <a:p>
            <a:fld id="{07021DFF-AA86-49DF-BD64-B6CAA8C6064C}" type="datetime1">
              <a:rPr lang="en-US" noProof="0" smtClean="0"/>
              <a:t>6/19/2025</a:t>
            </a:fld>
            <a:endParaRPr lang="en-US" noProof="0" dirty="0"/>
          </a:p>
        </p:txBody>
      </p:sp>
      <p:sp>
        <p:nvSpPr>
          <p:cNvPr id="15" name="Fußzeilenplatzhalter 4">
            <a:extLst>
              <a:ext uri="{FF2B5EF4-FFF2-40B4-BE49-F238E27FC236}">
                <a16:creationId xmlns:a16="http://schemas.microsoft.com/office/drawing/2014/main" id="{90E98140-DD72-448F-AB69-1CECF178E2ED}"/>
              </a:ext>
            </a:extLst>
          </p:cNvPr>
          <p:cNvSpPr>
            <a:spLocks noGrp="1"/>
          </p:cNvSpPr>
          <p:nvPr>
            <p:ph type="ftr" sz="quarter" idx="11"/>
          </p:nvPr>
        </p:nvSpPr>
        <p:spPr bwMode="gray">
          <a:xfrm>
            <a:off x="1788160" y="6497381"/>
            <a:ext cx="3860800" cy="184665"/>
          </a:xfrm>
        </p:spPr>
        <p:txBody>
          <a:bodyPr/>
          <a:lstStyle/>
          <a:p>
            <a:r>
              <a:rPr lang="en-US" noProof="0" dirty="0"/>
              <a:t>© Forum Network Technology/Network Operation in the VDE</a:t>
            </a:r>
          </a:p>
        </p:txBody>
      </p:sp>
      <p:sp>
        <p:nvSpPr>
          <p:cNvPr id="8" name="Textplatzhalter 7">
            <a:extLst>
              <a:ext uri="{FF2B5EF4-FFF2-40B4-BE49-F238E27FC236}">
                <a16:creationId xmlns:a16="http://schemas.microsoft.com/office/drawing/2014/main" id="{4B13985E-B2DE-4D58-9104-A31F015AABEA}"/>
              </a:ext>
            </a:extLst>
          </p:cNvPr>
          <p:cNvSpPr>
            <a:spLocks noGrp="1"/>
          </p:cNvSpPr>
          <p:nvPr>
            <p:ph type="body" sz="quarter" idx="15" hasCustomPrompt="1"/>
          </p:nvPr>
        </p:nvSpPr>
        <p:spPr>
          <a:xfrm>
            <a:off x="0" y="1"/>
            <a:ext cx="12192000" cy="5734052"/>
          </a:xfrm>
          <a:gradFill>
            <a:gsLst>
              <a:gs pos="47000">
                <a:srgbClr val="0064B4">
                  <a:alpha val="80000"/>
                </a:srgbClr>
              </a:gs>
              <a:gs pos="0">
                <a:schemeClr val="accent1">
                  <a:alpha val="50000"/>
                </a:schemeClr>
              </a:gs>
              <a:gs pos="100000">
                <a:schemeClr val="accent1"/>
              </a:gs>
            </a:gsLst>
            <a:lin ang="0" scaled="1"/>
          </a:gradFill>
          <a:ln w="9525" algn="ctr">
            <a:noFill/>
            <a:miter lim="800000"/>
            <a:headEnd/>
            <a:tailEnd/>
          </a:ln>
          <a:effectLst/>
        </p:spPr>
        <p:txBody>
          <a:bodyPr lIns="144000" tIns="36000" rIns="144000" bIns="36000" rtlCol="0" anchor="t"/>
          <a:lstStyle>
            <a:lvl1pPr marL="0" indent="0" algn="l">
              <a:buNone/>
              <a:defRPr lang="de-DE" sz="133" b="1" kern="0" dirty="0" smtClean="0">
                <a:solidFill>
                  <a:schemeClr val="bg1"/>
                </a:solidFill>
              </a:defRPr>
            </a:lvl1pPr>
            <a:lvl2pPr>
              <a:defRPr lang="de-DE" sz="2400" dirty="0" smtClean="0"/>
            </a:lvl2pPr>
            <a:lvl3pPr>
              <a:defRPr lang="de-DE" sz="2400" dirty="0" smtClean="0"/>
            </a:lvl3pPr>
            <a:lvl4pPr>
              <a:defRPr lang="de-DE" sz="2400" dirty="0" smtClean="0"/>
            </a:lvl4pPr>
            <a:lvl5pPr>
              <a:defRPr lang="de-DE" sz="2400" dirty="0"/>
            </a:lvl5pPr>
          </a:lstStyle>
          <a:p>
            <a:pPr marL="0" lvl="0" algn="ctr"/>
            <a:r>
              <a:rPr lang="en-US" dirty="0"/>
              <a:t> </a:t>
            </a:r>
          </a:p>
        </p:txBody>
      </p:sp>
      <p:sp>
        <p:nvSpPr>
          <p:cNvPr id="4" name="Titel 3">
            <a:extLst>
              <a:ext uri="{FF2B5EF4-FFF2-40B4-BE49-F238E27FC236}">
                <a16:creationId xmlns:a16="http://schemas.microsoft.com/office/drawing/2014/main" id="{D6DFD17D-1332-466A-B9E4-58194A7F3FAC}"/>
              </a:ext>
            </a:extLst>
          </p:cNvPr>
          <p:cNvSpPr>
            <a:spLocks noGrp="1"/>
          </p:cNvSpPr>
          <p:nvPr>
            <p:ph type="title" hasCustomPrompt="1"/>
          </p:nvPr>
        </p:nvSpPr>
        <p:spPr/>
        <p:txBody>
          <a:bodyPr vert="horz"/>
          <a:lstStyle>
            <a:lvl1pPr>
              <a:defRPr>
                <a:solidFill>
                  <a:schemeClr val="bg1"/>
                </a:solidFill>
              </a:defRPr>
            </a:lvl1pPr>
          </a:lstStyle>
          <a:p>
            <a:r>
              <a:rPr lang="en-US" dirty="0"/>
              <a:t>Click to add title</a:t>
            </a:r>
          </a:p>
        </p:txBody>
      </p:sp>
    </p:spTree>
    <p:extLst>
      <p:ext uri="{BB962C8B-B14F-4D97-AF65-F5344CB8AC3E}">
        <p14:creationId xmlns:p14="http://schemas.microsoft.com/office/powerpoint/2010/main" val="1874204457"/>
      </p:ext>
    </p:extLst>
  </p:cSld>
  <p:clrMapOvr>
    <a:masterClrMapping/>
  </p:clrMapOvr>
  <p:extLst>
    <p:ext uri="{DCECCB84-F9BA-43D5-87BE-67443E8EF086}">
      <p15:sldGuideLst xmlns:p15="http://schemas.microsoft.com/office/powerpoint/2012/main">
        <p15:guide id="1" pos="1859">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rue blue and keymessage">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2F3D9F3-C1CA-4854-A8A2-A0BF8852262D}"/>
              </a:ext>
            </a:extLst>
          </p:cNvPr>
          <p:cNvGraphicFramePr>
            <a:graphicFrameLocks noChangeAspect="1"/>
          </p:cNvGraphicFramePr>
          <p:nvPr userDrawn="1">
            <p:custDataLst>
              <p:tags r:id="rId1"/>
            </p:custDataLst>
            <p:extLst>
              <p:ext uri="{D42A27DB-BD31-4B8C-83A1-F6EECF244321}">
                <p14:modId xmlns:p14="http://schemas.microsoft.com/office/powerpoint/2010/main" val="4166606739"/>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9" name="Objekt 8" hidden="1">
                        <a:extLst>
                          <a:ext uri="{FF2B5EF4-FFF2-40B4-BE49-F238E27FC236}">
                            <a16:creationId xmlns:a16="http://schemas.microsoft.com/office/drawing/2014/main" id="{02F3D9F3-C1CA-4854-A8A2-A0BF8852262D}"/>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11" name="Bildplatzhalter 8">
            <a:extLst>
              <a:ext uri="{FF2B5EF4-FFF2-40B4-BE49-F238E27FC236}">
                <a16:creationId xmlns:a16="http://schemas.microsoft.com/office/drawing/2014/main" id="{73EC7D3F-04AB-4C45-8799-DBC580BB86A1}"/>
              </a:ext>
            </a:extLst>
          </p:cNvPr>
          <p:cNvSpPr>
            <a:spLocks noGrp="1"/>
          </p:cNvSpPr>
          <p:nvPr>
            <p:ph type="pic" sz="quarter" idx="16" hasCustomPrompt="1"/>
          </p:nvPr>
        </p:nvSpPr>
        <p:spPr>
          <a:xfrm>
            <a:off x="0" y="1"/>
            <a:ext cx="12192000" cy="5734052"/>
          </a:xfrm>
          <a:solidFill>
            <a:srgbClr val="C7D6F1"/>
          </a:solidFill>
        </p:spPr>
        <p:txBody>
          <a:bodyPr/>
          <a:lstStyle>
            <a:lvl1pPr marL="0" indent="0">
              <a:spcBef>
                <a:spcPts val="0"/>
              </a:spcBef>
              <a:buNone/>
              <a:defRPr/>
            </a:lvl1pPr>
          </a:lstStyle>
          <a:p>
            <a:r>
              <a:rPr lang="en-US" noProof="0" dirty="0"/>
              <a:t>Drag image or video to the spacer</a:t>
            </a:r>
            <a:br>
              <a:rPr lang="en-US" noProof="0" dirty="0"/>
            </a:br>
            <a:r>
              <a:rPr lang="en-US" noProof="0" dirty="0"/>
              <a:t>or add by clicking on the corresponding icon</a:t>
            </a:r>
          </a:p>
        </p:txBody>
      </p:sp>
      <p:sp>
        <p:nvSpPr>
          <p:cNvPr id="6" name="Foliennummernplatzhalter 5"/>
          <p:cNvSpPr>
            <a:spLocks noGrp="1"/>
          </p:cNvSpPr>
          <p:nvPr>
            <p:ph type="sldNum" sz="quarter" idx="12"/>
          </p:nvPr>
        </p:nvSpPr>
        <p:spPr bwMode="gray"/>
        <p:txBody>
          <a:bodyPr/>
          <a:lstStyle/>
          <a:p>
            <a:fld id="{2AA1E7D3-1333-45EE-ABB9-51527D316BA3}" type="slidenum">
              <a:rPr lang="en-US" noProof="0" smtClean="0"/>
              <a:pPr/>
              <a:t>‹#›</a:t>
            </a:fld>
            <a:endParaRPr lang="en-US" noProof="0" dirty="0"/>
          </a:p>
        </p:txBody>
      </p:sp>
      <p:sp>
        <p:nvSpPr>
          <p:cNvPr id="14" name="Datumsplatzhalter 3">
            <a:extLst>
              <a:ext uri="{FF2B5EF4-FFF2-40B4-BE49-F238E27FC236}">
                <a16:creationId xmlns:a16="http://schemas.microsoft.com/office/drawing/2014/main" id="{A9BBF564-94B2-49DD-95D1-E0111E433EA0}"/>
              </a:ext>
            </a:extLst>
          </p:cNvPr>
          <p:cNvSpPr>
            <a:spLocks noGrp="1"/>
          </p:cNvSpPr>
          <p:nvPr>
            <p:ph type="dt" sz="half" idx="10"/>
          </p:nvPr>
        </p:nvSpPr>
        <p:spPr bwMode="gray">
          <a:xfrm>
            <a:off x="384000" y="6497381"/>
            <a:ext cx="1200000" cy="184665"/>
          </a:xfrm>
        </p:spPr>
        <p:txBody>
          <a:bodyPr/>
          <a:lstStyle/>
          <a:p>
            <a:fld id="{6C87C71F-9B2F-4E8F-A8E2-82491B61D588}" type="datetime1">
              <a:rPr lang="en-US" noProof="0" smtClean="0"/>
              <a:t>6/19/2025</a:t>
            </a:fld>
            <a:endParaRPr lang="en-US" noProof="0" dirty="0"/>
          </a:p>
        </p:txBody>
      </p:sp>
      <p:sp>
        <p:nvSpPr>
          <p:cNvPr id="15" name="Fußzeilenplatzhalter 4">
            <a:extLst>
              <a:ext uri="{FF2B5EF4-FFF2-40B4-BE49-F238E27FC236}">
                <a16:creationId xmlns:a16="http://schemas.microsoft.com/office/drawing/2014/main" id="{90E98140-DD72-448F-AB69-1CECF178E2ED}"/>
              </a:ext>
            </a:extLst>
          </p:cNvPr>
          <p:cNvSpPr>
            <a:spLocks noGrp="1"/>
          </p:cNvSpPr>
          <p:nvPr>
            <p:ph type="ftr" sz="quarter" idx="11"/>
          </p:nvPr>
        </p:nvSpPr>
        <p:spPr bwMode="gray">
          <a:xfrm>
            <a:off x="1788160" y="6497381"/>
            <a:ext cx="3860800" cy="184665"/>
          </a:xfrm>
        </p:spPr>
        <p:txBody>
          <a:bodyPr/>
          <a:lstStyle/>
          <a:p>
            <a:r>
              <a:rPr lang="en-US" noProof="0" dirty="0"/>
              <a:t>© Forum Network Technology/Network Operation in the VDE</a:t>
            </a:r>
          </a:p>
        </p:txBody>
      </p:sp>
      <p:sp>
        <p:nvSpPr>
          <p:cNvPr id="8" name="Textplatzhalter 7">
            <a:extLst>
              <a:ext uri="{FF2B5EF4-FFF2-40B4-BE49-F238E27FC236}">
                <a16:creationId xmlns:a16="http://schemas.microsoft.com/office/drawing/2014/main" id="{4B13985E-B2DE-4D58-9104-A31F015AABEA}"/>
              </a:ext>
            </a:extLst>
          </p:cNvPr>
          <p:cNvSpPr>
            <a:spLocks noGrp="1"/>
          </p:cNvSpPr>
          <p:nvPr>
            <p:ph type="body" sz="quarter" idx="15" hasCustomPrompt="1"/>
          </p:nvPr>
        </p:nvSpPr>
        <p:spPr>
          <a:xfrm>
            <a:off x="0" y="1"/>
            <a:ext cx="12192000" cy="5734052"/>
          </a:xfrm>
          <a:gradFill>
            <a:gsLst>
              <a:gs pos="47000">
                <a:srgbClr val="0064B4">
                  <a:alpha val="80000"/>
                </a:srgbClr>
              </a:gs>
              <a:gs pos="0">
                <a:schemeClr val="accent1">
                  <a:alpha val="50000"/>
                </a:schemeClr>
              </a:gs>
              <a:gs pos="100000">
                <a:schemeClr val="accent1"/>
              </a:gs>
            </a:gsLst>
            <a:lin ang="0" scaled="1"/>
          </a:gradFill>
          <a:ln w="9525" algn="ctr">
            <a:noFill/>
            <a:miter lim="800000"/>
            <a:headEnd/>
            <a:tailEnd/>
          </a:ln>
          <a:effectLst/>
        </p:spPr>
        <p:txBody>
          <a:bodyPr lIns="144000" tIns="36000" rIns="144000" bIns="36000" rtlCol="0" anchor="t"/>
          <a:lstStyle>
            <a:lvl1pPr marL="0" indent="0" algn="l">
              <a:buNone/>
              <a:defRPr lang="de-DE" sz="133" b="1" kern="0" dirty="0" smtClean="0">
                <a:solidFill>
                  <a:schemeClr val="bg1"/>
                </a:solidFill>
              </a:defRPr>
            </a:lvl1pPr>
            <a:lvl2pPr>
              <a:defRPr lang="de-DE" sz="2400" dirty="0" smtClean="0"/>
            </a:lvl2pPr>
            <a:lvl3pPr>
              <a:defRPr lang="de-DE" sz="2400" dirty="0" smtClean="0"/>
            </a:lvl3pPr>
            <a:lvl4pPr>
              <a:defRPr lang="de-DE" sz="2400" dirty="0" smtClean="0"/>
            </a:lvl4pPr>
            <a:lvl5pPr>
              <a:defRPr lang="de-DE" sz="2400" dirty="0"/>
            </a:lvl5pPr>
          </a:lstStyle>
          <a:p>
            <a:pPr marL="0" lvl="0" algn="ctr"/>
            <a:r>
              <a:rPr lang="en-US" dirty="0"/>
              <a:t> </a:t>
            </a:r>
          </a:p>
        </p:txBody>
      </p:sp>
      <p:sp>
        <p:nvSpPr>
          <p:cNvPr id="4" name="Titel 3">
            <a:extLst>
              <a:ext uri="{FF2B5EF4-FFF2-40B4-BE49-F238E27FC236}">
                <a16:creationId xmlns:a16="http://schemas.microsoft.com/office/drawing/2014/main" id="{D6DFD17D-1332-466A-B9E4-58194A7F3FAC}"/>
              </a:ext>
            </a:extLst>
          </p:cNvPr>
          <p:cNvSpPr>
            <a:spLocks noGrp="1"/>
          </p:cNvSpPr>
          <p:nvPr>
            <p:ph type="title" hasCustomPrompt="1"/>
          </p:nvPr>
        </p:nvSpPr>
        <p:spPr>
          <a:xfrm>
            <a:off x="1343651" y="4211864"/>
            <a:ext cx="10080000" cy="820737"/>
          </a:xfrm>
        </p:spPr>
        <p:txBody>
          <a:bodyPr vert="horz" anchor="b">
            <a:spAutoFit/>
          </a:bodyPr>
          <a:lstStyle>
            <a:lvl1pPr algn="r">
              <a:defRPr sz="5333">
                <a:solidFill>
                  <a:schemeClr val="bg1"/>
                </a:solidFill>
              </a:defRPr>
            </a:lvl1pPr>
          </a:lstStyle>
          <a:p>
            <a:r>
              <a:rPr lang="en-US" dirty="0"/>
              <a:t>Click to add title</a:t>
            </a:r>
          </a:p>
        </p:txBody>
      </p:sp>
    </p:spTree>
    <p:extLst>
      <p:ext uri="{BB962C8B-B14F-4D97-AF65-F5344CB8AC3E}">
        <p14:creationId xmlns:p14="http://schemas.microsoft.com/office/powerpoint/2010/main" val="2864258182"/>
      </p:ext>
    </p:extLst>
  </p:cSld>
  <p:clrMapOvr>
    <a:masterClrMapping/>
  </p:clrMapOvr>
  <p:extLst>
    <p:ext uri="{DCECCB84-F9BA-43D5-87BE-67443E8EF086}">
      <p15:sldGuideLst xmlns:p15="http://schemas.microsoft.com/office/powerpoint/2012/main">
        <p15:guide id="1" pos="1859">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top and text">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2F3D9F3-C1CA-4854-A8A2-A0BF8852262D}"/>
              </a:ext>
            </a:extLst>
          </p:cNvPr>
          <p:cNvGraphicFramePr>
            <a:graphicFrameLocks noChangeAspect="1"/>
          </p:cNvGraphicFramePr>
          <p:nvPr userDrawn="1">
            <p:custDataLst>
              <p:tags r:id="rId1"/>
            </p:custDataLst>
            <p:extLst>
              <p:ext uri="{D42A27DB-BD31-4B8C-83A1-F6EECF244321}">
                <p14:modId xmlns:p14="http://schemas.microsoft.com/office/powerpoint/2010/main" val="316568387"/>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9" name="Objekt 8" hidden="1">
                        <a:extLst>
                          <a:ext uri="{FF2B5EF4-FFF2-40B4-BE49-F238E27FC236}">
                            <a16:creationId xmlns:a16="http://schemas.microsoft.com/office/drawing/2014/main" id="{02F3D9F3-C1CA-4854-A8A2-A0BF8852262D}"/>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10" name="Bildplatzhalter 8">
            <a:extLst>
              <a:ext uri="{FF2B5EF4-FFF2-40B4-BE49-F238E27FC236}">
                <a16:creationId xmlns:a16="http://schemas.microsoft.com/office/drawing/2014/main" id="{EA2AB5EC-B611-4CD1-9C08-01BF3F841219}"/>
              </a:ext>
            </a:extLst>
          </p:cNvPr>
          <p:cNvSpPr>
            <a:spLocks noGrp="1"/>
          </p:cNvSpPr>
          <p:nvPr>
            <p:ph type="pic" sz="quarter" idx="17" hasCustomPrompt="1"/>
          </p:nvPr>
        </p:nvSpPr>
        <p:spPr>
          <a:xfrm>
            <a:off x="0" y="1"/>
            <a:ext cx="12192000" cy="2967419"/>
          </a:xfrm>
          <a:solidFill>
            <a:srgbClr val="C7D6F1"/>
          </a:solidFill>
        </p:spPr>
        <p:txBody>
          <a:bodyPr/>
          <a:lstStyle>
            <a:lvl1pPr marL="0" indent="0">
              <a:spcBef>
                <a:spcPts val="0"/>
              </a:spcBef>
              <a:buNone/>
              <a:defRPr/>
            </a:lvl1pPr>
          </a:lstStyle>
          <a:p>
            <a:r>
              <a:rPr lang="en-US" noProof="0" dirty="0"/>
              <a:t>Drag image or video to the spacer</a:t>
            </a:r>
            <a:br>
              <a:rPr lang="en-US" noProof="0" dirty="0"/>
            </a:br>
            <a:r>
              <a:rPr lang="en-US" noProof="0" dirty="0"/>
              <a:t>or add by clicking on the corresponding icon</a:t>
            </a:r>
          </a:p>
        </p:txBody>
      </p:sp>
      <p:sp>
        <p:nvSpPr>
          <p:cNvPr id="6" name="Foliennummernplatzhalter 5"/>
          <p:cNvSpPr>
            <a:spLocks noGrp="1"/>
          </p:cNvSpPr>
          <p:nvPr>
            <p:ph type="sldNum" sz="quarter" idx="12"/>
          </p:nvPr>
        </p:nvSpPr>
        <p:spPr bwMode="gray"/>
        <p:txBody>
          <a:bodyPr/>
          <a:lstStyle/>
          <a:p>
            <a:fld id="{2AA1E7D3-1333-45EE-ABB9-51527D316BA3}" type="slidenum">
              <a:rPr lang="en-US" noProof="0" smtClean="0"/>
              <a:pPr/>
              <a:t>‹#›</a:t>
            </a:fld>
            <a:endParaRPr lang="en-US" noProof="0" dirty="0"/>
          </a:p>
        </p:txBody>
      </p:sp>
      <p:sp>
        <p:nvSpPr>
          <p:cNvPr id="14" name="Datumsplatzhalter 3">
            <a:extLst>
              <a:ext uri="{FF2B5EF4-FFF2-40B4-BE49-F238E27FC236}">
                <a16:creationId xmlns:a16="http://schemas.microsoft.com/office/drawing/2014/main" id="{A9BBF564-94B2-49DD-95D1-E0111E433EA0}"/>
              </a:ext>
            </a:extLst>
          </p:cNvPr>
          <p:cNvSpPr>
            <a:spLocks noGrp="1"/>
          </p:cNvSpPr>
          <p:nvPr>
            <p:ph type="dt" sz="half" idx="10"/>
          </p:nvPr>
        </p:nvSpPr>
        <p:spPr bwMode="gray">
          <a:xfrm>
            <a:off x="384000" y="6497381"/>
            <a:ext cx="1200000" cy="184665"/>
          </a:xfrm>
        </p:spPr>
        <p:txBody>
          <a:bodyPr/>
          <a:lstStyle/>
          <a:p>
            <a:fld id="{267F77B8-9DD7-48D5-A281-C2201313E39E}" type="datetime1">
              <a:rPr lang="en-US" noProof="0" smtClean="0"/>
              <a:t>6/19/2025</a:t>
            </a:fld>
            <a:endParaRPr lang="en-US" noProof="0" dirty="0"/>
          </a:p>
        </p:txBody>
      </p:sp>
      <p:sp>
        <p:nvSpPr>
          <p:cNvPr id="15" name="Fußzeilenplatzhalter 4">
            <a:extLst>
              <a:ext uri="{FF2B5EF4-FFF2-40B4-BE49-F238E27FC236}">
                <a16:creationId xmlns:a16="http://schemas.microsoft.com/office/drawing/2014/main" id="{90E98140-DD72-448F-AB69-1CECF178E2ED}"/>
              </a:ext>
            </a:extLst>
          </p:cNvPr>
          <p:cNvSpPr>
            <a:spLocks noGrp="1"/>
          </p:cNvSpPr>
          <p:nvPr>
            <p:ph type="ftr" sz="quarter" idx="11"/>
          </p:nvPr>
        </p:nvSpPr>
        <p:spPr bwMode="gray">
          <a:xfrm>
            <a:off x="1788160" y="6497381"/>
            <a:ext cx="3860800" cy="184665"/>
          </a:xfrm>
        </p:spPr>
        <p:txBody>
          <a:bodyPr/>
          <a:lstStyle/>
          <a:p>
            <a:r>
              <a:rPr lang="en-US" noProof="0" dirty="0"/>
              <a:t>© Forum Network Technology/Network Operation in the VDE</a:t>
            </a:r>
          </a:p>
        </p:txBody>
      </p:sp>
      <p:sp>
        <p:nvSpPr>
          <p:cNvPr id="8" name="Textplatzhalter 7">
            <a:extLst>
              <a:ext uri="{FF2B5EF4-FFF2-40B4-BE49-F238E27FC236}">
                <a16:creationId xmlns:a16="http://schemas.microsoft.com/office/drawing/2014/main" id="{4B13985E-B2DE-4D58-9104-A31F015AABEA}"/>
              </a:ext>
            </a:extLst>
          </p:cNvPr>
          <p:cNvSpPr>
            <a:spLocks noGrp="1"/>
          </p:cNvSpPr>
          <p:nvPr>
            <p:ph type="body" sz="quarter" idx="15" hasCustomPrompt="1"/>
          </p:nvPr>
        </p:nvSpPr>
        <p:spPr>
          <a:xfrm>
            <a:off x="0" y="1"/>
            <a:ext cx="12192000" cy="2967419"/>
          </a:xfrm>
          <a:gradFill>
            <a:gsLst>
              <a:gs pos="47000">
                <a:srgbClr val="0064B4">
                  <a:alpha val="80000"/>
                </a:srgbClr>
              </a:gs>
              <a:gs pos="0">
                <a:schemeClr val="accent1">
                  <a:alpha val="50000"/>
                </a:schemeClr>
              </a:gs>
              <a:gs pos="100000">
                <a:schemeClr val="accent1"/>
              </a:gs>
            </a:gsLst>
            <a:lin ang="0" scaled="1"/>
          </a:gradFill>
          <a:ln w="9525" algn="ctr">
            <a:noFill/>
            <a:miter lim="800000"/>
            <a:headEnd/>
            <a:tailEnd/>
          </a:ln>
          <a:effectLst/>
        </p:spPr>
        <p:txBody>
          <a:bodyPr lIns="144000" tIns="36000" rIns="144000" bIns="36000" rtlCol="0" anchor="t"/>
          <a:lstStyle>
            <a:lvl1pPr marL="0" indent="0" algn="l">
              <a:buNone/>
              <a:defRPr lang="de-DE" sz="133" b="1" kern="0" dirty="0" smtClean="0">
                <a:solidFill>
                  <a:schemeClr val="bg1"/>
                </a:solidFill>
              </a:defRPr>
            </a:lvl1pPr>
            <a:lvl2pPr>
              <a:defRPr lang="de-DE" sz="2400" dirty="0" smtClean="0"/>
            </a:lvl2pPr>
            <a:lvl3pPr>
              <a:defRPr lang="de-DE" sz="2400" dirty="0" smtClean="0"/>
            </a:lvl3pPr>
            <a:lvl4pPr>
              <a:defRPr lang="de-DE" sz="2400" dirty="0" smtClean="0"/>
            </a:lvl4pPr>
            <a:lvl5pPr>
              <a:defRPr lang="de-DE" sz="2400" dirty="0"/>
            </a:lvl5pPr>
          </a:lstStyle>
          <a:p>
            <a:pPr marL="0" lvl="0" algn="ctr"/>
            <a:r>
              <a:rPr lang="en-US" dirty="0"/>
              <a:t> </a:t>
            </a:r>
          </a:p>
        </p:txBody>
      </p:sp>
      <p:sp>
        <p:nvSpPr>
          <p:cNvPr id="4" name="Titel 3">
            <a:extLst>
              <a:ext uri="{FF2B5EF4-FFF2-40B4-BE49-F238E27FC236}">
                <a16:creationId xmlns:a16="http://schemas.microsoft.com/office/drawing/2014/main" id="{D6DFD17D-1332-466A-B9E4-58194A7F3FAC}"/>
              </a:ext>
            </a:extLst>
          </p:cNvPr>
          <p:cNvSpPr>
            <a:spLocks noGrp="1"/>
          </p:cNvSpPr>
          <p:nvPr>
            <p:ph type="title" hasCustomPrompt="1"/>
          </p:nvPr>
        </p:nvSpPr>
        <p:spPr/>
        <p:txBody>
          <a:bodyPr vert="horz"/>
          <a:lstStyle>
            <a:lvl1pPr>
              <a:defRPr>
                <a:solidFill>
                  <a:schemeClr val="bg1"/>
                </a:solidFill>
              </a:defRPr>
            </a:lvl1pPr>
          </a:lstStyle>
          <a:p>
            <a:r>
              <a:rPr lang="en-US" dirty="0"/>
              <a:t>Click to add title</a:t>
            </a:r>
          </a:p>
        </p:txBody>
      </p:sp>
      <p:sp>
        <p:nvSpPr>
          <p:cNvPr id="3" name="Textplatzhalter 2">
            <a:extLst>
              <a:ext uri="{FF2B5EF4-FFF2-40B4-BE49-F238E27FC236}">
                <a16:creationId xmlns:a16="http://schemas.microsoft.com/office/drawing/2014/main" id="{C48A4473-C13D-4134-B20C-4546BF7CBA7D}"/>
              </a:ext>
            </a:extLst>
          </p:cNvPr>
          <p:cNvSpPr>
            <a:spLocks noGrp="1"/>
          </p:cNvSpPr>
          <p:nvPr>
            <p:ph type="body" sz="quarter" idx="18" hasCustomPrompt="1"/>
          </p:nvPr>
        </p:nvSpPr>
        <p:spPr>
          <a:xfrm>
            <a:off x="768001" y="3223648"/>
            <a:ext cx="10656000" cy="251040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a:p>
            <a:pPr lvl="4"/>
            <a:endParaRPr lang="en-US" dirty="0"/>
          </a:p>
        </p:txBody>
      </p:sp>
    </p:spTree>
    <p:extLst>
      <p:ext uri="{BB962C8B-B14F-4D97-AF65-F5344CB8AC3E}">
        <p14:creationId xmlns:p14="http://schemas.microsoft.com/office/powerpoint/2010/main" val="2486379607"/>
      </p:ext>
    </p:extLst>
  </p:cSld>
  <p:clrMapOvr>
    <a:masterClrMapping/>
  </p:clrMapOvr>
  <p:extLst>
    <p:ext uri="{DCECCB84-F9BA-43D5-87BE-67443E8EF086}">
      <p15:sldGuideLst xmlns:p15="http://schemas.microsoft.com/office/powerpoint/2012/main">
        <p15:guide id="1" pos="1859">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Grey area left and text">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2F3D9F3-C1CA-4854-A8A2-A0BF8852262D}"/>
              </a:ext>
            </a:extLst>
          </p:cNvPr>
          <p:cNvGraphicFramePr>
            <a:graphicFrameLocks noChangeAspect="1"/>
          </p:cNvGraphicFramePr>
          <p:nvPr userDrawn="1">
            <p:custDataLst>
              <p:tags r:id="rId1"/>
            </p:custDataLst>
            <p:extLst>
              <p:ext uri="{D42A27DB-BD31-4B8C-83A1-F6EECF244321}">
                <p14:modId xmlns:p14="http://schemas.microsoft.com/office/powerpoint/2010/main" val="419610799"/>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9" name="Objekt 8" hidden="1">
                        <a:extLst>
                          <a:ext uri="{FF2B5EF4-FFF2-40B4-BE49-F238E27FC236}">
                            <a16:creationId xmlns:a16="http://schemas.microsoft.com/office/drawing/2014/main" id="{02F3D9F3-C1CA-4854-A8A2-A0BF8852262D}"/>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16" name="Rechteck 15">
            <a:extLst>
              <a:ext uri="{FF2B5EF4-FFF2-40B4-BE49-F238E27FC236}">
                <a16:creationId xmlns:a16="http://schemas.microsoft.com/office/drawing/2014/main" id="{F525243C-7C9A-47A7-8638-7B0CFA70475F}"/>
              </a:ext>
            </a:extLst>
          </p:cNvPr>
          <p:cNvSpPr/>
          <p:nvPr userDrawn="1"/>
        </p:nvSpPr>
        <p:spPr bwMode="gray">
          <a:xfrm>
            <a:off x="0" y="6139452"/>
            <a:ext cx="6524625" cy="328965"/>
          </a:xfrm>
          <a:prstGeom prst="rect">
            <a:avLst/>
          </a:prstGeom>
          <a:solidFill>
            <a:schemeClr val="bg1"/>
          </a:solidFill>
          <a:ln w="9525" algn="ctr">
            <a:noFill/>
            <a:miter lim="800000"/>
            <a:headEnd/>
            <a:tailEnd/>
          </a:ln>
          <a:effectLst/>
        </p:spPr>
        <p:txBody>
          <a:bodyPr lIns="192000" tIns="48000" rIns="192000" bIns="48000" rtlCol="0" anchor="ctr"/>
          <a:lstStyle/>
          <a:p>
            <a:pPr algn="ctr"/>
            <a:endParaRPr lang="en-US" sz="1467" b="1" kern="0" dirty="0">
              <a:solidFill>
                <a:srgbClr val="FFFFFF"/>
              </a:solidFill>
            </a:endParaRPr>
          </a:p>
        </p:txBody>
      </p:sp>
      <p:sp>
        <p:nvSpPr>
          <p:cNvPr id="4" name="Rechteck 3">
            <a:extLst>
              <a:ext uri="{FF2B5EF4-FFF2-40B4-BE49-F238E27FC236}">
                <a16:creationId xmlns:a16="http://schemas.microsoft.com/office/drawing/2014/main" id="{89D64F21-90C8-49F4-AF56-1C71412DC040}"/>
              </a:ext>
            </a:extLst>
          </p:cNvPr>
          <p:cNvSpPr/>
          <p:nvPr userDrawn="1"/>
        </p:nvSpPr>
        <p:spPr bwMode="gray">
          <a:xfrm>
            <a:off x="-14320" y="0"/>
            <a:ext cx="6240000" cy="6858000"/>
          </a:xfrm>
          <a:prstGeom prst="rect">
            <a:avLst/>
          </a:prstGeom>
          <a:solidFill>
            <a:srgbClr val="EAEAEA"/>
          </a:solidFill>
          <a:ln w="9525" algn="ctr">
            <a:noFill/>
            <a:miter lim="800000"/>
            <a:headEnd/>
            <a:tailEnd/>
          </a:ln>
          <a:effectLst/>
        </p:spPr>
        <p:txBody>
          <a:bodyPr lIns="192000" tIns="48000" rIns="192000" bIns="48000" rtlCol="0" anchor="ctr"/>
          <a:lstStyle/>
          <a:p>
            <a:pPr algn="ctr"/>
            <a:endParaRPr lang="en-US" sz="1467" b="1" kern="0" dirty="0">
              <a:solidFill>
                <a:srgbClr val="FFFFFF"/>
              </a:solidFill>
            </a:endParaRPr>
          </a:p>
        </p:txBody>
      </p:sp>
      <p:sp>
        <p:nvSpPr>
          <p:cNvPr id="3" name="Inhaltsplatzhalter 2"/>
          <p:cNvSpPr>
            <a:spLocks noGrp="1"/>
          </p:cNvSpPr>
          <p:nvPr>
            <p:ph idx="1" hasCustomPrompt="1"/>
          </p:nvPr>
        </p:nvSpPr>
        <p:spPr bwMode="gray">
          <a:xfrm>
            <a:off x="768000" y="1460499"/>
            <a:ext cx="5173017" cy="4273551"/>
          </a:xfrm>
          <a:noFill/>
          <a:ln>
            <a:noFill/>
          </a:ln>
        </p:spPr>
        <p:txBody>
          <a:bodyPr lIns="0" tIns="0" rIns="0" bIns="0" anchor="t" anchorCtr="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a:p>
            <a:pPr lvl="4"/>
            <a:endParaRPr lang="en-US" noProof="0" dirty="0"/>
          </a:p>
        </p:txBody>
      </p:sp>
      <p:sp>
        <p:nvSpPr>
          <p:cNvPr id="6" name="Foliennummernplatzhalter 5"/>
          <p:cNvSpPr>
            <a:spLocks noGrp="1"/>
          </p:cNvSpPr>
          <p:nvPr>
            <p:ph type="sldNum" sz="quarter" idx="12"/>
          </p:nvPr>
        </p:nvSpPr>
        <p:spPr bwMode="gray"/>
        <p:txBody>
          <a:bodyPr/>
          <a:lstStyle/>
          <a:p>
            <a:fld id="{2AA1E7D3-1333-45EE-ABB9-51527D316BA3}" type="slidenum">
              <a:rPr lang="en-US" noProof="0" smtClean="0"/>
              <a:pPr/>
              <a:t>‹#›</a:t>
            </a:fld>
            <a:endParaRPr lang="en-US" noProof="0" dirty="0"/>
          </a:p>
        </p:txBody>
      </p:sp>
      <p:sp>
        <p:nvSpPr>
          <p:cNvPr id="10" name="Titel 9">
            <a:extLst>
              <a:ext uri="{FF2B5EF4-FFF2-40B4-BE49-F238E27FC236}">
                <a16:creationId xmlns:a16="http://schemas.microsoft.com/office/drawing/2014/main" id="{A0146ACD-B49C-4033-8ACF-CCE4AA961A35}"/>
              </a:ext>
            </a:extLst>
          </p:cNvPr>
          <p:cNvSpPr>
            <a:spLocks noGrp="1"/>
          </p:cNvSpPr>
          <p:nvPr>
            <p:ph type="title" hasCustomPrompt="1"/>
          </p:nvPr>
        </p:nvSpPr>
        <p:spPr/>
        <p:txBody>
          <a:bodyPr vert="horz"/>
          <a:lstStyle/>
          <a:p>
            <a:r>
              <a:rPr lang="en-US" dirty="0"/>
              <a:t>Click to add title</a:t>
            </a:r>
          </a:p>
        </p:txBody>
      </p:sp>
      <p:sp>
        <p:nvSpPr>
          <p:cNvPr id="12" name="Textplatzhalter 11">
            <a:extLst>
              <a:ext uri="{FF2B5EF4-FFF2-40B4-BE49-F238E27FC236}">
                <a16:creationId xmlns:a16="http://schemas.microsoft.com/office/drawing/2014/main" id="{A1FCED72-C50D-4FBE-AB0C-ADC629556768}"/>
              </a:ext>
            </a:extLst>
          </p:cNvPr>
          <p:cNvSpPr>
            <a:spLocks noGrp="1"/>
          </p:cNvSpPr>
          <p:nvPr>
            <p:ph type="body" sz="quarter" idx="13" hasCustomPrompt="1"/>
          </p:nvPr>
        </p:nvSpPr>
        <p:spPr>
          <a:xfrm>
            <a:off x="6527800" y="1460501"/>
            <a:ext cx="4895851" cy="427355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spTree>
    <p:extLst>
      <p:ext uri="{BB962C8B-B14F-4D97-AF65-F5344CB8AC3E}">
        <p14:creationId xmlns:p14="http://schemas.microsoft.com/office/powerpoint/2010/main" val="3209551884"/>
      </p:ext>
    </p:extLst>
  </p:cSld>
  <p:clrMapOvr>
    <a:masterClrMapping/>
  </p:clrMapOvr>
  <p:extLst>
    <p:ext uri="{DCECCB84-F9BA-43D5-87BE-67443E8EF086}">
      <p15:sldGuideLst xmlns:p15="http://schemas.microsoft.com/office/powerpoint/2012/main">
        <p15:guide id="1" pos="3084">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Grey area and text">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2F3D9F3-C1CA-4854-A8A2-A0BF8852262D}"/>
              </a:ext>
            </a:extLst>
          </p:cNvPr>
          <p:cNvGraphicFramePr>
            <a:graphicFrameLocks noChangeAspect="1"/>
          </p:cNvGraphicFramePr>
          <p:nvPr userDrawn="1">
            <p:custDataLst>
              <p:tags r:id="rId1"/>
            </p:custDataLst>
            <p:extLst>
              <p:ext uri="{D42A27DB-BD31-4B8C-83A1-F6EECF244321}">
                <p14:modId xmlns:p14="http://schemas.microsoft.com/office/powerpoint/2010/main" val="2990418493"/>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9" name="Objekt 8" hidden="1">
                        <a:extLst>
                          <a:ext uri="{FF2B5EF4-FFF2-40B4-BE49-F238E27FC236}">
                            <a16:creationId xmlns:a16="http://schemas.microsoft.com/office/drawing/2014/main" id="{02F3D9F3-C1CA-4854-A8A2-A0BF8852262D}"/>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4" name="Rechteck 3">
            <a:extLst>
              <a:ext uri="{FF2B5EF4-FFF2-40B4-BE49-F238E27FC236}">
                <a16:creationId xmlns:a16="http://schemas.microsoft.com/office/drawing/2014/main" id="{89D64F21-90C8-49F4-AF56-1C71412DC040}"/>
              </a:ext>
            </a:extLst>
          </p:cNvPr>
          <p:cNvSpPr/>
          <p:nvPr userDrawn="1"/>
        </p:nvSpPr>
        <p:spPr bwMode="gray">
          <a:xfrm>
            <a:off x="0" y="1460499"/>
            <a:ext cx="12192000" cy="4273552"/>
          </a:xfrm>
          <a:prstGeom prst="rect">
            <a:avLst/>
          </a:prstGeom>
          <a:solidFill>
            <a:srgbClr val="EAEAEA"/>
          </a:solidFill>
          <a:ln w="9525" algn="ctr">
            <a:noFill/>
            <a:miter lim="800000"/>
            <a:headEnd/>
            <a:tailEnd/>
          </a:ln>
          <a:effectLst/>
        </p:spPr>
        <p:txBody>
          <a:bodyPr lIns="192000" tIns="48000" rIns="192000" bIns="48000" rtlCol="0" anchor="ctr"/>
          <a:lstStyle/>
          <a:p>
            <a:pPr algn="ctr"/>
            <a:endParaRPr lang="en-US" sz="1467" b="1" kern="0" dirty="0">
              <a:solidFill>
                <a:srgbClr val="FFFFFF"/>
              </a:solidFill>
            </a:endParaRPr>
          </a:p>
        </p:txBody>
      </p:sp>
      <p:sp>
        <p:nvSpPr>
          <p:cNvPr id="3" name="Inhaltsplatzhalter 2"/>
          <p:cNvSpPr>
            <a:spLocks noGrp="1"/>
          </p:cNvSpPr>
          <p:nvPr>
            <p:ph idx="1" hasCustomPrompt="1"/>
          </p:nvPr>
        </p:nvSpPr>
        <p:spPr bwMode="gray">
          <a:xfrm>
            <a:off x="767999" y="1701801"/>
            <a:ext cx="10655652" cy="3790947"/>
          </a:xfrm>
          <a:noFill/>
          <a:ln>
            <a:noFill/>
          </a:ln>
        </p:spPr>
        <p:txBody>
          <a:bodyPr lIns="0" tIns="0" rIns="0" bIns="0" anchor="t" anchorCtr="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sp>
        <p:nvSpPr>
          <p:cNvPr id="6" name="Foliennummernplatzhalter 5"/>
          <p:cNvSpPr>
            <a:spLocks noGrp="1"/>
          </p:cNvSpPr>
          <p:nvPr>
            <p:ph type="sldNum" sz="quarter" idx="12"/>
          </p:nvPr>
        </p:nvSpPr>
        <p:spPr bwMode="gray"/>
        <p:txBody>
          <a:bodyPr/>
          <a:lstStyle/>
          <a:p>
            <a:fld id="{2AA1E7D3-1333-45EE-ABB9-51527D316BA3}" type="slidenum">
              <a:rPr lang="en-US" noProof="0" smtClean="0"/>
              <a:pPr/>
              <a:t>‹#›</a:t>
            </a:fld>
            <a:endParaRPr lang="en-US" noProof="0" dirty="0"/>
          </a:p>
        </p:txBody>
      </p:sp>
      <p:sp>
        <p:nvSpPr>
          <p:cNvPr id="10" name="Titel 9">
            <a:extLst>
              <a:ext uri="{FF2B5EF4-FFF2-40B4-BE49-F238E27FC236}">
                <a16:creationId xmlns:a16="http://schemas.microsoft.com/office/drawing/2014/main" id="{A0146ACD-B49C-4033-8ACF-CCE4AA961A35}"/>
              </a:ext>
            </a:extLst>
          </p:cNvPr>
          <p:cNvSpPr>
            <a:spLocks noGrp="1"/>
          </p:cNvSpPr>
          <p:nvPr>
            <p:ph type="title" hasCustomPrompt="1"/>
          </p:nvPr>
        </p:nvSpPr>
        <p:spPr/>
        <p:txBody>
          <a:bodyPr vert="horz"/>
          <a:lstStyle/>
          <a:p>
            <a:r>
              <a:rPr lang="en-US" dirty="0"/>
              <a:t>Click to add title</a:t>
            </a:r>
          </a:p>
        </p:txBody>
      </p:sp>
      <p:sp>
        <p:nvSpPr>
          <p:cNvPr id="11" name="Datumsplatzhalter 3">
            <a:extLst>
              <a:ext uri="{FF2B5EF4-FFF2-40B4-BE49-F238E27FC236}">
                <a16:creationId xmlns:a16="http://schemas.microsoft.com/office/drawing/2014/main" id="{2D86B37E-6EBE-43F9-992A-D5D8918F1682}"/>
              </a:ext>
            </a:extLst>
          </p:cNvPr>
          <p:cNvSpPr>
            <a:spLocks noGrp="1"/>
          </p:cNvSpPr>
          <p:nvPr>
            <p:ph type="dt" sz="half" idx="10"/>
          </p:nvPr>
        </p:nvSpPr>
        <p:spPr bwMode="gray">
          <a:xfrm>
            <a:off x="384000" y="6497381"/>
            <a:ext cx="1200000" cy="184665"/>
          </a:xfrm>
        </p:spPr>
        <p:txBody>
          <a:bodyPr/>
          <a:lstStyle/>
          <a:p>
            <a:fld id="{C395853F-5105-4094-9118-27CE40B04B1A}" type="datetime1">
              <a:rPr lang="en-US" noProof="0" smtClean="0"/>
              <a:t>6/19/2025</a:t>
            </a:fld>
            <a:endParaRPr lang="en-US" noProof="0" dirty="0"/>
          </a:p>
        </p:txBody>
      </p:sp>
      <p:sp>
        <p:nvSpPr>
          <p:cNvPr id="13" name="Fußzeilenplatzhalter 4">
            <a:extLst>
              <a:ext uri="{FF2B5EF4-FFF2-40B4-BE49-F238E27FC236}">
                <a16:creationId xmlns:a16="http://schemas.microsoft.com/office/drawing/2014/main" id="{5C6ABBAE-E606-47BD-8EF8-8016F425253F}"/>
              </a:ext>
            </a:extLst>
          </p:cNvPr>
          <p:cNvSpPr>
            <a:spLocks noGrp="1"/>
          </p:cNvSpPr>
          <p:nvPr>
            <p:ph type="ftr" sz="quarter" idx="11"/>
          </p:nvPr>
        </p:nvSpPr>
        <p:spPr bwMode="gray">
          <a:xfrm>
            <a:off x="1788160" y="6497381"/>
            <a:ext cx="3860800" cy="184665"/>
          </a:xfrm>
        </p:spPr>
        <p:txBody>
          <a:bodyPr/>
          <a:lstStyle/>
          <a:p>
            <a:r>
              <a:rPr lang="en-US" noProof="0" dirty="0"/>
              <a:t>© Forum Network Technology/Network Operation in the VDE</a:t>
            </a:r>
          </a:p>
        </p:txBody>
      </p:sp>
    </p:spTree>
    <p:extLst>
      <p:ext uri="{BB962C8B-B14F-4D97-AF65-F5344CB8AC3E}">
        <p14:creationId xmlns:p14="http://schemas.microsoft.com/office/powerpoint/2010/main" val="1909978234"/>
      </p:ext>
    </p:extLst>
  </p:cSld>
  <p:clrMapOvr>
    <a:masterClrMapping/>
  </p:clrMapOvr>
  <p:extLst>
    <p:ext uri="{DCECCB84-F9BA-43D5-87BE-67443E8EF086}">
      <p15:sldGuideLst xmlns:p15="http://schemas.microsoft.com/office/powerpoint/2012/main">
        <p15:guide id="1" orient="horz" pos="804">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ue area and text 1">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2F3D9F3-C1CA-4854-A8A2-A0BF8852262D}"/>
              </a:ext>
            </a:extLst>
          </p:cNvPr>
          <p:cNvGraphicFramePr>
            <a:graphicFrameLocks noChangeAspect="1"/>
          </p:cNvGraphicFramePr>
          <p:nvPr userDrawn="1">
            <p:custDataLst>
              <p:tags r:id="rId1"/>
            </p:custDataLst>
            <p:extLst>
              <p:ext uri="{D42A27DB-BD31-4B8C-83A1-F6EECF244321}">
                <p14:modId xmlns:p14="http://schemas.microsoft.com/office/powerpoint/2010/main" val="2905235407"/>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9" name="Objekt 8" hidden="1">
                        <a:extLst>
                          <a:ext uri="{FF2B5EF4-FFF2-40B4-BE49-F238E27FC236}">
                            <a16:creationId xmlns:a16="http://schemas.microsoft.com/office/drawing/2014/main" id="{02F3D9F3-C1CA-4854-A8A2-A0BF8852262D}"/>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11" name="Rechteck 10">
            <a:extLst>
              <a:ext uri="{FF2B5EF4-FFF2-40B4-BE49-F238E27FC236}">
                <a16:creationId xmlns:a16="http://schemas.microsoft.com/office/drawing/2014/main" id="{9C1C0AAA-2397-4F7E-BE97-954B3A3E749A}"/>
              </a:ext>
            </a:extLst>
          </p:cNvPr>
          <p:cNvSpPr/>
          <p:nvPr userDrawn="1"/>
        </p:nvSpPr>
        <p:spPr bwMode="gray">
          <a:xfrm>
            <a:off x="0" y="0"/>
            <a:ext cx="3683000" cy="5734051"/>
          </a:xfrm>
          <a:prstGeom prst="rect">
            <a:avLst/>
          </a:prstGeom>
          <a:solidFill>
            <a:srgbClr val="0064B4"/>
          </a:solidFill>
          <a:ln w="9525" algn="ctr">
            <a:noFill/>
            <a:miter lim="800000"/>
            <a:headEnd/>
            <a:tailEnd/>
          </a:ln>
          <a:effectLst/>
        </p:spPr>
        <p:txBody>
          <a:bodyPr lIns="768000" tIns="288000" rIns="192000" bIns="48000" rtlCol="0" anchor="t"/>
          <a:lstStyle/>
          <a:p>
            <a:endParaRPr lang="en-US" sz="3733" b="1" kern="0" spc="400" dirty="0">
              <a:solidFill>
                <a:schemeClr val="bg1"/>
              </a:solidFill>
            </a:endParaRPr>
          </a:p>
        </p:txBody>
      </p:sp>
      <p:sp>
        <p:nvSpPr>
          <p:cNvPr id="6" name="Foliennummernplatzhalter 5"/>
          <p:cNvSpPr>
            <a:spLocks noGrp="1"/>
          </p:cNvSpPr>
          <p:nvPr>
            <p:ph type="sldNum" sz="quarter" idx="12"/>
          </p:nvPr>
        </p:nvSpPr>
        <p:spPr bwMode="gray"/>
        <p:txBody>
          <a:bodyPr/>
          <a:lstStyle/>
          <a:p>
            <a:fld id="{2AA1E7D3-1333-45EE-ABB9-51527D316BA3}" type="slidenum">
              <a:rPr lang="en-US" noProof="0" smtClean="0"/>
              <a:pPr/>
              <a:t>‹#›</a:t>
            </a:fld>
            <a:endParaRPr lang="en-US" noProof="0" dirty="0"/>
          </a:p>
        </p:txBody>
      </p:sp>
      <p:sp>
        <p:nvSpPr>
          <p:cNvPr id="10" name="Titel 9">
            <a:extLst>
              <a:ext uri="{FF2B5EF4-FFF2-40B4-BE49-F238E27FC236}">
                <a16:creationId xmlns:a16="http://schemas.microsoft.com/office/drawing/2014/main" id="{A0146ACD-B49C-4033-8ACF-CCE4AA961A35}"/>
              </a:ext>
            </a:extLst>
          </p:cNvPr>
          <p:cNvSpPr>
            <a:spLocks noGrp="1"/>
          </p:cNvSpPr>
          <p:nvPr>
            <p:ph type="title" hasCustomPrompt="1"/>
          </p:nvPr>
        </p:nvSpPr>
        <p:spPr>
          <a:xfrm>
            <a:off x="768000" y="1460501"/>
            <a:ext cx="2651959" cy="410369"/>
          </a:xfrm>
        </p:spPr>
        <p:txBody>
          <a:bodyPr vert="horz">
            <a:spAutoFit/>
          </a:bodyPr>
          <a:lstStyle>
            <a:lvl1pPr>
              <a:defRPr>
                <a:solidFill>
                  <a:schemeClr val="bg1"/>
                </a:solidFill>
              </a:defRPr>
            </a:lvl1pPr>
          </a:lstStyle>
          <a:p>
            <a:r>
              <a:rPr lang="en-US" dirty="0"/>
              <a:t>Click to add title</a:t>
            </a:r>
          </a:p>
        </p:txBody>
      </p:sp>
      <p:sp>
        <p:nvSpPr>
          <p:cNvPr id="12" name="Textplatzhalter 11">
            <a:extLst>
              <a:ext uri="{FF2B5EF4-FFF2-40B4-BE49-F238E27FC236}">
                <a16:creationId xmlns:a16="http://schemas.microsoft.com/office/drawing/2014/main" id="{A1FCED72-C50D-4FBE-AB0C-ADC629556768}"/>
              </a:ext>
            </a:extLst>
          </p:cNvPr>
          <p:cNvSpPr>
            <a:spLocks noGrp="1"/>
          </p:cNvSpPr>
          <p:nvPr>
            <p:ph type="body" sz="quarter" idx="13" hasCustomPrompt="1"/>
          </p:nvPr>
        </p:nvSpPr>
        <p:spPr>
          <a:xfrm>
            <a:off x="3983566" y="1460501"/>
            <a:ext cx="7440084" cy="427355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a:p>
            <a:pPr lvl="4"/>
            <a:endParaRPr lang="en-US" dirty="0"/>
          </a:p>
        </p:txBody>
      </p:sp>
      <p:sp>
        <p:nvSpPr>
          <p:cNvPr id="15" name="Datumsplatzhalter 3">
            <a:extLst>
              <a:ext uri="{FF2B5EF4-FFF2-40B4-BE49-F238E27FC236}">
                <a16:creationId xmlns:a16="http://schemas.microsoft.com/office/drawing/2014/main" id="{62FB709D-E8B5-45E2-91F8-237A7266BDD0}"/>
              </a:ext>
            </a:extLst>
          </p:cNvPr>
          <p:cNvSpPr>
            <a:spLocks noGrp="1"/>
          </p:cNvSpPr>
          <p:nvPr>
            <p:ph type="dt" sz="half" idx="10"/>
          </p:nvPr>
        </p:nvSpPr>
        <p:spPr bwMode="gray">
          <a:xfrm>
            <a:off x="384000" y="6497381"/>
            <a:ext cx="1200000" cy="184665"/>
          </a:xfrm>
        </p:spPr>
        <p:txBody>
          <a:bodyPr/>
          <a:lstStyle/>
          <a:p>
            <a:fld id="{E74D9286-B4FD-4F88-9C1C-D6B729D11B21}" type="datetime1">
              <a:rPr lang="en-US" noProof="0" smtClean="0"/>
              <a:t>6/19/2025</a:t>
            </a:fld>
            <a:endParaRPr lang="en-US" noProof="0" dirty="0"/>
          </a:p>
        </p:txBody>
      </p:sp>
      <p:sp>
        <p:nvSpPr>
          <p:cNvPr id="16" name="Fußzeilenplatzhalter 4">
            <a:extLst>
              <a:ext uri="{FF2B5EF4-FFF2-40B4-BE49-F238E27FC236}">
                <a16:creationId xmlns:a16="http://schemas.microsoft.com/office/drawing/2014/main" id="{A9D7AD0E-5C12-4C10-B70E-640EA53E3045}"/>
              </a:ext>
            </a:extLst>
          </p:cNvPr>
          <p:cNvSpPr>
            <a:spLocks noGrp="1"/>
          </p:cNvSpPr>
          <p:nvPr>
            <p:ph type="ftr" sz="quarter" idx="11"/>
          </p:nvPr>
        </p:nvSpPr>
        <p:spPr bwMode="gray">
          <a:xfrm>
            <a:off x="1788160" y="6497381"/>
            <a:ext cx="3860800" cy="184665"/>
          </a:xfrm>
        </p:spPr>
        <p:txBody>
          <a:bodyPr/>
          <a:lstStyle/>
          <a:p>
            <a:r>
              <a:rPr lang="en-US" noProof="0" dirty="0"/>
              <a:t>© Forum Network Technology/Network Operation in the VDE</a:t>
            </a:r>
          </a:p>
        </p:txBody>
      </p:sp>
    </p:spTree>
    <p:extLst>
      <p:ext uri="{BB962C8B-B14F-4D97-AF65-F5344CB8AC3E}">
        <p14:creationId xmlns:p14="http://schemas.microsoft.com/office/powerpoint/2010/main" val="3686672472"/>
      </p:ext>
    </p:extLst>
  </p:cSld>
  <p:clrMapOvr>
    <a:masterClrMapping/>
  </p:clrMapOvr>
  <p:extLst>
    <p:ext uri="{DCECCB84-F9BA-43D5-87BE-67443E8EF086}">
      <p15:sldGuideLst xmlns:p15="http://schemas.microsoft.com/office/powerpoint/2012/main">
        <p15:guide id="1" pos="1882">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ue area and text 2">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2F3D9F3-C1CA-4854-A8A2-A0BF8852262D}"/>
              </a:ext>
            </a:extLst>
          </p:cNvPr>
          <p:cNvGraphicFramePr>
            <a:graphicFrameLocks noChangeAspect="1"/>
          </p:cNvGraphicFramePr>
          <p:nvPr userDrawn="1">
            <p:custDataLst>
              <p:tags r:id="rId1"/>
            </p:custDataLst>
            <p:extLst>
              <p:ext uri="{D42A27DB-BD31-4B8C-83A1-F6EECF244321}">
                <p14:modId xmlns:p14="http://schemas.microsoft.com/office/powerpoint/2010/main" val="112365113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9" name="Objekt 8" hidden="1">
                        <a:extLst>
                          <a:ext uri="{FF2B5EF4-FFF2-40B4-BE49-F238E27FC236}">
                            <a16:creationId xmlns:a16="http://schemas.microsoft.com/office/drawing/2014/main" id="{02F3D9F3-C1CA-4854-A8A2-A0BF8852262D}"/>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A3D653D4-E60B-4A42-98D1-E10D89B7151B}"/>
              </a:ext>
            </a:extLst>
          </p:cNvPr>
          <p:cNvSpPr/>
          <p:nvPr userDrawn="1"/>
        </p:nvSpPr>
        <p:spPr bwMode="gray">
          <a:xfrm>
            <a:off x="0" y="6139452"/>
            <a:ext cx="3983565" cy="328965"/>
          </a:xfrm>
          <a:prstGeom prst="rect">
            <a:avLst/>
          </a:prstGeom>
          <a:solidFill>
            <a:schemeClr val="bg1"/>
          </a:solidFill>
          <a:ln w="9525" algn="ctr">
            <a:noFill/>
            <a:miter lim="800000"/>
            <a:headEnd/>
            <a:tailEnd/>
          </a:ln>
          <a:effectLst/>
        </p:spPr>
        <p:txBody>
          <a:bodyPr lIns="192000" tIns="48000" rIns="192000" bIns="48000" rtlCol="0" anchor="ctr"/>
          <a:lstStyle/>
          <a:p>
            <a:pPr algn="ctr"/>
            <a:endParaRPr lang="en-US" sz="1467" b="1" kern="0" dirty="0">
              <a:solidFill>
                <a:srgbClr val="FFFFFF"/>
              </a:solidFill>
            </a:endParaRPr>
          </a:p>
        </p:txBody>
      </p:sp>
      <p:sp>
        <p:nvSpPr>
          <p:cNvPr id="11" name="Rechteck 10">
            <a:extLst>
              <a:ext uri="{FF2B5EF4-FFF2-40B4-BE49-F238E27FC236}">
                <a16:creationId xmlns:a16="http://schemas.microsoft.com/office/drawing/2014/main" id="{9C1C0AAA-2397-4F7E-BE97-954B3A3E749A}"/>
              </a:ext>
            </a:extLst>
          </p:cNvPr>
          <p:cNvSpPr/>
          <p:nvPr userDrawn="1"/>
        </p:nvSpPr>
        <p:spPr bwMode="gray">
          <a:xfrm>
            <a:off x="0" y="0"/>
            <a:ext cx="3683000" cy="6858000"/>
          </a:xfrm>
          <a:prstGeom prst="rect">
            <a:avLst/>
          </a:prstGeom>
          <a:solidFill>
            <a:srgbClr val="0064B4"/>
          </a:solidFill>
          <a:ln w="9525" algn="ctr">
            <a:noFill/>
            <a:miter lim="800000"/>
            <a:headEnd/>
            <a:tailEnd/>
          </a:ln>
          <a:effectLst/>
        </p:spPr>
        <p:txBody>
          <a:bodyPr lIns="768000" tIns="288000" rIns="192000" bIns="48000" rtlCol="0" anchor="t"/>
          <a:lstStyle/>
          <a:p>
            <a:endParaRPr lang="en-US" sz="3733" b="1" kern="0" spc="400" dirty="0">
              <a:solidFill>
                <a:schemeClr val="bg1"/>
              </a:solidFill>
            </a:endParaRPr>
          </a:p>
        </p:txBody>
      </p:sp>
      <p:sp>
        <p:nvSpPr>
          <p:cNvPr id="6" name="Foliennummernplatzhalter 5"/>
          <p:cNvSpPr>
            <a:spLocks noGrp="1"/>
          </p:cNvSpPr>
          <p:nvPr>
            <p:ph type="sldNum" sz="quarter" idx="12"/>
          </p:nvPr>
        </p:nvSpPr>
        <p:spPr bwMode="gray"/>
        <p:txBody>
          <a:bodyPr/>
          <a:lstStyle/>
          <a:p>
            <a:fld id="{2AA1E7D3-1333-45EE-ABB9-51527D316BA3}" type="slidenum">
              <a:rPr lang="en-US" noProof="0" smtClean="0"/>
              <a:pPr/>
              <a:t>‹#›</a:t>
            </a:fld>
            <a:endParaRPr lang="en-US" noProof="0" dirty="0"/>
          </a:p>
        </p:txBody>
      </p:sp>
      <p:sp>
        <p:nvSpPr>
          <p:cNvPr id="10" name="Titel 9">
            <a:extLst>
              <a:ext uri="{FF2B5EF4-FFF2-40B4-BE49-F238E27FC236}">
                <a16:creationId xmlns:a16="http://schemas.microsoft.com/office/drawing/2014/main" id="{A0146ACD-B49C-4033-8ACF-CCE4AA961A35}"/>
              </a:ext>
            </a:extLst>
          </p:cNvPr>
          <p:cNvSpPr>
            <a:spLocks noGrp="1"/>
          </p:cNvSpPr>
          <p:nvPr>
            <p:ph type="title" hasCustomPrompt="1"/>
          </p:nvPr>
        </p:nvSpPr>
        <p:spPr>
          <a:xfrm>
            <a:off x="768000" y="1460501"/>
            <a:ext cx="2651959" cy="410369"/>
          </a:xfrm>
        </p:spPr>
        <p:txBody>
          <a:bodyPr vert="horz">
            <a:spAutoFit/>
          </a:bodyPr>
          <a:lstStyle>
            <a:lvl1pPr>
              <a:defRPr>
                <a:solidFill>
                  <a:schemeClr val="bg1"/>
                </a:solidFill>
              </a:defRPr>
            </a:lvl1pPr>
          </a:lstStyle>
          <a:p>
            <a:r>
              <a:rPr lang="en-US" dirty="0"/>
              <a:t>Click to add title</a:t>
            </a:r>
          </a:p>
        </p:txBody>
      </p:sp>
      <p:sp>
        <p:nvSpPr>
          <p:cNvPr id="12" name="Textplatzhalter 11">
            <a:extLst>
              <a:ext uri="{FF2B5EF4-FFF2-40B4-BE49-F238E27FC236}">
                <a16:creationId xmlns:a16="http://schemas.microsoft.com/office/drawing/2014/main" id="{A1FCED72-C50D-4FBE-AB0C-ADC629556768}"/>
              </a:ext>
            </a:extLst>
          </p:cNvPr>
          <p:cNvSpPr>
            <a:spLocks noGrp="1"/>
          </p:cNvSpPr>
          <p:nvPr>
            <p:ph type="body" sz="quarter" idx="13" hasCustomPrompt="1"/>
          </p:nvPr>
        </p:nvSpPr>
        <p:spPr>
          <a:xfrm>
            <a:off x="3983566" y="1460501"/>
            <a:ext cx="7440084" cy="427355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a:p>
            <a:pPr lvl="4"/>
            <a:endParaRPr lang="en-US" dirty="0"/>
          </a:p>
        </p:txBody>
      </p:sp>
    </p:spTree>
    <p:extLst>
      <p:ext uri="{BB962C8B-B14F-4D97-AF65-F5344CB8AC3E}">
        <p14:creationId xmlns:p14="http://schemas.microsoft.com/office/powerpoint/2010/main" val="2233905550"/>
      </p:ext>
    </p:extLst>
  </p:cSld>
  <p:clrMapOvr>
    <a:masterClrMapping/>
  </p:clrMapOvr>
  <p:extLst>
    <p:ext uri="{DCECCB84-F9BA-43D5-87BE-67443E8EF086}">
      <p15:sldGuideLst xmlns:p15="http://schemas.microsoft.com/office/powerpoint/2012/main">
        <p15:guide id="1" pos="188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Content and Photo">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D2776BFF-2D8E-5443-9DD8-7518895CAD4D}"/>
              </a:ext>
            </a:extLst>
          </p:cNvPr>
          <p:cNvSpPr>
            <a:spLocks noGrp="1"/>
          </p:cNvSpPr>
          <p:nvPr>
            <p:ph type="title"/>
          </p:nvPr>
        </p:nvSpPr>
        <p:spPr>
          <a:xfrm>
            <a:off x="762000" y="1"/>
            <a:ext cx="10018776" cy="1417320"/>
          </a:xfrm>
          <a:prstGeom prst="rect">
            <a:avLst/>
          </a:prstGeom>
        </p:spPr>
        <p:txBody>
          <a:bodyPr lIns="0" anchor="ctr"/>
          <a:lstStyle>
            <a:lvl1pPr>
              <a:defRPr b="0" i="0">
                <a:solidFill>
                  <a:schemeClr val="bg1"/>
                </a:solidFill>
                <a:latin typeface="Montserrat" pitchFamily="2" charset="77"/>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A05724B2-146D-9345-A327-28E9CF8BDE81}"/>
              </a:ext>
            </a:extLst>
          </p:cNvPr>
          <p:cNvSpPr>
            <a:spLocks noGrp="1"/>
          </p:cNvSpPr>
          <p:nvPr>
            <p:ph sz="quarter" idx="10"/>
          </p:nvPr>
        </p:nvSpPr>
        <p:spPr>
          <a:xfrm>
            <a:off x="762000" y="1855789"/>
            <a:ext cx="10631424" cy="4435283"/>
          </a:xfrm>
          <a:prstGeom prst="rect">
            <a:avLst/>
          </a:prstGeom>
        </p:spPr>
        <p:txBody>
          <a:bodyPr/>
          <a:lstStyle>
            <a:lvl1pPr marL="117475" indent="-117475">
              <a:buClr>
                <a:srgbClr val="F15934"/>
              </a:buClr>
              <a:buSzPct val="60000"/>
              <a:tabLst/>
              <a:defRPr sz="2000" b="0" i="0">
                <a:solidFill>
                  <a:schemeClr val="tx1"/>
                </a:solidFill>
                <a:latin typeface="Arial" panose="020B0604020202020204" pitchFamily="34" charset="0"/>
                <a:cs typeface="Arial" panose="020B0604020202020204" pitchFamily="34" charset="0"/>
              </a:defRPr>
            </a:lvl1pPr>
            <a:lvl2pPr>
              <a:buClr>
                <a:srgbClr val="F15934"/>
              </a:buClr>
              <a:buSzPct val="60000"/>
              <a:defRPr sz="2000" b="0" i="0">
                <a:solidFill>
                  <a:schemeClr val="tx1"/>
                </a:solidFill>
                <a:latin typeface="Arial" panose="020B0604020202020204" pitchFamily="34" charset="0"/>
                <a:cs typeface="Arial" panose="020B0604020202020204" pitchFamily="34" charset="0"/>
              </a:defRPr>
            </a:lvl2pPr>
            <a:lvl3pPr>
              <a:buClr>
                <a:srgbClr val="F15934"/>
              </a:buClr>
              <a:buSzPct val="60000"/>
              <a:defRPr sz="2000" b="0" i="0">
                <a:solidFill>
                  <a:schemeClr val="tx1"/>
                </a:solidFill>
                <a:latin typeface="Arial" panose="020B0604020202020204" pitchFamily="34" charset="0"/>
                <a:cs typeface="Arial" panose="020B0604020202020204" pitchFamily="34" charset="0"/>
              </a:defRPr>
            </a:lvl3pPr>
            <a:lvl4pPr>
              <a:buClr>
                <a:srgbClr val="F15934"/>
              </a:buClr>
              <a:buSzPct val="60000"/>
              <a:defRPr sz="2000" b="0" i="0">
                <a:solidFill>
                  <a:schemeClr val="tx1"/>
                </a:solidFill>
                <a:latin typeface="Arial" panose="020B0604020202020204" pitchFamily="34" charset="0"/>
                <a:cs typeface="Arial" panose="020B0604020202020204" pitchFamily="34" charset="0"/>
              </a:defRPr>
            </a:lvl4pPr>
            <a:lvl5pPr>
              <a:buClr>
                <a:srgbClr val="F15934"/>
              </a:buClr>
              <a:buSzPct val="60000"/>
              <a:defRPr sz="2000" b="0" i="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71118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Content and Photo">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D2776BFF-2D8E-5443-9DD8-7518895CAD4D}"/>
              </a:ext>
            </a:extLst>
          </p:cNvPr>
          <p:cNvSpPr>
            <a:spLocks noGrp="1"/>
          </p:cNvSpPr>
          <p:nvPr>
            <p:ph type="title"/>
          </p:nvPr>
        </p:nvSpPr>
        <p:spPr>
          <a:xfrm>
            <a:off x="762000" y="1"/>
            <a:ext cx="10018776" cy="1417320"/>
          </a:xfrm>
          <a:prstGeom prst="rect">
            <a:avLst/>
          </a:prstGeom>
        </p:spPr>
        <p:txBody>
          <a:bodyPr lIns="0" anchor="ctr"/>
          <a:lstStyle>
            <a:lvl1pPr>
              <a:defRPr b="0" i="0">
                <a:solidFill>
                  <a:schemeClr val="bg1"/>
                </a:solidFill>
                <a:latin typeface="Montserrat" pitchFamily="2" charset="77"/>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A05724B2-146D-9345-A327-28E9CF8BDE81}"/>
              </a:ext>
            </a:extLst>
          </p:cNvPr>
          <p:cNvSpPr>
            <a:spLocks noGrp="1"/>
          </p:cNvSpPr>
          <p:nvPr>
            <p:ph sz="quarter" idx="10"/>
          </p:nvPr>
        </p:nvSpPr>
        <p:spPr>
          <a:xfrm>
            <a:off x="762000" y="1855789"/>
            <a:ext cx="4888992" cy="4435283"/>
          </a:xfrm>
          <a:prstGeom prst="rect">
            <a:avLst/>
          </a:prstGeom>
        </p:spPr>
        <p:txBody>
          <a:bodyPr/>
          <a:lstStyle>
            <a:lvl1pPr marL="117475" indent="-117475">
              <a:buClr>
                <a:srgbClr val="F15934"/>
              </a:buClr>
              <a:buSzPct val="60000"/>
              <a:tabLst/>
              <a:defRPr sz="2000" b="0" i="0">
                <a:solidFill>
                  <a:schemeClr val="tx1"/>
                </a:solidFill>
                <a:latin typeface="Arial" panose="020B0604020202020204" pitchFamily="34" charset="0"/>
                <a:cs typeface="Arial" panose="020B0604020202020204" pitchFamily="34" charset="0"/>
              </a:defRPr>
            </a:lvl1pPr>
            <a:lvl2pPr>
              <a:buClr>
                <a:srgbClr val="F15934"/>
              </a:buClr>
              <a:buSzPct val="60000"/>
              <a:defRPr sz="2000" b="0" i="0">
                <a:solidFill>
                  <a:schemeClr val="tx1"/>
                </a:solidFill>
                <a:latin typeface="Arial" panose="020B0604020202020204" pitchFamily="34" charset="0"/>
                <a:cs typeface="Arial" panose="020B0604020202020204" pitchFamily="34" charset="0"/>
              </a:defRPr>
            </a:lvl2pPr>
            <a:lvl3pPr>
              <a:buClr>
                <a:srgbClr val="F15934"/>
              </a:buClr>
              <a:buSzPct val="60000"/>
              <a:defRPr sz="2000" b="0" i="0">
                <a:solidFill>
                  <a:schemeClr val="tx1"/>
                </a:solidFill>
                <a:latin typeface="Arial" panose="020B0604020202020204" pitchFamily="34" charset="0"/>
                <a:cs typeface="Arial" panose="020B0604020202020204" pitchFamily="34" charset="0"/>
              </a:defRPr>
            </a:lvl3pPr>
            <a:lvl4pPr>
              <a:buClr>
                <a:srgbClr val="F15934"/>
              </a:buClr>
              <a:buSzPct val="60000"/>
              <a:defRPr sz="2000" b="0" i="0">
                <a:solidFill>
                  <a:schemeClr val="tx1"/>
                </a:solidFill>
                <a:latin typeface="Arial" panose="020B0604020202020204" pitchFamily="34" charset="0"/>
                <a:cs typeface="Arial" panose="020B0604020202020204" pitchFamily="34" charset="0"/>
              </a:defRPr>
            </a:lvl4pPr>
            <a:lvl5pPr>
              <a:buClr>
                <a:srgbClr val="F15934"/>
              </a:buClr>
              <a:buSzPct val="60000"/>
              <a:defRPr sz="2000" b="0" i="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Picture Placeholder 4">
            <a:extLst>
              <a:ext uri="{FF2B5EF4-FFF2-40B4-BE49-F238E27FC236}">
                <a16:creationId xmlns:a16="http://schemas.microsoft.com/office/drawing/2014/main" id="{8EA22DD1-E91F-FA42-8D04-222AB7E59CE7}"/>
              </a:ext>
            </a:extLst>
          </p:cNvPr>
          <p:cNvSpPr>
            <a:spLocks noGrp="1"/>
          </p:cNvSpPr>
          <p:nvPr>
            <p:ph type="pic" sz="quarter" idx="11"/>
          </p:nvPr>
        </p:nvSpPr>
        <p:spPr>
          <a:xfrm>
            <a:off x="6089904" y="1417321"/>
            <a:ext cx="6102096" cy="5440679"/>
          </a:xfrm>
          <a:prstGeom prst="rect">
            <a:avLst/>
          </a:prstGeom>
        </p:spPr>
        <p:txBody>
          <a:bodyPr/>
          <a:lstStyle/>
          <a:p>
            <a:r>
              <a:rPr lang="en-US"/>
              <a:t>Click icon to add picture</a:t>
            </a:r>
          </a:p>
        </p:txBody>
      </p:sp>
    </p:spTree>
    <p:extLst>
      <p:ext uri="{BB962C8B-B14F-4D97-AF65-F5344CB8AC3E}">
        <p14:creationId xmlns:p14="http://schemas.microsoft.com/office/powerpoint/2010/main" val="19435789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itle, Content and Photo">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286858F-0CBF-E048-80B1-FEEF590CB624}"/>
              </a:ext>
            </a:extLst>
          </p:cNvPr>
          <p:cNvSpPr/>
          <p:nvPr userDrawn="1"/>
        </p:nvSpPr>
        <p:spPr>
          <a:xfrm>
            <a:off x="6111240" y="1426464"/>
            <a:ext cx="6080760" cy="54315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4" name="Title 1">
            <a:extLst>
              <a:ext uri="{FF2B5EF4-FFF2-40B4-BE49-F238E27FC236}">
                <a16:creationId xmlns:a16="http://schemas.microsoft.com/office/drawing/2014/main" id="{D2776BFF-2D8E-5443-9DD8-7518895CAD4D}"/>
              </a:ext>
            </a:extLst>
          </p:cNvPr>
          <p:cNvSpPr>
            <a:spLocks noGrp="1"/>
          </p:cNvSpPr>
          <p:nvPr>
            <p:ph type="title"/>
          </p:nvPr>
        </p:nvSpPr>
        <p:spPr>
          <a:xfrm>
            <a:off x="762000" y="1"/>
            <a:ext cx="10018776" cy="1417320"/>
          </a:xfrm>
          <a:prstGeom prst="rect">
            <a:avLst/>
          </a:prstGeom>
        </p:spPr>
        <p:txBody>
          <a:bodyPr lIns="0" anchor="ctr"/>
          <a:lstStyle>
            <a:lvl1pPr>
              <a:defRPr b="0" i="0">
                <a:solidFill>
                  <a:schemeClr val="bg1"/>
                </a:solidFill>
                <a:latin typeface="Montserrat" pitchFamily="2" charset="77"/>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A05724B2-146D-9345-A327-28E9CF8BDE81}"/>
              </a:ext>
            </a:extLst>
          </p:cNvPr>
          <p:cNvSpPr>
            <a:spLocks noGrp="1"/>
          </p:cNvSpPr>
          <p:nvPr>
            <p:ph sz="quarter" idx="10"/>
          </p:nvPr>
        </p:nvSpPr>
        <p:spPr>
          <a:xfrm>
            <a:off x="762000" y="1855789"/>
            <a:ext cx="4888992" cy="4435283"/>
          </a:xfrm>
          <a:prstGeom prst="rect">
            <a:avLst/>
          </a:prstGeom>
        </p:spPr>
        <p:txBody>
          <a:bodyPr/>
          <a:lstStyle>
            <a:lvl1pPr marL="117475" indent="-117475">
              <a:buClr>
                <a:srgbClr val="F15934"/>
              </a:buClr>
              <a:buSzPct val="60000"/>
              <a:tabLst/>
              <a:defRPr sz="2000" b="0" i="0">
                <a:solidFill>
                  <a:schemeClr val="tx1"/>
                </a:solidFill>
                <a:latin typeface="Arial" panose="020B0604020202020204" pitchFamily="34" charset="0"/>
                <a:cs typeface="Arial" panose="020B0604020202020204" pitchFamily="34" charset="0"/>
              </a:defRPr>
            </a:lvl1pPr>
            <a:lvl2pPr>
              <a:buClr>
                <a:srgbClr val="F15934"/>
              </a:buClr>
              <a:buSzPct val="60000"/>
              <a:defRPr sz="2000" b="0" i="0">
                <a:solidFill>
                  <a:schemeClr val="tx1"/>
                </a:solidFill>
                <a:latin typeface="Arial" panose="020B0604020202020204" pitchFamily="34" charset="0"/>
                <a:cs typeface="Arial" panose="020B0604020202020204" pitchFamily="34" charset="0"/>
              </a:defRPr>
            </a:lvl2pPr>
            <a:lvl3pPr>
              <a:buClr>
                <a:srgbClr val="F15934"/>
              </a:buClr>
              <a:buSzPct val="60000"/>
              <a:defRPr sz="2000" b="0" i="0">
                <a:solidFill>
                  <a:schemeClr val="tx1"/>
                </a:solidFill>
                <a:latin typeface="Arial" panose="020B0604020202020204" pitchFamily="34" charset="0"/>
                <a:cs typeface="Arial" panose="020B0604020202020204" pitchFamily="34" charset="0"/>
              </a:defRPr>
            </a:lvl3pPr>
            <a:lvl4pPr>
              <a:buClr>
                <a:srgbClr val="F15934"/>
              </a:buClr>
              <a:buSzPct val="60000"/>
              <a:defRPr sz="2000" b="0" i="0">
                <a:solidFill>
                  <a:schemeClr val="tx1"/>
                </a:solidFill>
                <a:latin typeface="Arial" panose="020B0604020202020204" pitchFamily="34" charset="0"/>
                <a:cs typeface="Arial" panose="020B0604020202020204" pitchFamily="34" charset="0"/>
              </a:defRPr>
            </a:lvl4pPr>
            <a:lvl5pPr>
              <a:buClr>
                <a:srgbClr val="F15934"/>
              </a:buClr>
              <a:buSzPct val="60000"/>
              <a:defRPr sz="2000" b="0" i="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Picture Placeholder 4">
            <a:extLst>
              <a:ext uri="{FF2B5EF4-FFF2-40B4-BE49-F238E27FC236}">
                <a16:creationId xmlns:a16="http://schemas.microsoft.com/office/drawing/2014/main" id="{8EA22DD1-E91F-FA42-8D04-222AB7E59CE7}"/>
              </a:ext>
            </a:extLst>
          </p:cNvPr>
          <p:cNvSpPr>
            <a:spLocks noGrp="1"/>
          </p:cNvSpPr>
          <p:nvPr>
            <p:ph type="pic" sz="quarter" idx="11"/>
          </p:nvPr>
        </p:nvSpPr>
        <p:spPr>
          <a:xfrm>
            <a:off x="6547104" y="1828800"/>
            <a:ext cx="5184648" cy="4160520"/>
          </a:xfrm>
          <a:prstGeom prst="rect">
            <a:avLst/>
          </a:prstGeom>
        </p:spPr>
        <p:txBody>
          <a:bodyPr/>
          <a:lstStyle/>
          <a:p>
            <a:r>
              <a:rPr lang="en-US"/>
              <a:t>Click icon to add picture</a:t>
            </a:r>
          </a:p>
        </p:txBody>
      </p:sp>
      <p:sp>
        <p:nvSpPr>
          <p:cNvPr id="7" name="TextBox 6">
            <a:extLst>
              <a:ext uri="{FF2B5EF4-FFF2-40B4-BE49-F238E27FC236}">
                <a16:creationId xmlns:a16="http://schemas.microsoft.com/office/drawing/2014/main" id="{9844447A-C159-AA4A-8782-432E5F41E967}"/>
              </a:ext>
            </a:extLst>
          </p:cNvPr>
          <p:cNvSpPr txBox="1"/>
          <p:nvPr userDrawn="1"/>
        </p:nvSpPr>
        <p:spPr>
          <a:xfrm>
            <a:off x="11311128" y="6108192"/>
            <a:ext cx="521208" cy="276999"/>
          </a:xfrm>
          <a:prstGeom prst="rect">
            <a:avLst/>
          </a:prstGeom>
          <a:noFill/>
        </p:spPr>
        <p:txBody>
          <a:bodyPr wrap="square" rtlCol="0">
            <a:spAutoFit/>
          </a:bodyPr>
          <a:lstStyle/>
          <a:p>
            <a:pPr algn="r"/>
            <a:fld id="{90F21B5F-06DF-1840-B2F7-3636C65A51F9}" type="slidenum">
              <a:rPr lang="en-US" sz="1200" b="0" i="0" smtClean="0">
                <a:solidFill>
                  <a:schemeClr val="bg1">
                    <a:lumMod val="65000"/>
                  </a:schemeClr>
                </a:solidFill>
                <a:latin typeface="Montserrat Medium" pitchFamily="2" charset="77"/>
              </a:rPr>
              <a:pPr algn="r"/>
              <a:t>‹#›</a:t>
            </a:fld>
            <a:endParaRPr lang="en-US" sz="1200" b="0" i="0" dirty="0">
              <a:solidFill>
                <a:schemeClr val="bg1">
                  <a:lumMod val="65000"/>
                </a:schemeClr>
              </a:solidFill>
              <a:latin typeface="Montserrat Medium" pitchFamily="2" charset="77"/>
            </a:endParaRPr>
          </a:p>
        </p:txBody>
      </p:sp>
      <p:sp>
        <p:nvSpPr>
          <p:cNvPr id="8" name="Rectangle 7">
            <a:extLst>
              <a:ext uri="{FF2B5EF4-FFF2-40B4-BE49-F238E27FC236}">
                <a16:creationId xmlns:a16="http://schemas.microsoft.com/office/drawing/2014/main" id="{D1B85FA8-3964-F34E-AD25-B6B3AD70ACDB}"/>
              </a:ext>
            </a:extLst>
          </p:cNvPr>
          <p:cNvSpPr/>
          <p:nvPr userDrawn="1"/>
        </p:nvSpPr>
        <p:spPr>
          <a:xfrm>
            <a:off x="10157021" y="6374907"/>
            <a:ext cx="1808508" cy="215444"/>
          </a:xfrm>
          <a:prstGeom prst="rect">
            <a:avLst/>
          </a:prstGeom>
        </p:spPr>
        <p:txBody>
          <a:bodyPr wrap="none">
            <a:spAutoFit/>
          </a:bodyPr>
          <a:lstStyle/>
          <a:p>
            <a:r>
              <a:rPr lang="en-US" sz="800" b="0" dirty="0">
                <a:solidFill>
                  <a:schemeClr val="bg1">
                    <a:lumMod val="75000"/>
                  </a:schemeClr>
                </a:solidFill>
                <a:effectLst/>
                <a:latin typeface="Montserrat" pitchFamily="2" charset="77"/>
              </a:rPr>
              <a:t>©2022 ESIG. All rights Reserved.</a:t>
            </a:r>
            <a:endParaRPr lang="en-US" sz="800" b="0" dirty="0">
              <a:solidFill>
                <a:schemeClr val="bg1">
                  <a:lumMod val="75000"/>
                </a:schemeClr>
              </a:solidFill>
              <a:effectLst/>
              <a:latin typeface="Montserrat SemiBold" pitchFamily="2" charset="77"/>
            </a:endParaRPr>
          </a:p>
        </p:txBody>
      </p:sp>
    </p:spTree>
    <p:extLst>
      <p:ext uri="{BB962C8B-B14F-4D97-AF65-F5344CB8AC3E}">
        <p14:creationId xmlns:p14="http://schemas.microsoft.com/office/powerpoint/2010/main" val="21605045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Title,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68EEE03-E602-EF4B-86D5-0ACBA75E9B5F}"/>
              </a:ext>
            </a:extLst>
          </p:cNvPr>
          <p:cNvSpPr/>
          <p:nvPr userDrawn="1"/>
        </p:nvSpPr>
        <p:spPr>
          <a:xfrm>
            <a:off x="0" y="1426464"/>
            <a:ext cx="6080760" cy="54315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4" name="Title 1">
            <a:extLst>
              <a:ext uri="{FF2B5EF4-FFF2-40B4-BE49-F238E27FC236}">
                <a16:creationId xmlns:a16="http://schemas.microsoft.com/office/drawing/2014/main" id="{D2776BFF-2D8E-5443-9DD8-7518895CAD4D}"/>
              </a:ext>
            </a:extLst>
          </p:cNvPr>
          <p:cNvSpPr>
            <a:spLocks noGrp="1"/>
          </p:cNvSpPr>
          <p:nvPr>
            <p:ph type="title"/>
          </p:nvPr>
        </p:nvSpPr>
        <p:spPr>
          <a:xfrm>
            <a:off x="762000" y="1"/>
            <a:ext cx="10018776" cy="1417320"/>
          </a:xfrm>
          <a:prstGeom prst="rect">
            <a:avLst/>
          </a:prstGeom>
        </p:spPr>
        <p:txBody>
          <a:bodyPr lIns="0" anchor="ctr"/>
          <a:lstStyle>
            <a:lvl1pPr>
              <a:defRPr b="0" i="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7" name="Content Placeholder 2">
            <a:extLst>
              <a:ext uri="{FF2B5EF4-FFF2-40B4-BE49-F238E27FC236}">
                <a16:creationId xmlns:a16="http://schemas.microsoft.com/office/drawing/2014/main" id="{2F1A0E40-6F26-E840-873C-93B28B15FF1F}"/>
              </a:ext>
            </a:extLst>
          </p:cNvPr>
          <p:cNvSpPr>
            <a:spLocks noGrp="1"/>
          </p:cNvSpPr>
          <p:nvPr>
            <p:ph sz="quarter" idx="12"/>
          </p:nvPr>
        </p:nvSpPr>
        <p:spPr>
          <a:xfrm>
            <a:off x="762000" y="1855789"/>
            <a:ext cx="4861560" cy="4435283"/>
          </a:xfrm>
          <a:prstGeom prst="rect">
            <a:avLst/>
          </a:prstGeom>
        </p:spPr>
        <p:txBody>
          <a:bodyPr/>
          <a:lstStyle>
            <a:lvl1pPr marL="0" indent="0">
              <a:buClr>
                <a:srgbClr val="F15934"/>
              </a:buClr>
              <a:buSzPct val="60000"/>
              <a:buNone/>
              <a:tabLst/>
              <a:defRPr sz="2400" b="1" i="0">
                <a:solidFill>
                  <a:srgbClr val="F15934"/>
                </a:solidFill>
                <a:latin typeface="Arial" panose="020B0604020202020204" pitchFamily="34" charset="0"/>
                <a:cs typeface="Arial" panose="020B0604020202020204" pitchFamily="34" charset="0"/>
              </a:defRPr>
            </a:lvl1pPr>
            <a:lvl2pPr>
              <a:buClr>
                <a:srgbClr val="F15934"/>
              </a:buClr>
              <a:buSzPct val="60000"/>
              <a:defRPr sz="2000" b="0" i="0">
                <a:solidFill>
                  <a:schemeClr val="tx1"/>
                </a:solidFill>
                <a:latin typeface="Arial" panose="020B0604020202020204" pitchFamily="34" charset="0"/>
                <a:cs typeface="Arial" panose="020B0604020202020204" pitchFamily="34" charset="0"/>
              </a:defRPr>
            </a:lvl2pPr>
            <a:lvl3pPr>
              <a:buClr>
                <a:srgbClr val="F15934"/>
              </a:buClr>
              <a:buSzPct val="60000"/>
              <a:defRPr sz="2000" b="0" i="0">
                <a:solidFill>
                  <a:schemeClr val="tx1"/>
                </a:solidFill>
                <a:latin typeface="Arial" panose="020B0604020202020204" pitchFamily="34" charset="0"/>
                <a:cs typeface="Arial" panose="020B0604020202020204" pitchFamily="34" charset="0"/>
              </a:defRPr>
            </a:lvl3pPr>
            <a:lvl4pPr>
              <a:buClr>
                <a:srgbClr val="F15934"/>
              </a:buClr>
              <a:buSzPct val="60000"/>
              <a:defRPr sz="2000" b="0" i="0">
                <a:solidFill>
                  <a:schemeClr val="tx1"/>
                </a:solidFill>
                <a:latin typeface="Arial" panose="020B0604020202020204" pitchFamily="34" charset="0"/>
                <a:cs typeface="Arial" panose="020B0604020202020204" pitchFamily="34" charset="0"/>
              </a:defRPr>
            </a:lvl4pPr>
            <a:lvl5pPr>
              <a:buClr>
                <a:srgbClr val="F15934"/>
              </a:buClr>
              <a:buSzPct val="60000"/>
              <a:defRPr sz="2000" b="0" i="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
            <a:extLst>
              <a:ext uri="{FF2B5EF4-FFF2-40B4-BE49-F238E27FC236}">
                <a16:creationId xmlns:a16="http://schemas.microsoft.com/office/drawing/2014/main" id="{BBB4E26C-3274-6B44-BC40-045BE94ED8F3}"/>
              </a:ext>
            </a:extLst>
          </p:cNvPr>
          <p:cNvSpPr>
            <a:spLocks noGrp="1"/>
          </p:cNvSpPr>
          <p:nvPr>
            <p:ph sz="quarter" idx="13"/>
          </p:nvPr>
        </p:nvSpPr>
        <p:spPr>
          <a:xfrm>
            <a:off x="6477000" y="1855789"/>
            <a:ext cx="4861560" cy="4435283"/>
          </a:xfrm>
          <a:prstGeom prst="rect">
            <a:avLst/>
          </a:prstGeom>
        </p:spPr>
        <p:txBody>
          <a:bodyPr/>
          <a:lstStyle>
            <a:lvl1pPr marL="0" indent="0">
              <a:buClr>
                <a:srgbClr val="F15934"/>
              </a:buClr>
              <a:buSzPct val="60000"/>
              <a:buNone/>
              <a:tabLst/>
              <a:defRPr sz="2400" b="1" i="0">
                <a:solidFill>
                  <a:srgbClr val="F15934"/>
                </a:solidFill>
                <a:latin typeface="Arial" panose="020B0604020202020204" pitchFamily="34" charset="0"/>
                <a:cs typeface="Arial" panose="020B0604020202020204" pitchFamily="34" charset="0"/>
              </a:defRPr>
            </a:lvl1pPr>
            <a:lvl2pPr>
              <a:buClr>
                <a:srgbClr val="F15934"/>
              </a:buClr>
              <a:buSzPct val="60000"/>
              <a:defRPr sz="2000" b="0" i="0">
                <a:solidFill>
                  <a:schemeClr val="tx1"/>
                </a:solidFill>
                <a:latin typeface="Arial" panose="020B0604020202020204" pitchFamily="34" charset="0"/>
                <a:cs typeface="Arial" panose="020B0604020202020204" pitchFamily="34" charset="0"/>
              </a:defRPr>
            </a:lvl2pPr>
            <a:lvl3pPr>
              <a:buClr>
                <a:srgbClr val="F15934"/>
              </a:buClr>
              <a:buSzPct val="60000"/>
              <a:defRPr sz="2000" b="0" i="0">
                <a:solidFill>
                  <a:schemeClr val="tx1"/>
                </a:solidFill>
                <a:latin typeface="Arial" panose="020B0604020202020204" pitchFamily="34" charset="0"/>
                <a:cs typeface="Arial" panose="020B0604020202020204" pitchFamily="34" charset="0"/>
              </a:defRPr>
            </a:lvl3pPr>
            <a:lvl4pPr>
              <a:buClr>
                <a:srgbClr val="F15934"/>
              </a:buClr>
              <a:buSzPct val="60000"/>
              <a:defRPr sz="2000" b="0" i="0">
                <a:solidFill>
                  <a:schemeClr val="tx1"/>
                </a:solidFill>
                <a:latin typeface="Arial" panose="020B0604020202020204" pitchFamily="34" charset="0"/>
                <a:cs typeface="Arial" panose="020B0604020202020204" pitchFamily="34" charset="0"/>
              </a:defRPr>
            </a:lvl4pPr>
            <a:lvl5pPr>
              <a:buClr>
                <a:srgbClr val="F15934"/>
              </a:buClr>
              <a:buSzPct val="60000"/>
              <a:defRPr sz="2000" b="0" i="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719908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itle,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4AAC3D4-C28D-E042-887C-2CEBC9BD7C5D}"/>
              </a:ext>
            </a:extLst>
          </p:cNvPr>
          <p:cNvSpPr/>
          <p:nvPr userDrawn="1"/>
        </p:nvSpPr>
        <p:spPr>
          <a:xfrm>
            <a:off x="4151376" y="1426464"/>
            <a:ext cx="3931920" cy="54315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4" name="Title 1">
            <a:extLst>
              <a:ext uri="{FF2B5EF4-FFF2-40B4-BE49-F238E27FC236}">
                <a16:creationId xmlns:a16="http://schemas.microsoft.com/office/drawing/2014/main" id="{D2776BFF-2D8E-5443-9DD8-7518895CAD4D}"/>
              </a:ext>
            </a:extLst>
          </p:cNvPr>
          <p:cNvSpPr>
            <a:spLocks noGrp="1"/>
          </p:cNvSpPr>
          <p:nvPr>
            <p:ph type="title"/>
          </p:nvPr>
        </p:nvSpPr>
        <p:spPr>
          <a:xfrm>
            <a:off x="762000" y="1"/>
            <a:ext cx="10018776" cy="1417320"/>
          </a:xfrm>
          <a:prstGeom prst="rect">
            <a:avLst/>
          </a:prstGeom>
        </p:spPr>
        <p:txBody>
          <a:bodyPr lIns="0" anchor="ctr"/>
          <a:lstStyle>
            <a:lvl1pPr>
              <a:defRPr b="0" i="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Content Placeholder 2">
            <a:extLst>
              <a:ext uri="{FF2B5EF4-FFF2-40B4-BE49-F238E27FC236}">
                <a16:creationId xmlns:a16="http://schemas.microsoft.com/office/drawing/2014/main" id="{8E3667D3-938E-2B4A-81B9-3C6F05497602}"/>
              </a:ext>
            </a:extLst>
          </p:cNvPr>
          <p:cNvSpPr>
            <a:spLocks noGrp="1"/>
          </p:cNvSpPr>
          <p:nvPr>
            <p:ph sz="quarter" idx="12"/>
          </p:nvPr>
        </p:nvSpPr>
        <p:spPr>
          <a:xfrm>
            <a:off x="762000" y="1855789"/>
            <a:ext cx="3110591" cy="4435283"/>
          </a:xfrm>
          <a:prstGeom prst="rect">
            <a:avLst/>
          </a:prstGeom>
        </p:spPr>
        <p:txBody>
          <a:bodyPr/>
          <a:lstStyle>
            <a:lvl1pPr marL="0" indent="0">
              <a:buClr>
                <a:srgbClr val="F15934"/>
              </a:buClr>
              <a:buSzPct val="60000"/>
              <a:buNone/>
              <a:tabLst/>
              <a:defRPr sz="2400" b="1" i="0">
                <a:solidFill>
                  <a:srgbClr val="F15934"/>
                </a:solidFill>
                <a:latin typeface="Arial" panose="020B0604020202020204" pitchFamily="34" charset="0"/>
                <a:cs typeface="Arial" panose="020B0604020202020204" pitchFamily="34" charset="0"/>
              </a:defRPr>
            </a:lvl1pPr>
            <a:lvl2pPr>
              <a:buClr>
                <a:srgbClr val="F15934"/>
              </a:buClr>
              <a:buSzPct val="60000"/>
              <a:defRPr sz="2000" b="0" i="0">
                <a:solidFill>
                  <a:schemeClr val="tx1"/>
                </a:solidFill>
                <a:latin typeface="Arial" panose="020B0604020202020204" pitchFamily="34" charset="0"/>
                <a:cs typeface="Arial" panose="020B0604020202020204" pitchFamily="34" charset="0"/>
              </a:defRPr>
            </a:lvl2pPr>
            <a:lvl3pPr>
              <a:buClr>
                <a:srgbClr val="F15934"/>
              </a:buClr>
              <a:buSzPct val="60000"/>
              <a:defRPr sz="2000" b="0" i="0">
                <a:solidFill>
                  <a:schemeClr val="tx1"/>
                </a:solidFill>
                <a:latin typeface="Arial" panose="020B0604020202020204" pitchFamily="34" charset="0"/>
                <a:cs typeface="Arial" panose="020B0604020202020204" pitchFamily="34" charset="0"/>
              </a:defRPr>
            </a:lvl3pPr>
            <a:lvl4pPr>
              <a:buClr>
                <a:srgbClr val="F15934"/>
              </a:buClr>
              <a:buSzPct val="60000"/>
              <a:defRPr sz="2000" b="0" i="0">
                <a:solidFill>
                  <a:schemeClr val="tx1"/>
                </a:solidFill>
                <a:latin typeface="Arial" panose="020B0604020202020204" pitchFamily="34" charset="0"/>
                <a:cs typeface="Arial" panose="020B0604020202020204" pitchFamily="34" charset="0"/>
              </a:defRPr>
            </a:lvl4pPr>
            <a:lvl5pPr>
              <a:buClr>
                <a:srgbClr val="F15934"/>
              </a:buClr>
              <a:buSzPct val="60000"/>
              <a:defRPr sz="2000" b="0" i="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E2D8C58B-BEAE-6E4C-BA5B-5BBE275957B9}"/>
              </a:ext>
            </a:extLst>
          </p:cNvPr>
          <p:cNvSpPr>
            <a:spLocks noGrp="1"/>
          </p:cNvSpPr>
          <p:nvPr>
            <p:ph sz="quarter" idx="13"/>
          </p:nvPr>
        </p:nvSpPr>
        <p:spPr>
          <a:xfrm>
            <a:off x="4544568" y="1855789"/>
            <a:ext cx="3110591" cy="4435283"/>
          </a:xfrm>
          <a:prstGeom prst="rect">
            <a:avLst/>
          </a:prstGeom>
        </p:spPr>
        <p:txBody>
          <a:bodyPr/>
          <a:lstStyle>
            <a:lvl1pPr marL="0" indent="0">
              <a:buClr>
                <a:srgbClr val="F15934"/>
              </a:buClr>
              <a:buSzPct val="60000"/>
              <a:buNone/>
              <a:tabLst/>
              <a:defRPr sz="2400" b="1" i="0">
                <a:solidFill>
                  <a:srgbClr val="F15934"/>
                </a:solidFill>
                <a:latin typeface="Arial" panose="020B0604020202020204" pitchFamily="34" charset="0"/>
                <a:cs typeface="Arial" panose="020B0604020202020204" pitchFamily="34" charset="0"/>
              </a:defRPr>
            </a:lvl1pPr>
            <a:lvl2pPr>
              <a:buClr>
                <a:srgbClr val="F15934"/>
              </a:buClr>
              <a:buSzPct val="60000"/>
              <a:defRPr sz="2000" b="0" i="0">
                <a:solidFill>
                  <a:schemeClr val="tx1"/>
                </a:solidFill>
                <a:latin typeface="Arial" panose="020B0604020202020204" pitchFamily="34" charset="0"/>
                <a:cs typeface="Arial" panose="020B0604020202020204" pitchFamily="34" charset="0"/>
              </a:defRPr>
            </a:lvl2pPr>
            <a:lvl3pPr>
              <a:buClr>
                <a:srgbClr val="F15934"/>
              </a:buClr>
              <a:buSzPct val="60000"/>
              <a:defRPr sz="2000" b="0" i="0">
                <a:solidFill>
                  <a:schemeClr val="tx1"/>
                </a:solidFill>
                <a:latin typeface="Arial" panose="020B0604020202020204" pitchFamily="34" charset="0"/>
                <a:cs typeface="Arial" panose="020B0604020202020204" pitchFamily="34" charset="0"/>
              </a:defRPr>
            </a:lvl3pPr>
            <a:lvl4pPr>
              <a:buClr>
                <a:srgbClr val="F15934"/>
              </a:buClr>
              <a:buSzPct val="60000"/>
              <a:defRPr sz="2000" b="0" i="0">
                <a:solidFill>
                  <a:schemeClr val="tx1"/>
                </a:solidFill>
                <a:latin typeface="Arial" panose="020B0604020202020204" pitchFamily="34" charset="0"/>
                <a:cs typeface="Arial" panose="020B0604020202020204" pitchFamily="34" charset="0"/>
              </a:defRPr>
            </a:lvl4pPr>
            <a:lvl5pPr>
              <a:buClr>
                <a:srgbClr val="F15934"/>
              </a:buClr>
              <a:buSzPct val="60000"/>
              <a:defRPr sz="2000" b="0" i="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8E4576EE-45A6-FC4E-BADD-BAAC199F036E}"/>
              </a:ext>
            </a:extLst>
          </p:cNvPr>
          <p:cNvSpPr>
            <a:spLocks noGrp="1"/>
          </p:cNvSpPr>
          <p:nvPr>
            <p:ph sz="quarter" idx="14"/>
          </p:nvPr>
        </p:nvSpPr>
        <p:spPr>
          <a:xfrm>
            <a:off x="8409432" y="1855789"/>
            <a:ext cx="3110591" cy="4435283"/>
          </a:xfrm>
          <a:prstGeom prst="rect">
            <a:avLst/>
          </a:prstGeom>
        </p:spPr>
        <p:txBody>
          <a:bodyPr/>
          <a:lstStyle>
            <a:lvl1pPr marL="0" indent="0">
              <a:buClr>
                <a:srgbClr val="F15934"/>
              </a:buClr>
              <a:buSzPct val="60000"/>
              <a:buNone/>
              <a:tabLst/>
              <a:defRPr sz="2400" b="1" i="0">
                <a:solidFill>
                  <a:srgbClr val="F15934"/>
                </a:solidFill>
                <a:latin typeface="Arial" panose="020B0604020202020204" pitchFamily="34" charset="0"/>
                <a:cs typeface="Arial" panose="020B0604020202020204" pitchFamily="34" charset="0"/>
              </a:defRPr>
            </a:lvl1pPr>
            <a:lvl2pPr>
              <a:buClr>
                <a:srgbClr val="F15934"/>
              </a:buClr>
              <a:buSzPct val="60000"/>
              <a:defRPr sz="2000" b="0" i="0">
                <a:solidFill>
                  <a:schemeClr val="tx1"/>
                </a:solidFill>
                <a:latin typeface="Arial" panose="020B0604020202020204" pitchFamily="34" charset="0"/>
                <a:cs typeface="Arial" panose="020B0604020202020204" pitchFamily="34" charset="0"/>
              </a:defRPr>
            </a:lvl2pPr>
            <a:lvl3pPr>
              <a:buClr>
                <a:srgbClr val="F15934"/>
              </a:buClr>
              <a:buSzPct val="60000"/>
              <a:defRPr sz="2000" b="0" i="0">
                <a:solidFill>
                  <a:schemeClr val="tx1"/>
                </a:solidFill>
                <a:latin typeface="Arial" panose="020B0604020202020204" pitchFamily="34" charset="0"/>
                <a:cs typeface="Arial" panose="020B0604020202020204" pitchFamily="34" charset="0"/>
              </a:defRPr>
            </a:lvl3pPr>
            <a:lvl4pPr>
              <a:buClr>
                <a:srgbClr val="F15934"/>
              </a:buClr>
              <a:buSzPct val="60000"/>
              <a:defRPr sz="2000" b="0" i="0">
                <a:solidFill>
                  <a:schemeClr val="tx1"/>
                </a:solidFill>
                <a:latin typeface="Arial" panose="020B0604020202020204" pitchFamily="34" charset="0"/>
                <a:cs typeface="Arial" panose="020B0604020202020204" pitchFamily="34" charset="0"/>
              </a:defRPr>
            </a:lvl4pPr>
            <a:lvl5pPr>
              <a:buClr>
                <a:srgbClr val="F15934"/>
              </a:buClr>
              <a:buSzPct val="60000"/>
              <a:defRPr sz="2000" b="0" i="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084003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2.png"/><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1.jp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oleObject" Target="../embeddings/oleObject1.bin"/><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tags" Target="../tags/tag1.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theme" Target="../theme/theme3.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image" Target="../media/image8.png"/><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image" Target="../media/image7.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5CCBC63-F6BB-6241-BE7B-A01CF9ADAC20}"/>
              </a:ext>
            </a:extLst>
          </p:cNvPr>
          <p:cNvPicPr>
            <a:picLocks noChangeAspect="1"/>
          </p:cNvPicPr>
          <p:nvPr userDrawn="1"/>
        </p:nvPicPr>
        <p:blipFill rotWithShape="1">
          <a:blip r:embed="rId13"/>
          <a:srcRect t="635" b="-1"/>
          <a:stretch/>
        </p:blipFill>
        <p:spPr>
          <a:xfrm>
            <a:off x="-1" y="0"/>
            <a:ext cx="12192001" cy="1430189"/>
          </a:xfrm>
          <a:prstGeom prst="rect">
            <a:avLst/>
          </a:prstGeom>
        </p:spPr>
      </p:pic>
      <p:pic>
        <p:nvPicPr>
          <p:cNvPr id="12" name="Picture 11">
            <a:extLst>
              <a:ext uri="{FF2B5EF4-FFF2-40B4-BE49-F238E27FC236}">
                <a16:creationId xmlns:a16="http://schemas.microsoft.com/office/drawing/2014/main" id="{8EC245BE-61FB-BB4A-8E25-A3E1F791B435}"/>
              </a:ext>
            </a:extLst>
          </p:cNvPr>
          <p:cNvPicPr>
            <a:picLocks noChangeAspect="1"/>
          </p:cNvPicPr>
          <p:nvPr userDrawn="1"/>
        </p:nvPicPr>
        <p:blipFill>
          <a:blip r:embed="rId14"/>
          <a:stretch>
            <a:fillRect/>
          </a:stretch>
        </p:blipFill>
        <p:spPr>
          <a:xfrm>
            <a:off x="10942320" y="54864"/>
            <a:ext cx="1024129" cy="1280160"/>
          </a:xfrm>
          <a:prstGeom prst="rect">
            <a:avLst/>
          </a:prstGeom>
        </p:spPr>
      </p:pic>
      <p:sp>
        <p:nvSpPr>
          <p:cNvPr id="13" name="TextBox 12">
            <a:extLst>
              <a:ext uri="{FF2B5EF4-FFF2-40B4-BE49-F238E27FC236}">
                <a16:creationId xmlns:a16="http://schemas.microsoft.com/office/drawing/2014/main" id="{DC36D76A-4CE1-1D47-A2A4-434AB4553162}"/>
              </a:ext>
            </a:extLst>
          </p:cNvPr>
          <p:cNvSpPr txBox="1"/>
          <p:nvPr userDrawn="1"/>
        </p:nvSpPr>
        <p:spPr>
          <a:xfrm>
            <a:off x="11311128" y="6108192"/>
            <a:ext cx="521208" cy="276999"/>
          </a:xfrm>
          <a:prstGeom prst="rect">
            <a:avLst/>
          </a:prstGeom>
          <a:noFill/>
        </p:spPr>
        <p:txBody>
          <a:bodyPr wrap="square" rtlCol="0">
            <a:spAutoFit/>
          </a:bodyPr>
          <a:lstStyle/>
          <a:p>
            <a:pPr algn="r"/>
            <a:fld id="{90F21B5F-06DF-1840-B2F7-3636C65A51F9}" type="slidenum">
              <a:rPr lang="en-US" sz="1200" b="0" i="0" smtClean="0">
                <a:solidFill>
                  <a:schemeClr val="bg1">
                    <a:lumMod val="65000"/>
                  </a:schemeClr>
                </a:solidFill>
                <a:latin typeface="Montserrat Medium" pitchFamily="2" charset="77"/>
              </a:rPr>
              <a:pPr algn="r"/>
              <a:t>‹#›</a:t>
            </a:fld>
            <a:endParaRPr lang="en-US" sz="1200" b="0" i="0" dirty="0">
              <a:solidFill>
                <a:schemeClr val="bg1">
                  <a:lumMod val="65000"/>
                </a:schemeClr>
              </a:solidFill>
              <a:latin typeface="Montserrat Medium" pitchFamily="2" charset="77"/>
            </a:endParaRPr>
          </a:p>
        </p:txBody>
      </p:sp>
      <p:sp>
        <p:nvSpPr>
          <p:cNvPr id="14" name="Rectangle 13">
            <a:extLst>
              <a:ext uri="{FF2B5EF4-FFF2-40B4-BE49-F238E27FC236}">
                <a16:creationId xmlns:a16="http://schemas.microsoft.com/office/drawing/2014/main" id="{CE277AB2-5E37-2148-B9EB-63192DA317FC}"/>
              </a:ext>
            </a:extLst>
          </p:cNvPr>
          <p:cNvSpPr/>
          <p:nvPr userDrawn="1"/>
        </p:nvSpPr>
        <p:spPr>
          <a:xfrm>
            <a:off x="10157021" y="6374907"/>
            <a:ext cx="1808508" cy="215444"/>
          </a:xfrm>
          <a:prstGeom prst="rect">
            <a:avLst/>
          </a:prstGeom>
        </p:spPr>
        <p:txBody>
          <a:bodyPr wrap="none">
            <a:spAutoFit/>
          </a:bodyPr>
          <a:lstStyle/>
          <a:p>
            <a:r>
              <a:rPr lang="en-US" sz="800" b="0" dirty="0">
                <a:solidFill>
                  <a:schemeClr val="bg1">
                    <a:lumMod val="75000"/>
                  </a:schemeClr>
                </a:solidFill>
                <a:effectLst/>
                <a:latin typeface="Montserrat" pitchFamily="2" charset="77"/>
              </a:rPr>
              <a:t>©2022 ESIG. All rights Reserved.</a:t>
            </a:r>
            <a:endParaRPr lang="en-US" sz="800" b="0" dirty="0">
              <a:solidFill>
                <a:schemeClr val="bg1">
                  <a:lumMod val="75000"/>
                </a:schemeClr>
              </a:solidFill>
              <a:effectLst/>
              <a:latin typeface="Montserrat SemiBold" pitchFamily="2" charset="77"/>
            </a:endParaRPr>
          </a:p>
        </p:txBody>
      </p:sp>
    </p:spTree>
    <p:extLst>
      <p:ext uri="{BB962C8B-B14F-4D97-AF65-F5344CB8AC3E}">
        <p14:creationId xmlns:p14="http://schemas.microsoft.com/office/powerpoint/2010/main" val="4141355857"/>
      </p:ext>
    </p:extLst>
  </p:cSld>
  <p:clrMap bg1="lt1" tx1="dk1" bg2="lt2" tx2="dk2" accent1="accent1" accent2="accent2" accent3="accent3" accent4="accent4" accent5="accent5" accent6="accent6" hlink="hlink" folHlink="folHlink"/>
  <p:sldLayoutIdLst>
    <p:sldLayoutId id="2147483705"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20" r:id="rId11"/>
  </p:sldLayoutIdLst>
  <p:hf hdr="0" ftr="0" dt="0"/>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176213" indent="-176213" algn="l" defTabSz="914400" rtl="0" eaLnBrk="1" latinLnBrk="0" hangingPunct="1">
        <a:lnSpc>
          <a:spcPct val="90000"/>
        </a:lnSpc>
        <a:spcBef>
          <a:spcPts val="1000"/>
        </a:spcBef>
        <a:buFont typeface="Wingdings" pitchFamily="2" charset="2"/>
        <a:buChar char="§"/>
        <a:tabLst/>
        <a:defRPr sz="2000" b="1" kern="1200">
          <a:ln>
            <a:noFill/>
          </a:ln>
          <a:solidFill>
            <a:schemeClr val="bg1"/>
          </a:solidFill>
          <a:latin typeface="+mn-lt"/>
          <a:ea typeface="+mn-ea"/>
          <a:cs typeface="+mn-cs"/>
        </a:defRPr>
      </a:lvl1pPr>
      <a:lvl2pPr marL="517525" indent="-231775" algn="l" defTabSz="914400" rtl="0" eaLnBrk="1" latinLnBrk="0" hangingPunct="1">
        <a:lnSpc>
          <a:spcPct val="90000"/>
        </a:lnSpc>
        <a:spcBef>
          <a:spcPts val="500"/>
        </a:spcBef>
        <a:buFont typeface="Wingdings" pitchFamily="2" charset="2"/>
        <a:buChar char="§"/>
        <a:tabLst/>
        <a:defRPr sz="2000" b="1" i="1" kern="1200">
          <a:ln>
            <a:noFill/>
          </a:ln>
          <a:solidFill>
            <a:schemeClr val="bg1"/>
          </a:solidFill>
          <a:latin typeface="+mn-lt"/>
          <a:ea typeface="+mn-ea"/>
          <a:cs typeface="+mn-cs"/>
        </a:defRPr>
      </a:lvl2pPr>
      <a:lvl3pPr marL="858838" indent="-176213" algn="l" defTabSz="914400" rtl="0" eaLnBrk="1" latinLnBrk="0" hangingPunct="1">
        <a:lnSpc>
          <a:spcPct val="90000"/>
        </a:lnSpc>
        <a:spcBef>
          <a:spcPts val="500"/>
        </a:spcBef>
        <a:buFont typeface="Wingdings" pitchFamily="2" charset="2"/>
        <a:buChar char="§"/>
        <a:tabLst/>
        <a:defRPr sz="1800" kern="1200">
          <a:ln>
            <a:noFill/>
          </a:ln>
          <a:solidFill>
            <a:schemeClr val="bg1"/>
          </a:solidFill>
          <a:latin typeface="+mn-lt"/>
          <a:ea typeface="+mn-ea"/>
          <a:cs typeface="+mn-cs"/>
        </a:defRPr>
      </a:lvl3pPr>
      <a:lvl4pPr marL="1270000" indent="-177800" algn="l" defTabSz="914400" rtl="0" eaLnBrk="1" latinLnBrk="0" hangingPunct="1">
        <a:lnSpc>
          <a:spcPct val="90000"/>
        </a:lnSpc>
        <a:spcBef>
          <a:spcPts val="500"/>
        </a:spcBef>
        <a:buFont typeface="Wingdings" pitchFamily="2" charset="2"/>
        <a:buChar char="§"/>
        <a:tabLst/>
        <a:defRPr sz="1600" i="1" kern="1200">
          <a:ln>
            <a:noFill/>
          </a:ln>
          <a:solidFill>
            <a:schemeClr val="bg1"/>
          </a:solidFill>
          <a:latin typeface="+mn-lt"/>
          <a:ea typeface="+mn-ea"/>
          <a:cs typeface="+mn-cs"/>
        </a:defRPr>
      </a:lvl4pPr>
      <a:lvl5pPr marL="1611313" indent="-233363" algn="l" defTabSz="914400" rtl="0" eaLnBrk="1" latinLnBrk="0" hangingPunct="1">
        <a:lnSpc>
          <a:spcPct val="90000"/>
        </a:lnSpc>
        <a:spcBef>
          <a:spcPts val="500"/>
        </a:spcBef>
        <a:buFont typeface="Wingdings" pitchFamily="2" charset="2"/>
        <a:buChar char="§"/>
        <a:tabLst/>
        <a:defRPr sz="1400" kern="1200">
          <a:ln>
            <a:noFill/>
          </a:ln>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5CCBC63-F6BB-6241-BE7B-A01CF9ADAC20}"/>
              </a:ext>
            </a:extLst>
          </p:cNvPr>
          <p:cNvPicPr>
            <a:picLocks noChangeAspect="1"/>
          </p:cNvPicPr>
          <p:nvPr userDrawn="1"/>
        </p:nvPicPr>
        <p:blipFill rotWithShape="1">
          <a:blip r:embed="rId14"/>
          <a:srcRect t="635" b="-1"/>
          <a:stretch/>
        </p:blipFill>
        <p:spPr>
          <a:xfrm>
            <a:off x="-1" y="0"/>
            <a:ext cx="12192001" cy="1430189"/>
          </a:xfrm>
          <a:prstGeom prst="rect">
            <a:avLst/>
          </a:prstGeom>
        </p:spPr>
      </p:pic>
      <p:pic>
        <p:nvPicPr>
          <p:cNvPr id="12" name="Picture 11">
            <a:extLst>
              <a:ext uri="{FF2B5EF4-FFF2-40B4-BE49-F238E27FC236}">
                <a16:creationId xmlns:a16="http://schemas.microsoft.com/office/drawing/2014/main" id="{8EC245BE-61FB-BB4A-8E25-A3E1F791B435}"/>
              </a:ext>
            </a:extLst>
          </p:cNvPr>
          <p:cNvPicPr>
            <a:picLocks noChangeAspect="1"/>
          </p:cNvPicPr>
          <p:nvPr userDrawn="1"/>
        </p:nvPicPr>
        <p:blipFill>
          <a:blip r:embed="rId15"/>
          <a:stretch>
            <a:fillRect/>
          </a:stretch>
        </p:blipFill>
        <p:spPr>
          <a:xfrm>
            <a:off x="10942320" y="54864"/>
            <a:ext cx="1024129" cy="1280160"/>
          </a:xfrm>
          <a:prstGeom prst="rect">
            <a:avLst/>
          </a:prstGeom>
        </p:spPr>
      </p:pic>
      <p:sp>
        <p:nvSpPr>
          <p:cNvPr id="13" name="TextBox 12">
            <a:extLst>
              <a:ext uri="{FF2B5EF4-FFF2-40B4-BE49-F238E27FC236}">
                <a16:creationId xmlns:a16="http://schemas.microsoft.com/office/drawing/2014/main" id="{DC36D76A-4CE1-1D47-A2A4-434AB4553162}"/>
              </a:ext>
            </a:extLst>
          </p:cNvPr>
          <p:cNvSpPr txBox="1"/>
          <p:nvPr userDrawn="1"/>
        </p:nvSpPr>
        <p:spPr>
          <a:xfrm>
            <a:off x="11311128" y="6108192"/>
            <a:ext cx="521208" cy="276999"/>
          </a:xfrm>
          <a:prstGeom prst="rect">
            <a:avLst/>
          </a:prstGeom>
          <a:noFill/>
        </p:spPr>
        <p:txBody>
          <a:bodyPr wrap="square" rtlCol="0">
            <a:spAutoFit/>
          </a:bodyPr>
          <a:lstStyle/>
          <a:p>
            <a:pPr algn="r"/>
            <a:fld id="{90F21B5F-06DF-1840-B2F7-3636C65A51F9}" type="slidenum">
              <a:rPr lang="en-US" sz="1200" b="0" i="0" smtClean="0">
                <a:solidFill>
                  <a:schemeClr val="bg1">
                    <a:lumMod val="65000"/>
                  </a:schemeClr>
                </a:solidFill>
                <a:latin typeface="Montserrat Medium" pitchFamily="2" charset="77"/>
              </a:rPr>
              <a:pPr algn="r"/>
              <a:t>‹#›</a:t>
            </a:fld>
            <a:endParaRPr lang="en-US" sz="1200" b="0" i="0" dirty="0">
              <a:solidFill>
                <a:schemeClr val="bg1">
                  <a:lumMod val="65000"/>
                </a:schemeClr>
              </a:solidFill>
              <a:latin typeface="Montserrat Medium" pitchFamily="2" charset="77"/>
            </a:endParaRPr>
          </a:p>
        </p:txBody>
      </p:sp>
      <p:sp>
        <p:nvSpPr>
          <p:cNvPr id="14" name="Rectangle 13">
            <a:extLst>
              <a:ext uri="{FF2B5EF4-FFF2-40B4-BE49-F238E27FC236}">
                <a16:creationId xmlns:a16="http://schemas.microsoft.com/office/drawing/2014/main" id="{CE277AB2-5E37-2148-B9EB-63192DA317FC}"/>
              </a:ext>
            </a:extLst>
          </p:cNvPr>
          <p:cNvSpPr/>
          <p:nvPr userDrawn="1"/>
        </p:nvSpPr>
        <p:spPr>
          <a:xfrm>
            <a:off x="10157021" y="6374907"/>
            <a:ext cx="1808508" cy="215444"/>
          </a:xfrm>
          <a:prstGeom prst="rect">
            <a:avLst/>
          </a:prstGeom>
        </p:spPr>
        <p:txBody>
          <a:bodyPr wrap="none">
            <a:spAutoFit/>
          </a:bodyPr>
          <a:lstStyle/>
          <a:p>
            <a:r>
              <a:rPr lang="en-US" sz="800" b="0" dirty="0">
                <a:solidFill>
                  <a:schemeClr val="bg1">
                    <a:lumMod val="75000"/>
                  </a:schemeClr>
                </a:solidFill>
                <a:effectLst/>
                <a:latin typeface="Montserrat" pitchFamily="2" charset="77"/>
              </a:rPr>
              <a:t>©2022 ESIG. All rights Reserved.</a:t>
            </a:r>
            <a:endParaRPr lang="en-US" sz="800" b="0" dirty="0">
              <a:solidFill>
                <a:schemeClr val="bg1">
                  <a:lumMod val="75000"/>
                </a:schemeClr>
              </a:solidFill>
              <a:effectLst/>
              <a:latin typeface="Montserrat SemiBold" pitchFamily="2" charset="77"/>
            </a:endParaRPr>
          </a:p>
        </p:txBody>
      </p:sp>
    </p:spTree>
    <p:extLst>
      <p:ext uri="{BB962C8B-B14F-4D97-AF65-F5344CB8AC3E}">
        <p14:creationId xmlns:p14="http://schemas.microsoft.com/office/powerpoint/2010/main" val="1632418525"/>
      </p:ext>
    </p:extLst>
  </p:cSld>
  <p:clrMap bg1="lt1" tx1="dk1" bg2="lt2" tx2="dk2" accent1="accent1" accent2="accent2" accent3="accent3" accent4="accent4" accent5="accent5" accent6="accent6" hlink="hlink" folHlink="folHlink"/>
  <p:sldLayoutIdLst>
    <p:sldLayoutId id="2147483815" r:id="rId1"/>
    <p:sldLayoutId id="2147483816" r:id="rId2"/>
    <p:sldLayoutId id="2147483817" r:id="rId3"/>
    <p:sldLayoutId id="2147483818" r:id="rId4"/>
    <p:sldLayoutId id="2147483819" r:id="rId5"/>
    <p:sldLayoutId id="2147483820" r:id="rId6"/>
    <p:sldLayoutId id="2147483821" r:id="rId7"/>
    <p:sldLayoutId id="2147483822" r:id="rId8"/>
    <p:sldLayoutId id="2147483823" r:id="rId9"/>
    <p:sldLayoutId id="2147483824" r:id="rId10"/>
    <p:sldLayoutId id="2147483825" r:id="rId11"/>
    <p:sldLayoutId id="2147483826" r:id="rId12"/>
  </p:sldLayoutIdLst>
  <p:hf hdr="0" ftr="0" dt="0"/>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176213" indent="-176213" algn="l" defTabSz="914400" rtl="0" eaLnBrk="1" latinLnBrk="0" hangingPunct="1">
        <a:lnSpc>
          <a:spcPct val="90000"/>
        </a:lnSpc>
        <a:spcBef>
          <a:spcPts val="1000"/>
        </a:spcBef>
        <a:buFont typeface="Wingdings" pitchFamily="2" charset="2"/>
        <a:buChar char="§"/>
        <a:tabLst/>
        <a:defRPr sz="2000" b="1" kern="1200">
          <a:ln>
            <a:noFill/>
          </a:ln>
          <a:solidFill>
            <a:schemeClr val="bg1"/>
          </a:solidFill>
          <a:latin typeface="+mn-lt"/>
          <a:ea typeface="+mn-ea"/>
          <a:cs typeface="+mn-cs"/>
        </a:defRPr>
      </a:lvl1pPr>
      <a:lvl2pPr marL="517525" indent="-231775" algn="l" defTabSz="914400" rtl="0" eaLnBrk="1" latinLnBrk="0" hangingPunct="1">
        <a:lnSpc>
          <a:spcPct val="90000"/>
        </a:lnSpc>
        <a:spcBef>
          <a:spcPts val="500"/>
        </a:spcBef>
        <a:buFont typeface="Wingdings" pitchFamily="2" charset="2"/>
        <a:buChar char="§"/>
        <a:tabLst/>
        <a:defRPr sz="2000" b="1" i="1" kern="1200">
          <a:ln>
            <a:noFill/>
          </a:ln>
          <a:solidFill>
            <a:schemeClr val="bg1"/>
          </a:solidFill>
          <a:latin typeface="+mn-lt"/>
          <a:ea typeface="+mn-ea"/>
          <a:cs typeface="+mn-cs"/>
        </a:defRPr>
      </a:lvl2pPr>
      <a:lvl3pPr marL="858838" indent="-176213" algn="l" defTabSz="914400" rtl="0" eaLnBrk="1" latinLnBrk="0" hangingPunct="1">
        <a:lnSpc>
          <a:spcPct val="90000"/>
        </a:lnSpc>
        <a:spcBef>
          <a:spcPts val="500"/>
        </a:spcBef>
        <a:buFont typeface="Wingdings" pitchFamily="2" charset="2"/>
        <a:buChar char="§"/>
        <a:tabLst/>
        <a:defRPr sz="1800" kern="1200">
          <a:ln>
            <a:noFill/>
          </a:ln>
          <a:solidFill>
            <a:schemeClr val="bg1"/>
          </a:solidFill>
          <a:latin typeface="+mn-lt"/>
          <a:ea typeface="+mn-ea"/>
          <a:cs typeface="+mn-cs"/>
        </a:defRPr>
      </a:lvl3pPr>
      <a:lvl4pPr marL="1270000" indent="-177800" algn="l" defTabSz="914400" rtl="0" eaLnBrk="1" latinLnBrk="0" hangingPunct="1">
        <a:lnSpc>
          <a:spcPct val="90000"/>
        </a:lnSpc>
        <a:spcBef>
          <a:spcPts val="500"/>
        </a:spcBef>
        <a:buFont typeface="Wingdings" pitchFamily="2" charset="2"/>
        <a:buChar char="§"/>
        <a:tabLst/>
        <a:defRPr sz="1600" i="1" kern="1200">
          <a:ln>
            <a:noFill/>
          </a:ln>
          <a:solidFill>
            <a:schemeClr val="bg1"/>
          </a:solidFill>
          <a:latin typeface="+mn-lt"/>
          <a:ea typeface="+mn-ea"/>
          <a:cs typeface="+mn-cs"/>
        </a:defRPr>
      </a:lvl4pPr>
      <a:lvl5pPr marL="1611313" indent="-233363" algn="l" defTabSz="914400" rtl="0" eaLnBrk="1" latinLnBrk="0" hangingPunct="1">
        <a:lnSpc>
          <a:spcPct val="90000"/>
        </a:lnSpc>
        <a:spcBef>
          <a:spcPts val="500"/>
        </a:spcBef>
        <a:buFont typeface="Wingdings" pitchFamily="2" charset="2"/>
        <a:buChar char="§"/>
        <a:tabLst/>
        <a:defRPr sz="1400" kern="1200">
          <a:ln>
            <a:noFill/>
          </a:ln>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D572DC51-26D6-4A70-9A63-3F1095D35C91}"/>
              </a:ext>
            </a:extLst>
          </p:cNvPr>
          <p:cNvGraphicFramePr>
            <a:graphicFrameLocks noChangeAspect="1"/>
          </p:cNvGraphicFramePr>
          <p:nvPr userDrawn="1">
            <p:custDataLst>
              <p:tags r:id="rId25"/>
            </p:custDataLst>
            <p:extLst>
              <p:ext uri="{D42A27DB-BD31-4B8C-83A1-F6EECF244321}">
                <p14:modId xmlns:p14="http://schemas.microsoft.com/office/powerpoint/2010/main" val="134947660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26" imgW="344" imgH="344" progId="TCLayout.ActiveDocument.1">
                  <p:embed/>
                </p:oleObj>
              </mc:Choice>
              <mc:Fallback>
                <p:oleObj name="think-cell Folie" r:id="rId26" imgW="344" imgH="344" progId="TCLayout.ActiveDocument.1">
                  <p:embed/>
                  <p:pic>
                    <p:nvPicPr>
                      <p:cNvPr id="8" name="Objekt 7" hidden="1">
                        <a:extLst>
                          <a:ext uri="{FF2B5EF4-FFF2-40B4-BE49-F238E27FC236}">
                            <a16:creationId xmlns:a16="http://schemas.microsoft.com/office/drawing/2014/main" id="{D572DC51-26D6-4A70-9A63-3F1095D35C91}"/>
                          </a:ext>
                        </a:extLst>
                      </p:cNvPr>
                      <p:cNvPicPr/>
                      <p:nvPr/>
                    </p:nvPicPr>
                    <p:blipFill>
                      <a:blip r:embed="rId27"/>
                      <a:stretch>
                        <a:fillRect/>
                      </a:stretch>
                    </p:blipFill>
                    <p:spPr>
                      <a:xfrm>
                        <a:off x="2118" y="2118"/>
                        <a:ext cx="2117" cy="2117"/>
                      </a:xfrm>
                      <a:prstGeom prst="rect">
                        <a:avLst/>
                      </a:prstGeom>
                    </p:spPr>
                  </p:pic>
                </p:oleObj>
              </mc:Fallback>
            </mc:AlternateContent>
          </a:graphicData>
        </a:graphic>
      </p:graphicFrame>
      <p:sp>
        <p:nvSpPr>
          <p:cNvPr id="2" name="Titelplatzhalter 1"/>
          <p:cNvSpPr>
            <a:spLocks noGrp="1"/>
          </p:cNvSpPr>
          <p:nvPr>
            <p:ph type="title"/>
          </p:nvPr>
        </p:nvSpPr>
        <p:spPr bwMode="gray">
          <a:xfrm>
            <a:off x="768000" y="333200"/>
            <a:ext cx="10080000" cy="864000"/>
          </a:xfrm>
          <a:prstGeom prst="rect">
            <a:avLst/>
          </a:prstGeom>
        </p:spPr>
        <p:txBody>
          <a:bodyPr vert="horz" lIns="0" tIns="0" rIns="0" bIns="0" rtlCol="0" anchor="t" anchorCtr="0">
            <a:noAutofit/>
          </a:bodyPr>
          <a:lstStyle/>
          <a:p>
            <a:r>
              <a:rPr lang="en-US" dirty="0"/>
              <a:t>Click to add title</a:t>
            </a:r>
            <a:endParaRPr lang="en-US" noProof="0" dirty="0"/>
          </a:p>
        </p:txBody>
      </p:sp>
      <p:sp>
        <p:nvSpPr>
          <p:cNvPr id="3" name="Textplatzhalter 2"/>
          <p:cNvSpPr>
            <a:spLocks noGrp="1"/>
          </p:cNvSpPr>
          <p:nvPr>
            <p:ph type="body" idx="1"/>
          </p:nvPr>
        </p:nvSpPr>
        <p:spPr bwMode="gray">
          <a:xfrm>
            <a:off x="768000" y="1460500"/>
            <a:ext cx="10656000" cy="4273552"/>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noProof="0" dirty="0"/>
          </a:p>
        </p:txBody>
      </p:sp>
      <p:sp>
        <p:nvSpPr>
          <p:cNvPr id="4" name="Datumsplatzhalter 3"/>
          <p:cNvSpPr>
            <a:spLocks noGrp="1"/>
          </p:cNvSpPr>
          <p:nvPr>
            <p:ph type="dt" sz="half" idx="2"/>
          </p:nvPr>
        </p:nvSpPr>
        <p:spPr bwMode="gray">
          <a:xfrm>
            <a:off x="384000" y="6497381"/>
            <a:ext cx="1200000" cy="184665"/>
          </a:xfrm>
          <a:prstGeom prst="rect">
            <a:avLst/>
          </a:prstGeom>
        </p:spPr>
        <p:txBody>
          <a:bodyPr vert="horz" lIns="0" tIns="0" rIns="0" bIns="0" rtlCol="0" anchor="ctr">
            <a:noAutofit/>
          </a:bodyPr>
          <a:lstStyle>
            <a:lvl1pPr algn="l">
              <a:defRPr sz="933">
                <a:solidFill>
                  <a:schemeClr val="accent1"/>
                </a:solidFill>
              </a:defRPr>
            </a:lvl1pPr>
          </a:lstStyle>
          <a:p>
            <a:fld id="{76B8B2E8-CE5C-45CD-93BC-6BD248305E0D}" type="datetime1">
              <a:rPr lang="en-US" noProof="0" smtClean="0"/>
              <a:t>6/19/2025</a:t>
            </a:fld>
            <a:endParaRPr lang="en-US" noProof="0" dirty="0"/>
          </a:p>
        </p:txBody>
      </p:sp>
      <p:sp>
        <p:nvSpPr>
          <p:cNvPr id="5" name="Fußzeilenplatzhalter 4"/>
          <p:cNvSpPr>
            <a:spLocks noGrp="1"/>
          </p:cNvSpPr>
          <p:nvPr>
            <p:ph type="ftr" sz="quarter" idx="3"/>
          </p:nvPr>
        </p:nvSpPr>
        <p:spPr bwMode="gray">
          <a:xfrm>
            <a:off x="1788160" y="6497381"/>
            <a:ext cx="3860800" cy="184665"/>
          </a:xfrm>
          <a:prstGeom prst="rect">
            <a:avLst/>
          </a:prstGeom>
        </p:spPr>
        <p:txBody>
          <a:bodyPr vert="horz" lIns="0" tIns="0" rIns="0" bIns="0" rtlCol="0" anchor="ctr">
            <a:noAutofit/>
          </a:bodyPr>
          <a:lstStyle>
            <a:lvl1pPr algn="l">
              <a:defRPr sz="933">
                <a:solidFill>
                  <a:schemeClr val="accent1"/>
                </a:solidFill>
              </a:defRPr>
            </a:lvl1pPr>
          </a:lstStyle>
          <a:p>
            <a:r>
              <a:rPr lang="en-US" noProof="0" dirty="0"/>
              <a:t>© Forum Network Technology/Network Operation in the VDE</a:t>
            </a:r>
          </a:p>
        </p:txBody>
      </p:sp>
      <p:sp>
        <p:nvSpPr>
          <p:cNvPr id="6" name="Foliennummernplatzhalter 5"/>
          <p:cNvSpPr>
            <a:spLocks noGrp="1"/>
          </p:cNvSpPr>
          <p:nvPr>
            <p:ph type="sldNum" sz="quarter" idx="4"/>
          </p:nvPr>
        </p:nvSpPr>
        <p:spPr bwMode="gray">
          <a:xfrm>
            <a:off x="9888000" y="6497381"/>
            <a:ext cx="1920000" cy="184665"/>
          </a:xfrm>
          <a:prstGeom prst="rect">
            <a:avLst/>
          </a:prstGeom>
        </p:spPr>
        <p:txBody>
          <a:bodyPr vert="horz" lIns="0" tIns="0" rIns="0" bIns="0" rtlCol="0" anchor="ctr">
            <a:noAutofit/>
          </a:bodyPr>
          <a:lstStyle>
            <a:lvl1pPr algn="r">
              <a:defRPr sz="933">
                <a:solidFill>
                  <a:schemeClr val="accent1"/>
                </a:solidFill>
              </a:defRPr>
            </a:lvl1pPr>
          </a:lstStyle>
          <a:p>
            <a:fld id="{2AA1E7D3-1333-45EE-ABB9-51527D316BA3}" type="slidenum">
              <a:rPr lang="en-US" noProof="0" smtClean="0"/>
              <a:pPr/>
              <a:t>‹#›</a:t>
            </a:fld>
            <a:endParaRPr lang="en-US" noProof="0" dirty="0"/>
          </a:p>
        </p:txBody>
      </p:sp>
      <p:grpSp>
        <p:nvGrpSpPr>
          <p:cNvPr id="13" name="Gruppieren 12">
            <a:extLst>
              <a:ext uri="{FF2B5EF4-FFF2-40B4-BE49-F238E27FC236}">
                <a16:creationId xmlns:a16="http://schemas.microsoft.com/office/drawing/2014/main" id="{89AAAE78-1719-465D-9F35-4970C92972D0}"/>
              </a:ext>
            </a:extLst>
          </p:cNvPr>
          <p:cNvGrpSpPr/>
          <p:nvPr userDrawn="1"/>
        </p:nvGrpSpPr>
        <p:grpSpPr>
          <a:xfrm>
            <a:off x="384000" y="5997304"/>
            <a:ext cx="11424000" cy="576000"/>
            <a:chOff x="288000" y="4497978"/>
            <a:chExt cx="8568000" cy="432000"/>
          </a:xfrm>
        </p:grpSpPr>
        <p:grpSp>
          <p:nvGrpSpPr>
            <p:cNvPr id="15" name="Gruppieren 26">
              <a:extLst>
                <a:ext uri="{FF2B5EF4-FFF2-40B4-BE49-F238E27FC236}">
                  <a16:creationId xmlns:a16="http://schemas.microsoft.com/office/drawing/2014/main" id="{40502425-F36E-4FD8-A504-BDC769B7EF72}"/>
                </a:ext>
              </a:extLst>
            </p:cNvPr>
            <p:cNvGrpSpPr/>
            <p:nvPr/>
          </p:nvGrpSpPr>
          <p:grpSpPr bwMode="gray">
            <a:xfrm>
              <a:off x="288000" y="4567498"/>
              <a:ext cx="8568000" cy="288000"/>
              <a:chOff x="288000" y="4567498"/>
              <a:chExt cx="8568000" cy="288000"/>
            </a:xfrm>
            <a:solidFill>
              <a:schemeClr val="accent2"/>
            </a:solidFill>
          </p:grpSpPr>
          <p:cxnSp>
            <p:nvCxnSpPr>
              <p:cNvPr id="17" name="Gerade Verbindung 15">
                <a:extLst>
                  <a:ext uri="{FF2B5EF4-FFF2-40B4-BE49-F238E27FC236}">
                    <a16:creationId xmlns:a16="http://schemas.microsoft.com/office/drawing/2014/main" id="{B92CD9B1-AA61-4E76-B8C0-18A96EBD4B33}"/>
                  </a:ext>
                </a:extLst>
              </p:cNvPr>
              <p:cNvCxnSpPr/>
              <p:nvPr userDrawn="1"/>
            </p:nvCxnSpPr>
            <p:spPr bwMode="gray">
              <a:xfrm>
                <a:off x="288000" y="4711498"/>
                <a:ext cx="8568000" cy="0"/>
              </a:xfrm>
              <a:prstGeom prst="line">
                <a:avLst/>
              </a:prstGeom>
              <a:grpFill/>
              <a:ln w="12700">
                <a:solidFill>
                  <a:srgbClr val="0064B4"/>
                </a:solidFill>
              </a:ln>
            </p:spPr>
            <p:style>
              <a:lnRef idx="2">
                <a:schemeClr val="accent1">
                  <a:shade val="50000"/>
                </a:schemeClr>
              </a:lnRef>
              <a:fillRef idx="1">
                <a:schemeClr val="accent1"/>
              </a:fillRef>
              <a:effectRef idx="0">
                <a:schemeClr val="accent1"/>
              </a:effectRef>
              <a:fontRef idx="minor">
                <a:schemeClr val="lt1"/>
              </a:fontRef>
            </p:style>
          </p:cxnSp>
          <p:sp>
            <p:nvSpPr>
              <p:cNvPr id="18" name="Rechteck 17">
                <a:extLst>
                  <a:ext uri="{FF2B5EF4-FFF2-40B4-BE49-F238E27FC236}">
                    <a16:creationId xmlns:a16="http://schemas.microsoft.com/office/drawing/2014/main" id="{A8C5F88B-F769-4B6F-901C-47847D212572}"/>
                  </a:ext>
                </a:extLst>
              </p:cNvPr>
              <p:cNvSpPr/>
              <p:nvPr userDrawn="1"/>
            </p:nvSpPr>
            <p:spPr bwMode="gray">
              <a:xfrm>
                <a:off x="6264000" y="4567498"/>
                <a:ext cx="2304000" cy="28800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noProof="0" dirty="0"/>
              </a:p>
            </p:txBody>
          </p:sp>
        </p:grpSp>
        <p:pic>
          <p:nvPicPr>
            <p:cNvPr id="16" name="Picture 3" descr="E:\DBBFtemp\Output_DBBF\VDE\Bereiche\VDE_FNN_rgb.png">
              <a:extLst>
                <a:ext uri="{FF2B5EF4-FFF2-40B4-BE49-F238E27FC236}">
                  <a16:creationId xmlns:a16="http://schemas.microsoft.com/office/drawing/2014/main" id="{1B1175B5-DA76-4A8E-829C-F8144B54DBF3}"/>
                </a:ext>
              </a:extLst>
            </p:cNvPr>
            <p:cNvPicPr>
              <a:picLocks noChangeAspect="1" noChangeArrowheads="1"/>
            </p:cNvPicPr>
            <p:nvPr userDrawn="1"/>
          </p:nvPicPr>
          <p:blipFill>
            <a:blip r:embed="rId28" cstate="print">
              <a:extLst>
                <a:ext uri="{28A0092B-C50C-407E-A947-70E740481C1C}">
                  <a14:useLocalDpi xmlns:a14="http://schemas.microsoft.com/office/drawing/2010/main" val="0"/>
                </a:ext>
              </a:extLst>
            </a:blip>
            <a:srcRect/>
            <a:stretch>
              <a:fillRect/>
            </a:stretch>
          </p:blipFill>
          <p:spPr bwMode="auto">
            <a:xfrm>
              <a:off x="6547552" y="4497978"/>
              <a:ext cx="1736895" cy="432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uppieren 13">
            <a:extLst>
              <a:ext uri="{FF2B5EF4-FFF2-40B4-BE49-F238E27FC236}">
                <a16:creationId xmlns:a16="http://schemas.microsoft.com/office/drawing/2014/main" id="{27B7DAC8-A755-4C39-A971-5E6569668F95}"/>
              </a:ext>
            </a:extLst>
          </p:cNvPr>
          <p:cNvGrpSpPr/>
          <p:nvPr userDrawn="1"/>
        </p:nvGrpSpPr>
        <p:grpSpPr>
          <a:xfrm>
            <a:off x="11289840" y="333201"/>
            <a:ext cx="515824" cy="419812"/>
            <a:chOff x="8467379" y="574098"/>
            <a:chExt cx="481621" cy="391975"/>
          </a:xfrm>
          <a:solidFill>
            <a:schemeClr val="accent1"/>
          </a:solidFill>
        </p:grpSpPr>
        <p:sp>
          <p:nvSpPr>
            <p:cNvPr id="19" name="Freihandform: Form 18">
              <a:extLst>
                <a:ext uri="{FF2B5EF4-FFF2-40B4-BE49-F238E27FC236}">
                  <a16:creationId xmlns:a16="http://schemas.microsoft.com/office/drawing/2014/main" id="{4923E439-F099-4B9E-A021-127B405D736A}"/>
                </a:ext>
              </a:extLst>
            </p:cNvPr>
            <p:cNvSpPr/>
            <p:nvPr/>
          </p:nvSpPr>
          <p:spPr>
            <a:xfrm>
              <a:off x="8658727" y="673517"/>
              <a:ext cx="101000" cy="98787"/>
            </a:xfrm>
            <a:custGeom>
              <a:avLst/>
              <a:gdLst>
                <a:gd name="connsiteX0" fmla="*/ 41369 w 101000"/>
                <a:gd name="connsiteY0" fmla="*/ 98787 h 98787"/>
                <a:gd name="connsiteX1" fmla="*/ 0 w 101000"/>
                <a:gd name="connsiteY1" fmla="*/ 0 h 98787"/>
                <a:gd name="connsiteX2" fmla="*/ 18263 w 101000"/>
                <a:gd name="connsiteY2" fmla="*/ 0 h 98787"/>
                <a:gd name="connsiteX3" fmla="*/ 49117 w 101000"/>
                <a:gd name="connsiteY3" fmla="*/ 72776 h 98787"/>
                <a:gd name="connsiteX4" fmla="*/ 80939 w 101000"/>
                <a:gd name="connsiteY4" fmla="*/ 0 h 98787"/>
                <a:gd name="connsiteX5" fmla="*/ 101001 w 101000"/>
                <a:gd name="connsiteY5" fmla="*/ 0 h 98787"/>
                <a:gd name="connsiteX6" fmla="*/ 57695 w 101000"/>
                <a:gd name="connsiteY6" fmla="*/ 98787 h 98787"/>
                <a:gd name="connsiteX7" fmla="*/ 41369 w 101000"/>
                <a:gd name="connsiteY7" fmla="*/ 98787 h 98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000" h="98787">
                  <a:moveTo>
                    <a:pt x="41369" y="98787"/>
                  </a:moveTo>
                  <a:lnTo>
                    <a:pt x="0" y="0"/>
                  </a:lnTo>
                  <a:lnTo>
                    <a:pt x="18263" y="0"/>
                  </a:lnTo>
                  <a:lnTo>
                    <a:pt x="49117" y="72776"/>
                  </a:lnTo>
                  <a:lnTo>
                    <a:pt x="80939" y="0"/>
                  </a:lnTo>
                  <a:lnTo>
                    <a:pt x="101001" y="0"/>
                  </a:lnTo>
                  <a:lnTo>
                    <a:pt x="57695" y="98787"/>
                  </a:lnTo>
                  <a:lnTo>
                    <a:pt x="41369" y="98787"/>
                  </a:lnTo>
                  <a:close/>
                </a:path>
              </a:pathLst>
            </a:custGeom>
            <a:grpFill/>
            <a:ln w="6804" cap="flat">
              <a:noFill/>
              <a:prstDash val="solid"/>
              <a:miter/>
            </a:ln>
          </p:spPr>
          <p:txBody>
            <a:bodyPr rtlCol="0" anchor="ctr"/>
            <a:lstStyle/>
            <a:p>
              <a:endParaRPr lang="de-DE" sz="2400"/>
            </a:p>
          </p:txBody>
        </p:sp>
        <p:sp>
          <p:nvSpPr>
            <p:cNvPr id="20" name="Freihandform: Form 19">
              <a:extLst>
                <a:ext uri="{FF2B5EF4-FFF2-40B4-BE49-F238E27FC236}">
                  <a16:creationId xmlns:a16="http://schemas.microsoft.com/office/drawing/2014/main" id="{2AB0D40F-F419-4208-9CBF-2CE7F3230A43}"/>
                </a:ext>
              </a:extLst>
            </p:cNvPr>
            <p:cNvSpPr/>
            <p:nvPr/>
          </p:nvSpPr>
          <p:spPr>
            <a:xfrm>
              <a:off x="8741465" y="741173"/>
              <a:ext cx="71945" cy="99202"/>
            </a:xfrm>
            <a:custGeom>
              <a:avLst/>
              <a:gdLst>
                <a:gd name="connsiteX0" fmla="*/ 0 w 71945"/>
                <a:gd name="connsiteY0" fmla="*/ 99202 h 99202"/>
                <a:gd name="connsiteX1" fmla="*/ 0 w 71945"/>
                <a:gd name="connsiteY1" fmla="*/ 0 h 99202"/>
                <a:gd name="connsiteX2" fmla="*/ 71946 w 71945"/>
                <a:gd name="connsiteY2" fmla="*/ 0 h 99202"/>
                <a:gd name="connsiteX3" fmla="*/ 71946 w 71945"/>
                <a:gd name="connsiteY3" fmla="*/ 16741 h 99202"/>
                <a:gd name="connsiteX4" fmla="*/ 18263 w 71945"/>
                <a:gd name="connsiteY4" fmla="*/ 16741 h 99202"/>
                <a:gd name="connsiteX5" fmla="*/ 18263 w 71945"/>
                <a:gd name="connsiteY5" fmla="*/ 41646 h 99202"/>
                <a:gd name="connsiteX6" fmla="*/ 56450 w 71945"/>
                <a:gd name="connsiteY6" fmla="*/ 41646 h 99202"/>
                <a:gd name="connsiteX7" fmla="*/ 56450 w 71945"/>
                <a:gd name="connsiteY7" fmla="*/ 59079 h 99202"/>
                <a:gd name="connsiteX8" fmla="*/ 18263 w 71945"/>
                <a:gd name="connsiteY8" fmla="*/ 59079 h 99202"/>
                <a:gd name="connsiteX9" fmla="*/ 18263 w 71945"/>
                <a:gd name="connsiteY9" fmla="*/ 82461 h 99202"/>
                <a:gd name="connsiteX10" fmla="*/ 71946 w 71945"/>
                <a:gd name="connsiteY10" fmla="*/ 82461 h 99202"/>
                <a:gd name="connsiteX11" fmla="*/ 71946 w 71945"/>
                <a:gd name="connsiteY11" fmla="*/ 99202 h 99202"/>
                <a:gd name="connsiteX12" fmla="*/ 0 w 71945"/>
                <a:gd name="connsiteY12" fmla="*/ 99202 h 99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1945" h="99202">
                  <a:moveTo>
                    <a:pt x="0" y="99202"/>
                  </a:moveTo>
                  <a:lnTo>
                    <a:pt x="0" y="0"/>
                  </a:lnTo>
                  <a:lnTo>
                    <a:pt x="71946" y="0"/>
                  </a:lnTo>
                  <a:lnTo>
                    <a:pt x="71946" y="16741"/>
                  </a:lnTo>
                  <a:lnTo>
                    <a:pt x="18263" y="16741"/>
                  </a:lnTo>
                  <a:lnTo>
                    <a:pt x="18263" y="41646"/>
                  </a:lnTo>
                  <a:lnTo>
                    <a:pt x="56450" y="41646"/>
                  </a:lnTo>
                  <a:lnTo>
                    <a:pt x="56450" y="59079"/>
                  </a:lnTo>
                  <a:lnTo>
                    <a:pt x="18263" y="59079"/>
                  </a:lnTo>
                  <a:lnTo>
                    <a:pt x="18263" y="82461"/>
                  </a:lnTo>
                  <a:lnTo>
                    <a:pt x="71946" y="82461"/>
                  </a:lnTo>
                  <a:lnTo>
                    <a:pt x="71946" y="99202"/>
                  </a:lnTo>
                  <a:lnTo>
                    <a:pt x="0" y="99202"/>
                  </a:lnTo>
                  <a:close/>
                </a:path>
              </a:pathLst>
            </a:custGeom>
            <a:grpFill/>
            <a:ln w="6804" cap="flat">
              <a:noFill/>
              <a:prstDash val="solid"/>
              <a:miter/>
            </a:ln>
          </p:spPr>
          <p:txBody>
            <a:bodyPr rtlCol="0" anchor="ctr"/>
            <a:lstStyle/>
            <a:p>
              <a:endParaRPr lang="de-DE" sz="2400"/>
            </a:p>
          </p:txBody>
        </p:sp>
        <p:grpSp>
          <p:nvGrpSpPr>
            <p:cNvPr id="21" name="Grafik 10">
              <a:extLst>
                <a:ext uri="{FF2B5EF4-FFF2-40B4-BE49-F238E27FC236}">
                  <a16:creationId xmlns:a16="http://schemas.microsoft.com/office/drawing/2014/main" id="{839F546B-2695-4589-A168-EF570DF784DE}"/>
                </a:ext>
              </a:extLst>
            </p:cNvPr>
            <p:cNvGrpSpPr/>
            <p:nvPr/>
          </p:nvGrpSpPr>
          <p:grpSpPr>
            <a:xfrm>
              <a:off x="8467379" y="574098"/>
              <a:ext cx="481621" cy="391975"/>
              <a:chOff x="8467379" y="574098"/>
              <a:chExt cx="481621" cy="391975"/>
            </a:xfrm>
            <a:grpFill/>
          </p:grpSpPr>
          <p:sp>
            <p:nvSpPr>
              <p:cNvPr id="22" name="Freihandform: Form 21">
                <a:extLst>
                  <a:ext uri="{FF2B5EF4-FFF2-40B4-BE49-F238E27FC236}">
                    <a16:creationId xmlns:a16="http://schemas.microsoft.com/office/drawing/2014/main" id="{23FF1A60-8542-418D-9C84-2A920F6EED4C}"/>
                  </a:ext>
                </a:extLst>
              </p:cNvPr>
              <p:cNvSpPr/>
              <p:nvPr/>
            </p:nvSpPr>
            <p:spPr>
              <a:xfrm>
                <a:off x="8467379" y="574098"/>
                <a:ext cx="481621" cy="391975"/>
              </a:xfrm>
              <a:custGeom>
                <a:avLst/>
                <a:gdLst>
                  <a:gd name="connsiteX0" fmla="*/ 61689 w 481621"/>
                  <a:gd name="connsiteY0" fmla="*/ 375240 h 391975"/>
                  <a:gd name="connsiteX1" fmla="*/ 419619 w 481621"/>
                  <a:gd name="connsiteY1" fmla="*/ 375240 h 391975"/>
                  <a:gd name="connsiteX2" fmla="*/ 419619 w 481621"/>
                  <a:gd name="connsiteY2" fmla="*/ 314224 h 391975"/>
                  <a:gd name="connsiteX3" fmla="*/ 61689 w 481621"/>
                  <a:gd name="connsiteY3" fmla="*/ 314224 h 391975"/>
                  <a:gd name="connsiteX4" fmla="*/ 213882 w 481621"/>
                  <a:gd name="connsiteY4" fmla="*/ 30869 h 391975"/>
                  <a:gd name="connsiteX5" fmla="*/ 27515 w 481621"/>
                  <a:gd name="connsiteY5" fmla="*/ 241725 h 391975"/>
                  <a:gd name="connsiteX6" fmla="*/ 17415 w 481621"/>
                  <a:gd name="connsiteY6" fmla="*/ 264831 h 391975"/>
                  <a:gd name="connsiteX7" fmla="*/ 52973 w 481621"/>
                  <a:gd name="connsiteY7" fmla="*/ 296238 h 391975"/>
                  <a:gd name="connsiteX8" fmla="*/ 428059 w 481621"/>
                  <a:gd name="connsiteY8" fmla="*/ 296238 h 391975"/>
                  <a:gd name="connsiteX9" fmla="*/ 463617 w 481621"/>
                  <a:gd name="connsiteY9" fmla="*/ 264831 h 391975"/>
                  <a:gd name="connsiteX10" fmla="*/ 453517 w 481621"/>
                  <a:gd name="connsiteY10" fmla="*/ 241725 h 391975"/>
                  <a:gd name="connsiteX11" fmla="*/ 267150 w 481621"/>
                  <a:gd name="connsiteY11" fmla="*/ 30869 h 391975"/>
                  <a:gd name="connsiteX12" fmla="*/ 223408 w 481621"/>
                  <a:gd name="connsiteY12" fmla="*/ 21620 h 391975"/>
                  <a:gd name="connsiteX13" fmla="*/ 214159 w 481621"/>
                  <a:gd name="connsiteY13" fmla="*/ 30869 h 391975"/>
                  <a:gd name="connsiteX14" fmla="*/ 44533 w 481621"/>
                  <a:gd name="connsiteY14" fmla="*/ 391359 h 391975"/>
                  <a:gd name="connsiteX15" fmla="*/ 44533 w 481621"/>
                  <a:gd name="connsiteY15" fmla="*/ 314224 h 391975"/>
                  <a:gd name="connsiteX16" fmla="*/ -156 w 481621"/>
                  <a:gd name="connsiteY16" fmla="*/ 266214 h 391975"/>
                  <a:gd name="connsiteX17" fmla="*/ 11881 w 481621"/>
                  <a:gd name="connsiteY17" fmla="*/ 234531 h 391975"/>
                  <a:gd name="connsiteX18" fmla="*/ 202122 w 481621"/>
                  <a:gd name="connsiteY18" fmla="*/ 17794 h 391975"/>
                  <a:gd name="connsiteX19" fmla="*/ 271778 w 481621"/>
                  <a:gd name="connsiteY19" fmla="*/ 10385 h 391975"/>
                  <a:gd name="connsiteX20" fmla="*/ 279187 w 481621"/>
                  <a:gd name="connsiteY20" fmla="*/ 17794 h 391975"/>
                  <a:gd name="connsiteX21" fmla="*/ 469428 w 481621"/>
                  <a:gd name="connsiteY21" fmla="*/ 234738 h 391975"/>
                  <a:gd name="connsiteX22" fmla="*/ 481465 w 481621"/>
                  <a:gd name="connsiteY22" fmla="*/ 266284 h 391975"/>
                  <a:gd name="connsiteX23" fmla="*/ 436776 w 481621"/>
                  <a:gd name="connsiteY23" fmla="*/ 314709 h 391975"/>
                  <a:gd name="connsiteX24" fmla="*/ 436776 w 481621"/>
                  <a:gd name="connsiteY24" fmla="*/ 391359 h 391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81621" h="391975">
                    <a:moveTo>
                      <a:pt x="61689" y="375240"/>
                    </a:moveTo>
                    <a:lnTo>
                      <a:pt x="419619" y="375240"/>
                    </a:lnTo>
                    <a:lnTo>
                      <a:pt x="419619" y="314224"/>
                    </a:lnTo>
                    <a:lnTo>
                      <a:pt x="61689" y="314224"/>
                    </a:lnTo>
                    <a:close/>
                    <a:moveTo>
                      <a:pt x="213882" y="30869"/>
                    </a:moveTo>
                    <a:lnTo>
                      <a:pt x="27515" y="241725"/>
                    </a:lnTo>
                    <a:cubicBezTo>
                      <a:pt x="21358" y="247882"/>
                      <a:pt x="17754" y="256135"/>
                      <a:pt x="17415" y="264831"/>
                    </a:cubicBezTo>
                    <a:cubicBezTo>
                      <a:pt x="17415" y="284616"/>
                      <a:pt x="34433" y="296238"/>
                      <a:pt x="52973" y="296238"/>
                    </a:cubicBezTo>
                    <a:lnTo>
                      <a:pt x="428059" y="296238"/>
                    </a:lnTo>
                    <a:cubicBezTo>
                      <a:pt x="446599" y="296238"/>
                      <a:pt x="463617" y="284616"/>
                      <a:pt x="463617" y="264831"/>
                    </a:cubicBezTo>
                    <a:cubicBezTo>
                      <a:pt x="463278" y="256135"/>
                      <a:pt x="459674" y="247882"/>
                      <a:pt x="453517" y="241725"/>
                    </a:cubicBezTo>
                    <a:lnTo>
                      <a:pt x="267150" y="30869"/>
                    </a:lnTo>
                    <a:cubicBezTo>
                      <a:pt x="257624" y="16238"/>
                      <a:pt x="238040" y="12094"/>
                      <a:pt x="223408" y="21620"/>
                    </a:cubicBezTo>
                    <a:cubicBezTo>
                      <a:pt x="219714" y="24027"/>
                      <a:pt x="216566" y="27175"/>
                      <a:pt x="214159" y="30869"/>
                    </a:cubicBezTo>
                    <a:moveTo>
                      <a:pt x="44533" y="391359"/>
                    </a:moveTo>
                    <a:lnTo>
                      <a:pt x="44533" y="314224"/>
                    </a:lnTo>
                    <a:cubicBezTo>
                      <a:pt x="18384" y="310627"/>
                      <a:pt x="-156" y="293471"/>
                      <a:pt x="-156" y="266214"/>
                    </a:cubicBezTo>
                    <a:cubicBezTo>
                      <a:pt x="-211" y="254523"/>
                      <a:pt x="4078" y="243234"/>
                      <a:pt x="11881" y="234531"/>
                    </a:cubicBezTo>
                    <a:lnTo>
                      <a:pt x="202122" y="17794"/>
                    </a:lnTo>
                    <a:cubicBezTo>
                      <a:pt x="219313" y="-3485"/>
                      <a:pt x="250499" y="-6806"/>
                      <a:pt x="271778" y="10385"/>
                    </a:cubicBezTo>
                    <a:cubicBezTo>
                      <a:pt x="274504" y="12585"/>
                      <a:pt x="276987" y="15069"/>
                      <a:pt x="279187" y="17794"/>
                    </a:cubicBezTo>
                    <a:lnTo>
                      <a:pt x="469428" y="234738"/>
                    </a:lnTo>
                    <a:cubicBezTo>
                      <a:pt x="477169" y="243420"/>
                      <a:pt x="481458" y="254648"/>
                      <a:pt x="481465" y="266284"/>
                    </a:cubicBezTo>
                    <a:cubicBezTo>
                      <a:pt x="481465" y="294509"/>
                      <a:pt x="463479" y="310420"/>
                      <a:pt x="436776" y="314709"/>
                    </a:cubicBezTo>
                    <a:lnTo>
                      <a:pt x="436776" y="391359"/>
                    </a:lnTo>
                    <a:close/>
                  </a:path>
                </a:pathLst>
              </a:custGeom>
              <a:grpFill/>
              <a:ln w="6804" cap="flat">
                <a:noFill/>
                <a:prstDash val="solid"/>
                <a:miter/>
              </a:ln>
            </p:spPr>
            <p:txBody>
              <a:bodyPr rtlCol="0" anchor="ctr"/>
              <a:lstStyle/>
              <a:p>
                <a:endParaRPr lang="de-DE" sz="2400"/>
              </a:p>
            </p:txBody>
          </p:sp>
          <p:sp>
            <p:nvSpPr>
              <p:cNvPr id="23" name="Freihandform: Form 22">
                <a:extLst>
                  <a:ext uri="{FF2B5EF4-FFF2-40B4-BE49-F238E27FC236}">
                    <a16:creationId xmlns:a16="http://schemas.microsoft.com/office/drawing/2014/main" id="{CABCFF78-7110-4731-ACD6-2DBF0074E843}"/>
                  </a:ext>
                </a:extLst>
              </p:cNvPr>
              <p:cNvSpPr/>
              <p:nvPr/>
            </p:nvSpPr>
            <p:spPr>
              <a:xfrm>
                <a:off x="8600894" y="741104"/>
                <a:ext cx="72084" cy="99340"/>
              </a:xfrm>
              <a:custGeom>
                <a:avLst/>
                <a:gdLst>
                  <a:gd name="connsiteX0" fmla="*/ -157 w 72084"/>
                  <a:gd name="connsiteY0" fmla="*/ 98655 h 99340"/>
                  <a:gd name="connsiteX1" fmla="*/ -157 w 72084"/>
                  <a:gd name="connsiteY1" fmla="*/ -547 h 99340"/>
                  <a:gd name="connsiteX2" fmla="*/ 42319 w 72084"/>
                  <a:gd name="connsiteY2" fmla="*/ -547 h 99340"/>
                  <a:gd name="connsiteX3" fmla="*/ 71858 w 72084"/>
                  <a:gd name="connsiteY3" fmla="*/ 25118 h 99340"/>
                  <a:gd name="connsiteX4" fmla="*/ 71927 w 72084"/>
                  <a:gd name="connsiteY4" fmla="*/ 27124 h 99340"/>
                  <a:gd name="connsiteX5" fmla="*/ 71927 w 72084"/>
                  <a:gd name="connsiteY5" fmla="*/ 70984 h 99340"/>
                  <a:gd name="connsiteX6" fmla="*/ 44325 w 72084"/>
                  <a:gd name="connsiteY6" fmla="*/ 98725 h 99340"/>
                  <a:gd name="connsiteX7" fmla="*/ 42319 w 72084"/>
                  <a:gd name="connsiteY7" fmla="*/ 98655 h 99340"/>
                  <a:gd name="connsiteX8" fmla="*/ 17138 w 72084"/>
                  <a:gd name="connsiteY8" fmla="*/ 16194 h 99340"/>
                  <a:gd name="connsiteX9" fmla="*/ 17138 w 72084"/>
                  <a:gd name="connsiteY9" fmla="*/ 81914 h 99340"/>
                  <a:gd name="connsiteX10" fmla="*/ 42319 w 72084"/>
                  <a:gd name="connsiteY10" fmla="*/ 81914 h 99340"/>
                  <a:gd name="connsiteX11" fmla="*/ 53803 w 72084"/>
                  <a:gd name="connsiteY11" fmla="*/ 71122 h 99340"/>
                  <a:gd name="connsiteX12" fmla="*/ 53803 w 72084"/>
                  <a:gd name="connsiteY12" fmla="*/ 26848 h 99340"/>
                  <a:gd name="connsiteX13" fmla="*/ 42319 w 72084"/>
                  <a:gd name="connsiteY13" fmla="*/ 16194 h 99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084" h="99340">
                    <a:moveTo>
                      <a:pt x="-157" y="98655"/>
                    </a:moveTo>
                    <a:lnTo>
                      <a:pt x="-157" y="-547"/>
                    </a:lnTo>
                    <a:lnTo>
                      <a:pt x="42319" y="-547"/>
                    </a:lnTo>
                    <a:cubicBezTo>
                      <a:pt x="57566" y="-1619"/>
                      <a:pt x="70793" y="9871"/>
                      <a:pt x="71858" y="25118"/>
                    </a:cubicBezTo>
                    <a:cubicBezTo>
                      <a:pt x="71907" y="25789"/>
                      <a:pt x="71927" y="26454"/>
                      <a:pt x="71927" y="27124"/>
                    </a:cubicBezTo>
                    <a:lnTo>
                      <a:pt x="71927" y="70984"/>
                    </a:lnTo>
                    <a:cubicBezTo>
                      <a:pt x="71962" y="86265"/>
                      <a:pt x="59607" y="98683"/>
                      <a:pt x="44325" y="98725"/>
                    </a:cubicBezTo>
                    <a:cubicBezTo>
                      <a:pt x="43654" y="98725"/>
                      <a:pt x="42983" y="98703"/>
                      <a:pt x="42319" y="98655"/>
                    </a:cubicBezTo>
                    <a:close/>
                    <a:moveTo>
                      <a:pt x="17138" y="16194"/>
                    </a:moveTo>
                    <a:lnTo>
                      <a:pt x="17138" y="81914"/>
                    </a:lnTo>
                    <a:lnTo>
                      <a:pt x="42319" y="81914"/>
                    </a:lnTo>
                    <a:cubicBezTo>
                      <a:pt x="48414" y="81962"/>
                      <a:pt x="53471" y="77210"/>
                      <a:pt x="53803" y="71122"/>
                    </a:cubicBezTo>
                    <a:lnTo>
                      <a:pt x="53803" y="26848"/>
                    </a:lnTo>
                    <a:cubicBezTo>
                      <a:pt x="53401" y="20815"/>
                      <a:pt x="48365" y="16146"/>
                      <a:pt x="42319" y="16194"/>
                    </a:cubicBezTo>
                    <a:close/>
                  </a:path>
                </a:pathLst>
              </a:custGeom>
              <a:grpFill/>
              <a:ln w="6804" cap="flat">
                <a:noFill/>
                <a:prstDash val="solid"/>
                <a:miter/>
              </a:ln>
            </p:spPr>
            <p:txBody>
              <a:bodyPr rtlCol="0" anchor="ctr"/>
              <a:lstStyle/>
              <a:p>
                <a:endParaRPr lang="de-DE" sz="2400"/>
              </a:p>
            </p:txBody>
          </p:sp>
        </p:grpSp>
      </p:grpSp>
    </p:spTree>
    <p:extLst>
      <p:ext uri="{BB962C8B-B14F-4D97-AF65-F5344CB8AC3E}">
        <p14:creationId xmlns:p14="http://schemas.microsoft.com/office/powerpoint/2010/main" val="2914975"/>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 id="2147483837" r:id="rId10"/>
    <p:sldLayoutId id="2147483838" r:id="rId11"/>
    <p:sldLayoutId id="2147483839" r:id="rId12"/>
    <p:sldLayoutId id="2147483840" r:id="rId13"/>
    <p:sldLayoutId id="2147483841" r:id="rId14"/>
    <p:sldLayoutId id="2147483842" r:id="rId15"/>
    <p:sldLayoutId id="2147483843" r:id="rId16"/>
    <p:sldLayoutId id="2147483844" r:id="rId17"/>
    <p:sldLayoutId id="2147483845" r:id="rId18"/>
    <p:sldLayoutId id="2147483846" r:id="rId19"/>
    <p:sldLayoutId id="2147483847" r:id="rId20"/>
    <p:sldLayoutId id="2147483848" r:id="rId21"/>
    <p:sldLayoutId id="2147483849" r:id="rId22"/>
    <p:sldLayoutId id="2147483850" r:id="rId23"/>
  </p:sldLayoutIdLst>
  <p:hf hdr="0"/>
  <p:txStyles>
    <p:titleStyle>
      <a:lvl1pPr algn="l" defTabSz="1219170" rtl="0" eaLnBrk="1" latinLnBrk="0" hangingPunct="1">
        <a:spcBef>
          <a:spcPct val="0"/>
        </a:spcBef>
        <a:buNone/>
        <a:defRPr sz="2667" b="1" kern="1200">
          <a:solidFill>
            <a:schemeClr val="accent1"/>
          </a:solidFill>
          <a:latin typeface="+mj-lt"/>
          <a:ea typeface="+mj-ea"/>
          <a:cs typeface="+mj-cs"/>
        </a:defRPr>
      </a:lvl1pPr>
    </p:titleStyle>
    <p:bodyStyle>
      <a:lvl1pPr marL="239994" indent="-239994" algn="l" defTabSz="1219170" rtl="0" eaLnBrk="1" latinLnBrk="0" hangingPunct="1">
        <a:spcBef>
          <a:spcPts val="800"/>
        </a:spcBef>
        <a:buClr>
          <a:schemeClr val="accent1"/>
        </a:buClr>
        <a:buFont typeface="Wingdings" panose="05000000000000000000" pitchFamily="2" charset="2"/>
        <a:buChar char="§"/>
        <a:defRPr sz="1867" kern="1200">
          <a:solidFill>
            <a:schemeClr val="tx1"/>
          </a:solidFill>
          <a:latin typeface="+mn-lt"/>
          <a:ea typeface="+mn-ea"/>
          <a:cs typeface="+mn-cs"/>
        </a:defRPr>
      </a:lvl1pPr>
      <a:lvl2pPr marL="479988" indent="-239994" algn="l" defTabSz="1219170" rtl="0" eaLnBrk="1" latinLnBrk="0" hangingPunct="1">
        <a:spcBef>
          <a:spcPts val="800"/>
        </a:spcBef>
        <a:buClr>
          <a:schemeClr val="accent1"/>
        </a:buClr>
        <a:buFont typeface="Arial" panose="020B0604020202020204" pitchFamily="34" charset="0"/>
        <a:buChar char="•"/>
        <a:defRPr sz="1867" kern="1200">
          <a:solidFill>
            <a:schemeClr val="tx1"/>
          </a:solidFill>
          <a:latin typeface="+mn-lt"/>
          <a:ea typeface="+mn-ea"/>
          <a:cs typeface="+mn-cs"/>
        </a:defRPr>
      </a:lvl2pPr>
      <a:lvl3pPr marL="719982" indent="-239994" algn="l" defTabSz="1219170" rtl="0" eaLnBrk="1" latinLnBrk="0" hangingPunct="1">
        <a:spcBef>
          <a:spcPts val="800"/>
        </a:spcBef>
        <a:buClr>
          <a:schemeClr val="accent1"/>
        </a:buClr>
        <a:buFont typeface="Arial" panose="020B0604020202020204" pitchFamily="34" charset="0"/>
        <a:buChar char="•"/>
        <a:defRPr sz="1867" kern="1200">
          <a:solidFill>
            <a:schemeClr val="tx1"/>
          </a:solidFill>
          <a:latin typeface="+mn-lt"/>
          <a:ea typeface="+mn-ea"/>
          <a:cs typeface="+mn-cs"/>
        </a:defRPr>
      </a:lvl3pPr>
      <a:lvl4pPr marL="959976" indent="-239994" algn="l" defTabSz="1219170" rtl="0" eaLnBrk="1" latinLnBrk="0" hangingPunct="1">
        <a:spcBef>
          <a:spcPts val="800"/>
        </a:spcBef>
        <a:buClr>
          <a:schemeClr val="accent1"/>
        </a:buClr>
        <a:buFont typeface="Arial" panose="020B0604020202020204" pitchFamily="34" charset="0"/>
        <a:buChar char="•"/>
        <a:defRPr sz="1867" kern="1200">
          <a:solidFill>
            <a:schemeClr val="tx1"/>
          </a:solidFill>
          <a:latin typeface="+mn-lt"/>
          <a:ea typeface="+mn-ea"/>
          <a:cs typeface="+mn-cs"/>
        </a:defRPr>
      </a:lvl4pPr>
      <a:lvl5pPr marL="1199970" indent="-239994" algn="l" defTabSz="1219170" rtl="0" eaLnBrk="1" latinLnBrk="0" hangingPunct="1">
        <a:spcBef>
          <a:spcPts val="800"/>
        </a:spcBef>
        <a:buClr>
          <a:schemeClr val="accent1"/>
        </a:buClr>
        <a:buFont typeface="Arial" panose="020B0604020202020204" pitchFamily="34" charset="0"/>
        <a:buChar char="•"/>
        <a:defRPr sz="1867"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09">
          <p15:clr>
            <a:srgbClr val="F26B43"/>
          </p15:clr>
        </p15:guide>
        <p15:guide id="2" orient="horz" pos="690">
          <p15:clr>
            <a:srgbClr val="F26B43"/>
          </p15:clr>
        </p15:guide>
        <p15:guide id="3" orient="horz" pos="577">
          <p15:clr>
            <a:srgbClr val="F26B43"/>
          </p15:clr>
        </p15:guide>
        <p15:guide id="4" pos="363">
          <p15:clr>
            <a:srgbClr val="F26B43"/>
          </p15:clr>
        </p15:guide>
        <p15:guide id="5" pos="5397">
          <p15:clr>
            <a:srgbClr val="F26B43"/>
          </p15:clr>
        </p15:guide>
        <p15:guide id="6" pos="5579">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hyperlink" Target="https://www.vde.com/resource/blob/2302434/7a6cf4ae811e789d599c10578a5025b9/netzbildende-eigenschaften-hinweis-download-data.pdf" TargetMode="External"/><Relationship Id="rId2" Type="http://schemas.openxmlformats.org/officeDocument/2006/relationships/hyperlink" Target="https://www.vde.com/en/fnn" TargetMode="External"/><Relationship Id="rId1" Type="http://schemas.openxmlformats.org/officeDocument/2006/relationships/slideLayout" Target="../slideLayouts/slideLayout5.xml"/><Relationship Id="rId6" Type="http://schemas.openxmlformats.org/officeDocument/2006/relationships/image" Target="../media/image21.png"/><Relationship Id="rId5" Type="http://schemas.openxmlformats.org/officeDocument/2006/relationships/hyperlink" Target="https://energynautics.com/en/new-vde-guideline-for-grid-forming-properties/" TargetMode="External"/><Relationship Id="rId4" Type="http://schemas.openxmlformats.org/officeDocument/2006/relationships/hyperlink" Target="https://www.vde.com/resource/blob/2387778/d2af154bb6d0669eaaf705dbf0594b86/vde-fnn-hinweis-netzbildende-eigenschaften-download-data.pdf" TargetMode="Externa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hyperlink" Target="https://www.esig.energy/i2x-first-season-1/" TargetMode="External"/><Relationship Id="rId1" Type="http://schemas.openxmlformats.org/officeDocument/2006/relationships/slideLayout" Target="../slideLayouts/slideLayout16.xml"/><Relationship Id="rId4" Type="http://schemas.openxmlformats.org/officeDocument/2006/relationships/image" Target="../media/image23.png"/></Relationships>
</file>

<file path=ppt/slides/_rels/slide15.xml.rels><?xml version="1.0" encoding="UTF-8" standalone="yes"?>
<Relationships xmlns="http://schemas.openxmlformats.org/package/2006/relationships"><Relationship Id="rId3" Type="http://schemas.openxmlformats.org/officeDocument/2006/relationships/hyperlink" Target="https://www.esig.energy/event/2026-spring-technical-workshop-copy/" TargetMode="External"/><Relationship Id="rId2" Type="http://schemas.openxmlformats.org/officeDocument/2006/relationships/image" Target="../media/image22.png"/><Relationship Id="rId1" Type="http://schemas.openxmlformats.org/officeDocument/2006/relationships/slideLayout" Target="../slideLayouts/slideLayout16.xml"/><Relationship Id="rId5" Type="http://schemas.openxmlformats.org/officeDocument/2006/relationships/hyperlink" Target="https://www.esig.energy/i2x-first-forum/" TargetMode="External"/><Relationship Id="rId4" Type="http://schemas.openxmlformats.org/officeDocument/2006/relationships/hyperlink" Target="https://uvig.webex.com/webappng/sites/uvig/webinar/webinarSeries/register/e7bbd9f31b9847a4937e086f1605e0aa" TargetMode="Externa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hyperlink" Target="https://www.nerc.com/pa/Stand/Pages/Project-2020_06-Verifications-of-Models-and-Data-for-Generators.aspx" TargetMode="Externa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2" Type="http://schemas.openxmlformats.org/officeDocument/2006/relationships/hyperlink" Target="https://www.nerc.com/pa/Stand/Pages/Standards-Under-Development.aspx" TargetMode="Externa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hyperlink" Target="https://www.nerc.com/pa/Stand/Pages/Project2022-04EMTModeling.aspx" TargetMode="External"/><Relationship Id="rId2" Type="http://schemas.openxmlformats.org/officeDocument/2006/relationships/notesSlide" Target="../notesSlides/notesSlide2.xml"/><Relationship Id="rId1" Type="http://schemas.openxmlformats.org/officeDocument/2006/relationships/slideLayout" Target="../slideLayouts/slideLayout5.xml"/><Relationship Id="rId4" Type="http://schemas.openxmlformats.org/officeDocument/2006/relationships/hyperlink" Target="https://www.nerc.com/pa/Stand/WebinarLibrary/2022-04%20EMT%20Modeling%20Webinar_061025.pdf"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www.siemens.com/global/en/products/energy/grid-software/planning/pss-software/pss-e/webinar-series-navigating-modern-grid-requirements.html#Registration" TargetMode="External"/><Relationship Id="rId2" Type="http://schemas.openxmlformats.org/officeDocument/2006/relationships/image" Target="../media/image17.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hyperlink" Target="mailto:Aung.Thant@nerc.net" TargetMode="External"/><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hyperlink" Target="https://interchange.puc.texas.gov/Search/Filings?ControlNumber=57374" TargetMode="External"/><Relationship Id="rId2" Type="http://schemas.openxmlformats.org/officeDocument/2006/relationships/notesSlide" Target="../notesSlides/notesSlide4.xml"/><Relationship Id="rId1" Type="http://schemas.openxmlformats.org/officeDocument/2006/relationships/slideLayout" Target="../slideLayouts/slideLayout5.xml"/><Relationship Id="rId4" Type="http://schemas.openxmlformats.org/officeDocument/2006/relationships/hyperlink" Target="https://www.ercot.com/calendar/06202025-PUCT-Meeting"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https://en.energinet.dk/about-our-reports/reports/towards-astable-and-sustainable-future-with-grid-forming-technologies/" TargetMode="External"/><Relationship Id="rId2" Type="http://schemas.openxmlformats.org/officeDocument/2006/relationships/notesSlide" Target="../notesSlides/notesSlide5.xml"/><Relationship Id="rId1" Type="http://schemas.openxmlformats.org/officeDocument/2006/relationships/slideLayout" Target="../slideLayouts/slideLayout5.xml"/><Relationship Id="rId5" Type="http://schemas.openxmlformats.org/officeDocument/2006/relationships/image" Target="../media/image19.png"/><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518127-824C-414A-AD4E-4AB486C046E1}"/>
              </a:ext>
            </a:extLst>
          </p:cNvPr>
          <p:cNvSpPr>
            <a:spLocks noGrp="1"/>
          </p:cNvSpPr>
          <p:nvPr>
            <p:ph type="title"/>
          </p:nvPr>
        </p:nvSpPr>
        <p:spPr/>
        <p:txBody>
          <a:bodyPr/>
          <a:lstStyle/>
          <a:p>
            <a:r>
              <a:rPr lang="en-US" dirty="0"/>
              <a:t>ERCOT IBRWG: NERC and Other Industry Updates</a:t>
            </a:r>
          </a:p>
        </p:txBody>
      </p:sp>
      <p:sp>
        <p:nvSpPr>
          <p:cNvPr id="3" name="Text Placeholder 2">
            <a:extLst>
              <a:ext uri="{FF2B5EF4-FFF2-40B4-BE49-F238E27FC236}">
                <a16:creationId xmlns:a16="http://schemas.microsoft.com/office/drawing/2014/main" id="{5EDC4DEF-7F56-473D-A709-AEEC2B51E4E1}"/>
              </a:ext>
            </a:extLst>
          </p:cNvPr>
          <p:cNvSpPr>
            <a:spLocks noGrp="1"/>
          </p:cNvSpPr>
          <p:nvPr>
            <p:ph type="body" sz="quarter" idx="10"/>
          </p:nvPr>
        </p:nvSpPr>
        <p:spPr/>
        <p:txBody>
          <a:bodyPr/>
          <a:lstStyle/>
          <a:p>
            <a:r>
              <a:rPr lang="en-US"/>
              <a:t>Julia Matevosyan</a:t>
            </a:r>
          </a:p>
        </p:txBody>
      </p:sp>
      <p:sp>
        <p:nvSpPr>
          <p:cNvPr id="4" name="Text Placeholder 3">
            <a:extLst>
              <a:ext uri="{FF2B5EF4-FFF2-40B4-BE49-F238E27FC236}">
                <a16:creationId xmlns:a16="http://schemas.microsoft.com/office/drawing/2014/main" id="{C0409F88-523A-4B84-ACFF-C7E2DC74CF3D}"/>
              </a:ext>
            </a:extLst>
          </p:cNvPr>
          <p:cNvSpPr>
            <a:spLocks noGrp="1"/>
          </p:cNvSpPr>
          <p:nvPr>
            <p:ph type="body" sz="quarter" idx="11"/>
          </p:nvPr>
        </p:nvSpPr>
        <p:spPr/>
        <p:txBody>
          <a:bodyPr lIns="91440" tIns="45720" rIns="91440" bIns="0" anchor="b"/>
          <a:lstStyle/>
          <a:p>
            <a:r>
              <a:rPr lang="en-US" dirty="0">
                <a:latin typeface="Montserrat SemiBold"/>
              </a:rPr>
              <a:t>06/20/2025</a:t>
            </a:r>
            <a:endParaRPr lang="en-US" dirty="0"/>
          </a:p>
        </p:txBody>
      </p:sp>
      <p:sp>
        <p:nvSpPr>
          <p:cNvPr id="5" name="Text Placeholder 4">
            <a:extLst>
              <a:ext uri="{FF2B5EF4-FFF2-40B4-BE49-F238E27FC236}">
                <a16:creationId xmlns:a16="http://schemas.microsoft.com/office/drawing/2014/main" id="{8517D9C0-62E5-4A6A-A26F-9437EC0A8ADD}"/>
              </a:ext>
            </a:extLst>
          </p:cNvPr>
          <p:cNvSpPr>
            <a:spLocks noGrp="1"/>
          </p:cNvSpPr>
          <p:nvPr>
            <p:ph type="body" sz="quarter" idx="12"/>
          </p:nvPr>
        </p:nvSpPr>
        <p:spPr/>
        <p:txBody>
          <a:bodyPr/>
          <a:lstStyle/>
          <a:p>
            <a:r>
              <a:rPr lang="en-US" dirty="0"/>
              <a:t>Associate Director and Chief Engineer</a:t>
            </a:r>
          </a:p>
          <a:p>
            <a:r>
              <a:rPr lang="en-US" dirty="0"/>
              <a:t>ESIG</a:t>
            </a:r>
          </a:p>
        </p:txBody>
      </p:sp>
    </p:spTree>
    <p:extLst>
      <p:ext uri="{BB962C8B-B14F-4D97-AF65-F5344CB8AC3E}">
        <p14:creationId xmlns:p14="http://schemas.microsoft.com/office/powerpoint/2010/main" val="10902851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3493B8-2447-154D-DE74-D82E24B80FA4}"/>
              </a:ext>
            </a:extLst>
          </p:cNvPr>
          <p:cNvSpPr>
            <a:spLocks noGrp="1"/>
          </p:cNvSpPr>
          <p:nvPr>
            <p:ph type="title"/>
          </p:nvPr>
        </p:nvSpPr>
        <p:spPr/>
        <p:txBody>
          <a:bodyPr/>
          <a:lstStyle/>
          <a:p>
            <a:r>
              <a:rPr lang="en-US" dirty="0"/>
              <a:t>Danish System Operator Energinet is Developing GFM BESS Requirements </a:t>
            </a:r>
          </a:p>
        </p:txBody>
      </p:sp>
      <p:grpSp>
        <p:nvGrpSpPr>
          <p:cNvPr id="12" name="Group 11">
            <a:extLst>
              <a:ext uri="{FF2B5EF4-FFF2-40B4-BE49-F238E27FC236}">
                <a16:creationId xmlns:a16="http://schemas.microsoft.com/office/drawing/2014/main" id="{5E0B8812-F91F-1652-0F2B-D9278DA4D8E8}"/>
              </a:ext>
            </a:extLst>
          </p:cNvPr>
          <p:cNvGrpSpPr/>
          <p:nvPr/>
        </p:nvGrpSpPr>
        <p:grpSpPr>
          <a:xfrm>
            <a:off x="3793067" y="1516200"/>
            <a:ext cx="4357081" cy="5251488"/>
            <a:chOff x="391267" y="1662353"/>
            <a:chExt cx="4194694" cy="4982753"/>
          </a:xfrm>
        </p:grpSpPr>
        <p:pic>
          <p:nvPicPr>
            <p:cNvPr id="5" name="Picture 4">
              <a:extLst>
                <a:ext uri="{FF2B5EF4-FFF2-40B4-BE49-F238E27FC236}">
                  <a16:creationId xmlns:a16="http://schemas.microsoft.com/office/drawing/2014/main" id="{F9661ED5-8B79-024E-CC8B-8177CA330F42}"/>
                </a:ext>
              </a:extLst>
            </p:cNvPr>
            <p:cNvPicPr>
              <a:picLocks noChangeAspect="1"/>
            </p:cNvPicPr>
            <p:nvPr/>
          </p:nvPicPr>
          <p:blipFill>
            <a:blip r:embed="rId3"/>
            <a:srcRect t="3255"/>
            <a:stretch>
              <a:fillRect/>
            </a:stretch>
          </p:blipFill>
          <p:spPr>
            <a:xfrm>
              <a:off x="391267" y="1662353"/>
              <a:ext cx="4194694" cy="4792645"/>
            </a:xfrm>
            <a:prstGeom prst="rect">
              <a:avLst/>
            </a:prstGeom>
          </p:spPr>
        </p:pic>
        <p:sp>
          <p:nvSpPr>
            <p:cNvPr id="6" name="Rectangle 5">
              <a:extLst>
                <a:ext uri="{FF2B5EF4-FFF2-40B4-BE49-F238E27FC236}">
                  <a16:creationId xmlns:a16="http://schemas.microsoft.com/office/drawing/2014/main" id="{81747C12-896C-318C-150C-8DD02EEE2EB1}"/>
                </a:ext>
              </a:extLst>
            </p:cNvPr>
            <p:cNvSpPr/>
            <p:nvPr/>
          </p:nvSpPr>
          <p:spPr>
            <a:xfrm>
              <a:off x="4271854" y="6317038"/>
              <a:ext cx="314107" cy="32806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7989487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86B101-1F81-39BF-D7DA-4D18BC97C18E}"/>
              </a:ext>
            </a:extLst>
          </p:cNvPr>
          <p:cNvSpPr>
            <a:spLocks noGrp="1"/>
          </p:cNvSpPr>
          <p:nvPr>
            <p:ph type="title"/>
          </p:nvPr>
        </p:nvSpPr>
        <p:spPr/>
        <p:txBody>
          <a:bodyPr/>
          <a:lstStyle/>
          <a:p>
            <a:r>
              <a:rPr lang="en-US" dirty="0"/>
              <a:t>VDE FNN Guideline for Grid Forming Properties</a:t>
            </a:r>
          </a:p>
        </p:txBody>
      </p:sp>
      <p:sp>
        <p:nvSpPr>
          <p:cNvPr id="3" name="Content Placeholder 2">
            <a:extLst>
              <a:ext uri="{FF2B5EF4-FFF2-40B4-BE49-F238E27FC236}">
                <a16:creationId xmlns:a16="http://schemas.microsoft.com/office/drawing/2014/main" id="{3C07FC98-B24E-A855-E93C-EA80BDE7B8B5}"/>
              </a:ext>
            </a:extLst>
          </p:cNvPr>
          <p:cNvSpPr>
            <a:spLocks noGrp="1"/>
          </p:cNvSpPr>
          <p:nvPr>
            <p:ph sz="quarter" idx="10"/>
          </p:nvPr>
        </p:nvSpPr>
        <p:spPr>
          <a:xfrm>
            <a:off x="762000" y="1855789"/>
            <a:ext cx="8298238" cy="4435283"/>
          </a:xfrm>
        </p:spPr>
        <p:txBody>
          <a:bodyPr/>
          <a:lstStyle/>
          <a:p>
            <a:pPr marL="225425" indent="-225425" fontAlgn="base">
              <a:lnSpc>
                <a:spcPct val="108000"/>
              </a:lnSpc>
              <a:spcBef>
                <a:spcPts val="600"/>
              </a:spcBef>
              <a:buSzPct val="100000"/>
            </a:pPr>
            <a:r>
              <a:rPr lang="en-US" sz="1800" dirty="0"/>
              <a:t>In July 2024, the technical regulator for power grids in Germany </a:t>
            </a:r>
            <a:r>
              <a:rPr lang="en-US" sz="1800" dirty="0">
                <a:hlinkClick r:id="rId2"/>
              </a:rPr>
              <a:t>VDE FNN</a:t>
            </a:r>
            <a:r>
              <a:rPr lang="en-US" sz="1800" dirty="0"/>
              <a:t> published the guideline “</a:t>
            </a:r>
            <a:r>
              <a:rPr lang="en-US" sz="1800" dirty="0">
                <a:hlinkClick r:id="rId3"/>
              </a:rPr>
              <a:t>Technical Requirements for Grid-Forming Properties, Including the Provision of Instantaneous Reserve</a:t>
            </a:r>
            <a:r>
              <a:rPr lang="en-US" sz="1800" dirty="0"/>
              <a:t>”. With that Germany established harmonized requirements for GFM units, ensuring the stability with rapidly-growing shares of IBRs.</a:t>
            </a:r>
          </a:p>
          <a:p>
            <a:pPr marL="225425" indent="-225425" fontAlgn="base">
              <a:lnSpc>
                <a:spcPct val="108000"/>
              </a:lnSpc>
              <a:spcBef>
                <a:spcPts val="600"/>
              </a:spcBef>
              <a:buSzPct val="100000"/>
            </a:pPr>
            <a:r>
              <a:rPr lang="en-US" sz="1800" dirty="0"/>
              <a:t> The industry has been since awaiting formal verification and certification processes. </a:t>
            </a:r>
          </a:p>
          <a:p>
            <a:pPr marL="225425" indent="-225425" algn="just" fontAlgn="base">
              <a:lnSpc>
                <a:spcPct val="108000"/>
              </a:lnSpc>
              <a:spcBef>
                <a:spcPts val="600"/>
              </a:spcBef>
              <a:buSzPct val="100000"/>
            </a:pPr>
            <a:r>
              <a:rPr lang="en-US" sz="1800" dirty="0"/>
              <a:t>This was published in May 2025 with an updated version of the VDE FNN guideline. The </a:t>
            </a:r>
            <a:r>
              <a:rPr lang="en-US" sz="1800" dirty="0">
                <a:hlinkClick r:id="rId4"/>
              </a:rPr>
              <a:t>new guideline for grid-forming properties</a:t>
            </a:r>
            <a:r>
              <a:rPr lang="en-US" sz="1800" dirty="0"/>
              <a:t> establishes a clear framework and pathway for the certification and market approval of GFM units in Germany. </a:t>
            </a:r>
          </a:p>
          <a:p>
            <a:pPr marL="225425" indent="-225425" fontAlgn="base">
              <a:lnSpc>
                <a:spcPct val="108000"/>
              </a:lnSpc>
              <a:spcBef>
                <a:spcPts val="600"/>
              </a:spcBef>
              <a:buSzPct val="100000"/>
            </a:pPr>
            <a:r>
              <a:rPr lang="en-US" sz="1800" dirty="0"/>
              <a:t>By providing detailed definition of compliance procedures, it paves the way for the widespread adoption of this essential technology for the energy transition.</a:t>
            </a:r>
          </a:p>
          <a:p>
            <a:endParaRPr lang="en-US" sz="1800" dirty="0"/>
          </a:p>
        </p:txBody>
      </p:sp>
      <p:sp>
        <p:nvSpPr>
          <p:cNvPr id="5" name="TextBox 4">
            <a:extLst>
              <a:ext uri="{FF2B5EF4-FFF2-40B4-BE49-F238E27FC236}">
                <a16:creationId xmlns:a16="http://schemas.microsoft.com/office/drawing/2014/main" id="{1DEE4777-A7E9-96FF-B318-FB9D7E53C198}"/>
              </a:ext>
            </a:extLst>
          </p:cNvPr>
          <p:cNvSpPr txBox="1"/>
          <p:nvPr/>
        </p:nvSpPr>
        <p:spPr>
          <a:xfrm>
            <a:off x="863793" y="6305829"/>
            <a:ext cx="10786081" cy="369332"/>
          </a:xfrm>
          <a:prstGeom prst="rect">
            <a:avLst/>
          </a:prstGeom>
          <a:noFill/>
        </p:spPr>
        <p:txBody>
          <a:bodyPr wrap="square">
            <a:spAutoFit/>
          </a:bodyPr>
          <a:lstStyle/>
          <a:p>
            <a:r>
              <a:rPr lang="en-US" dirty="0">
                <a:hlinkClick r:id="rId5"/>
              </a:rPr>
              <a:t>https://energynautics.com/en/new-vde-guideline-for-grid-forming-properties/</a:t>
            </a:r>
            <a:r>
              <a:rPr lang="en-US" dirty="0"/>
              <a:t> </a:t>
            </a:r>
          </a:p>
        </p:txBody>
      </p:sp>
      <p:pic>
        <p:nvPicPr>
          <p:cNvPr id="7" name="Picture 6">
            <a:extLst>
              <a:ext uri="{FF2B5EF4-FFF2-40B4-BE49-F238E27FC236}">
                <a16:creationId xmlns:a16="http://schemas.microsoft.com/office/drawing/2014/main" id="{F205F271-6660-C608-6522-FB3E9C8671B2}"/>
              </a:ext>
            </a:extLst>
          </p:cNvPr>
          <p:cNvPicPr>
            <a:picLocks noChangeAspect="1"/>
          </p:cNvPicPr>
          <p:nvPr/>
        </p:nvPicPr>
        <p:blipFill>
          <a:blip r:embed="rId6"/>
          <a:stretch>
            <a:fillRect/>
          </a:stretch>
        </p:blipFill>
        <p:spPr>
          <a:xfrm>
            <a:off x="9311538" y="1925590"/>
            <a:ext cx="2533780" cy="3562726"/>
          </a:xfrm>
          <a:prstGeom prst="rect">
            <a:avLst/>
          </a:prstGeom>
          <a:ln>
            <a:solidFill>
              <a:schemeClr val="bg1">
                <a:lumMod val="75000"/>
              </a:schemeClr>
            </a:solidFill>
          </a:ln>
        </p:spPr>
      </p:pic>
    </p:spTree>
    <p:extLst>
      <p:ext uri="{BB962C8B-B14F-4D97-AF65-F5344CB8AC3E}">
        <p14:creationId xmlns:p14="http://schemas.microsoft.com/office/powerpoint/2010/main" val="8458117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8338428-1E12-641F-18D6-82CF047E9B19}"/>
              </a:ext>
            </a:extLst>
          </p:cNvPr>
          <p:cNvSpPr>
            <a:spLocks noGrp="1"/>
          </p:cNvSpPr>
          <p:nvPr>
            <p:ph type="title"/>
          </p:nvPr>
        </p:nvSpPr>
        <p:spPr/>
        <p:txBody>
          <a:bodyPr/>
          <a:lstStyle/>
          <a:p>
            <a:r>
              <a:rPr lang="en-GB" dirty="0"/>
              <a:t>German inertia market model (</a:t>
            </a:r>
            <a:r>
              <a:rPr lang="en-GB" dirty="0" err="1"/>
              <a:t>BNetzA’s</a:t>
            </a:r>
            <a:r>
              <a:rPr lang="en-GB" dirty="0"/>
              <a:t> draft)</a:t>
            </a:r>
          </a:p>
        </p:txBody>
      </p:sp>
      <p:sp>
        <p:nvSpPr>
          <p:cNvPr id="3" name="Datumsplatzhalter 2">
            <a:extLst>
              <a:ext uri="{FF2B5EF4-FFF2-40B4-BE49-F238E27FC236}">
                <a16:creationId xmlns:a16="http://schemas.microsoft.com/office/drawing/2014/main" id="{6CB4BBCC-9147-AFA9-A528-EAEF9967A0C9}"/>
              </a:ext>
            </a:extLst>
          </p:cNvPr>
          <p:cNvSpPr>
            <a:spLocks noGrp="1"/>
          </p:cNvSpPr>
          <p:nvPr>
            <p:ph type="dt" sz="half" idx="10"/>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srgbClr val="0064B4"/>
                </a:solidFill>
                <a:effectLst/>
                <a:uLnTx/>
                <a:uFillTx/>
                <a:latin typeface="Arial"/>
                <a:ea typeface="+mn-ea"/>
                <a:cs typeface="+mn-cs"/>
              </a:rPr>
              <a:t>09/10/2024</a:t>
            </a:r>
          </a:p>
        </p:txBody>
      </p:sp>
      <p:sp>
        <p:nvSpPr>
          <p:cNvPr id="4" name="Fußzeilenplatzhalter 3">
            <a:extLst>
              <a:ext uri="{FF2B5EF4-FFF2-40B4-BE49-F238E27FC236}">
                <a16:creationId xmlns:a16="http://schemas.microsoft.com/office/drawing/2014/main" id="{196C4237-FB1E-F266-270F-9A184A91EE78}"/>
              </a:ext>
            </a:extLst>
          </p:cNvPr>
          <p:cNvSpPr>
            <a:spLocks noGrp="1"/>
          </p:cNvSpPr>
          <p:nvPr>
            <p:ph type="ftr" sz="quarter" idx="1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noFill/>
                </a:ln>
                <a:solidFill>
                  <a:srgbClr val="0064B4"/>
                </a:solidFill>
                <a:effectLst/>
                <a:uLnTx/>
                <a:uFillTx/>
                <a:latin typeface="Arial"/>
                <a:ea typeface="+mn-ea"/>
                <a:cs typeface="+mn-cs"/>
              </a:rPr>
              <a:t>© Forum Network Technology/Network Operation in the VDE</a:t>
            </a:r>
            <a:endParaRPr kumimoji="0" lang="en-US" sz="933" b="0" i="0" u="none" strike="noStrike" kern="1200" cap="none" spc="0" normalizeH="0" baseline="0" noProof="0" dirty="0">
              <a:ln>
                <a:noFill/>
              </a:ln>
              <a:solidFill>
                <a:srgbClr val="0064B4"/>
              </a:solidFill>
              <a:effectLst/>
              <a:uLnTx/>
              <a:uFillTx/>
              <a:latin typeface="Arial"/>
              <a:ea typeface="+mn-ea"/>
              <a:cs typeface="+mn-cs"/>
            </a:endParaRPr>
          </a:p>
        </p:txBody>
      </p:sp>
      <p:sp>
        <p:nvSpPr>
          <p:cNvPr id="5" name="Foliennummernplatzhalter 4">
            <a:extLst>
              <a:ext uri="{FF2B5EF4-FFF2-40B4-BE49-F238E27FC236}">
                <a16:creationId xmlns:a16="http://schemas.microsoft.com/office/drawing/2014/main" id="{2E732F20-5FE3-FAE1-84D3-29B72A0B21A7}"/>
              </a:ext>
            </a:extLst>
          </p:cNvPr>
          <p:cNvSpPr>
            <a:spLocks noGrp="1"/>
          </p:cNvSpPr>
          <p:nvPr>
            <p:ph type="sldNum" sz="quarter" idx="12"/>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2AA1E7D3-1333-45EE-ABB9-51527D316BA3}" type="slidenum">
              <a:rPr kumimoji="0" lang="en-US" sz="933" b="0" i="0" u="none" strike="noStrike" kern="1200" cap="none" spc="0" normalizeH="0" baseline="0" noProof="0">
                <a:ln>
                  <a:noFill/>
                </a:ln>
                <a:solidFill>
                  <a:srgbClr val="0064B4"/>
                </a:solidFill>
                <a:effectLst/>
                <a:uLnTx/>
                <a:uFillTx/>
                <a:latin typeface="Arial"/>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2</a:t>
            </a:fld>
            <a:endParaRPr kumimoji="0" lang="en-US" sz="933" b="0" i="0" u="none" strike="noStrike" kern="1200" cap="none" spc="0" normalizeH="0" baseline="0" noProof="0" dirty="0">
              <a:ln>
                <a:noFill/>
              </a:ln>
              <a:solidFill>
                <a:srgbClr val="0064B4"/>
              </a:solidFill>
              <a:effectLst/>
              <a:uLnTx/>
              <a:uFillTx/>
              <a:latin typeface="Arial"/>
              <a:ea typeface="+mn-ea"/>
              <a:cs typeface="+mn-cs"/>
            </a:endParaRPr>
          </a:p>
        </p:txBody>
      </p:sp>
      <p:sp>
        <p:nvSpPr>
          <p:cNvPr id="6" name="Inhaltsplatzhalter 5"/>
          <p:cNvSpPr>
            <a:spLocks noGrp="1"/>
          </p:cNvSpPr>
          <p:nvPr>
            <p:ph idx="1"/>
          </p:nvPr>
        </p:nvSpPr>
        <p:spPr>
          <a:xfrm>
            <a:off x="635920" y="1506543"/>
            <a:ext cx="10916000" cy="4125000"/>
          </a:xfrm>
        </p:spPr>
        <p:txBody>
          <a:bodyPr/>
          <a:lstStyle/>
          <a:p>
            <a:pPr marL="0" indent="0">
              <a:buNone/>
            </a:pPr>
            <a:r>
              <a:rPr lang="de-DE" dirty="0"/>
              <a:t>A </a:t>
            </a:r>
            <a:r>
              <a:rPr lang="de-DE" dirty="0" err="1"/>
              <a:t>market</a:t>
            </a:r>
            <a:r>
              <a:rPr lang="de-DE" dirty="0"/>
              <a:t> </a:t>
            </a:r>
            <a:r>
              <a:rPr lang="de-DE" dirty="0" err="1"/>
              <a:t>with</a:t>
            </a:r>
            <a:r>
              <a:rPr lang="de-DE" dirty="0"/>
              <a:t> </a:t>
            </a:r>
            <a:r>
              <a:rPr lang="en-US" dirty="0"/>
              <a:t>unlimited</a:t>
            </a:r>
            <a:r>
              <a:rPr lang="de-DE" dirty="0"/>
              <a:t> </a:t>
            </a:r>
            <a:r>
              <a:rPr lang="de-DE" dirty="0" err="1"/>
              <a:t>volume</a:t>
            </a:r>
            <a:r>
              <a:rPr lang="de-DE" dirty="0"/>
              <a:t> &amp; fix regional </a:t>
            </a:r>
            <a:r>
              <a:rPr lang="de-DE" dirty="0" err="1"/>
              <a:t>prices</a:t>
            </a:r>
            <a:r>
              <a:rPr lang="de-DE" dirty="0"/>
              <a:t>* (</a:t>
            </a:r>
            <a:r>
              <a:rPr lang="de-DE" dirty="0" err="1"/>
              <a:t>over</a:t>
            </a:r>
            <a:r>
              <a:rPr lang="de-DE" dirty="0"/>
              <a:t> 2-10 </a:t>
            </a:r>
            <a:r>
              <a:rPr lang="de-DE" dirty="0" err="1"/>
              <a:t>years</a:t>
            </a:r>
            <a:r>
              <a:rPr lang="de-DE" dirty="0"/>
              <a:t>) </a:t>
            </a:r>
            <a:r>
              <a:rPr lang="de-DE" dirty="0" err="1"/>
              <a:t>for</a:t>
            </a:r>
            <a:r>
              <a:rPr lang="de-DE" dirty="0"/>
              <a:t> different </a:t>
            </a:r>
            <a:r>
              <a:rPr lang="de-DE" dirty="0" err="1"/>
              <a:t>product</a:t>
            </a:r>
            <a:r>
              <a:rPr lang="de-DE" dirty="0"/>
              <a:t> </a:t>
            </a:r>
            <a:r>
              <a:rPr lang="de-DE" dirty="0" err="1"/>
              <a:t>types</a:t>
            </a:r>
            <a:r>
              <a:rPr lang="de-DE" dirty="0"/>
              <a:t>:</a:t>
            </a:r>
          </a:p>
          <a:p>
            <a:pPr marL="0" indent="0">
              <a:buNone/>
            </a:pPr>
            <a:endParaRPr lang="de-DE" dirty="0"/>
          </a:p>
          <a:p>
            <a:pPr marL="0" indent="0">
              <a:buNone/>
            </a:pPr>
            <a:endParaRPr lang="de-DE" dirty="0"/>
          </a:p>
          <a:p>
            <a:pPr marL="0" indent="0">
              <a:buNone/>
            </a:pPr>
            <a:endParaRPr lang="de-DE" dirty="0"/>
          </a:p>
          <a:p>
            <a:pPr marL="0" indent="0">
              <a:buNone/>
            </a:pPr>
            <a:endParaRPr lang="de-DE" dirty="0"/>
          </a:p>
          <a:p>
            <a:pPr marL="0" indent="0">
              <a:buNone/>
            </a:pPr>
            <a:endParaRPr lang="de-DE" dirty="0"/>
          </a:p>
          <a:p>
            <a:pPr marL="0" indent="0">
              <a:buNone/>
            </a:pPr>
            <a:endParaRPr lang="de-DE" dirty="0"/>
          </a:p>
          <a:p>
            <a:pPr marL="0" indent="0">
              <a:buNone/>
            </a:pPr>
            <a:endParaRPr lang="de-DE" dirty="0"/>
          </a:p>
          <a:p>
            <a:pPr marL="0" indent="0">
              <a:buNone/>
            </a:pPr>
            <a:endParaRPr lang="de-DE" dirty="0"/>
          </a:p>
          <a:p>
            <a:pPr marL="0" indent="0">
              <a:buNone/>
            </a:pPr>
            <a:endParaRPr lang="de-DE" sz="800" dirty="0"/>
          </a:p>
          <a:p>
            <a:pPr marL="0" indent="0">
              <a:buNone/>
            </a:pPr>
            <a:r>
              <a:rPr lang="de-DE" sz="1600" dirty="0"/>
              <a:t>* The regional price for each product is </a:t>
            </a:r>
            <a:r>
              <a:rPr lang="en-US" sz="1600" dirty="0"/>
              <a:t>proportional</a:t>
            </a:r>
            <a:r>
              <a:rPr lang="de-DE" sz="1600" dirty="0"/>
              <a:t> </a:t>
            </a:r>
            <a:r>
              <a:rPr lang="de-DE" sz="1600" dirty="0" err="1"/>
              <a:t>to</a:t>
            </a:r>
            <a:r>
              <a:rPr lang="de-DE" sz="1600" dirty="0"/>
              <a:t> </a:t>
            </a:r>
            <a:r>
              <a:rPr lang="de-DE" sz="1600" dirty="0" err="1"/>
              <a:t>the</a:t>
            </a:r>
            <a:r>
              <a:rPr lang="de-DE" sz="1600" dirty="0"/>
              <a:t> </a:t>
            </a:r>
            <a:r>
              <a:rPr lang="de-DE" sz="1600" dirty="0" err="1"/>
              <a:t>offered</a:t>
            </a:r>
            <a:r>
              <a:rPr lang="de-DE" sz="1600" dirty="0"/>
              <a:t> </a:t>
            </a:r>
            <a:r>
              <a:rPr lang="de-DE" sz="1600" dirty="0" err="1"/>
              <a:t>inertia</a:t>
            </a:r>
            <a:r>
              <a:rPr lang="de-DE" sz="1600" dirty="0"/>
              <a:t> </a:t>
            </a:r>
            <a:r>
              <a:rPr lang="de-DE" sz="1600" dirty="0" err="1"/>
              <a:t>constant</a:t>
            </a:r>
            <a:r>
              <a:rPr lang="de-DE" sz="1600" dirty="0"/>
              <a:t> </a:t>
            </a:r>
            <a:r>
              <a:rPr lang="de-DE" sz="1600" dirty="0" err="1"/>
              <a:t>of</a:t>
            </a:r>
            <a:r>
              <a:rPr lang="de-DE" sz="1600" dirty="0"/>
              <a:t> power </a:t>
            </a:r>
            <a:r>
              <a:rPr lang="de-DE" sz="1600" dirty="0" err="1"/>
              <a:t>plants</a:t>
            </a:r>
            <a:r>
              <a:rPr lang="de-DE" dirty="0"/>
              <a:t>. </a:t>
            </a:r>
          </a:p>
        </p:txBody>
      </p:sp>
      <p:cxnSp>
        <p:nvCxnSpPr>
          <p:cNvPr id="8" name="Gerade Verbindung mit Pfeil 7"/>
          <p:cNvCxnSpPr/>
          <p:nvPr/>
        </p:nvCxnSpPr>
        <p:spPr>
          <a:xfrm>
            <a:off x="6241127" y="3188717"/>
            <a:ext cx="1422400" cy="0"/>
          </a:xfrm>
          <a:prstGeom prst="straightConnector1">
            <a:avLst/>
          </a:prstGeom>
          <a:ln>
            <a:solidFill>
              <a:schemeClr val="accent1">
                <a:shade val="95000"/>
                <a:satMod val="105000"/>
              </a:schemeClr>
            </a:solidFill>
            <a:tailEnd type="arrow"/>
          </a:ln>
        </p:spPr>
        <p:style>
          <a:lnRef idx="1">
            <a:schemeClr val="accent1"/>
          </a:lnRef>
          <a:fillRef idx="0">
            <a:schemeClr val="accent1"/>
          </a:fillRef>
          <a:effectRef idx="0">
            <a:schemeClr val="accent1"/>
          </a:effectRef>
          <a:fontRef idx="minor">
            <a:schemeClr val="tx1"/>
          </a:fontRef>
        </p:style>
      </p:cxnSp>
      <p:sp>
        <p:nvSpPr>
          <p:cNvPr id="9" name="Rechteck 8"/>
          <p:cNvSpPr/>
          <p:nvPr/>
        </p:nvSpPr>
        <p:spPr>
          <a:xfrm>
            <a:off x="6382560" y="2198627"/>
            <a:ext cx="5425440" cy="666977"/>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de-DE" sz="1867" b="0" i="0" u="none" strike="noStrike" kern="1200" cap="none" spc="0" normalizeH="0" baseline="0" noProof="0" dirty="0">
              <a:ln>
                <a:noFill/>
              </a:ln>
              <a:solidFill>
                <a:srgbClr val="575757"/>
              </a:solidFill>
              <a:effectLst/>
              <a:uLnTx/>
              <a:uFillTx/>
              <a:latin typeface="Arial"/>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de-DE" sz="1867" b="0" i="0" u="none" strike="noStrike" kern="1200" cap="none" spc="0" normalizeH="0" baseline="0" noProof="0" dirty="0">
                <a:ln>
                  <a:noFill/>
                </a:ln>
                <a:solidFill>
                  <a:srgbClr val="575757"/>
                </a:solidFill>
                <a:effectLst/>
                <a:uLnTx/>
                <a:uFillTx/>
                <a:latin typeface="Arial"/>
                <a:ea typeface="+mn-ea"/>
                <a:cs typeface="+mn-cs"/>
              </a:rPr>
              <a:t>   Minimum </a:t>
            </a:r>
            <a:r>
              <a:rPr kumimoji="0" lang="de-DE" sz="1867" b="0" i="0" u="none" strike="noStrike" kern="1200" cap="none" spc="0" normalizeH="0" baseline="0" noProof="0" dirty="0" err="1">
                <a:ln>
                  <a:noFill/>
                </a:ln>
                <a:solidFill>
                  <a:srgbClr val="575757"/>
                </a:solidFill>
                <a:effectLst/>
                <a:uLnTx/>
                <a:uFillTx/>
                <a:latin typeface="Arial"/>
                <a:ea typeface="+mn-ea"/>
                <a:cs typeface="+mn-cs"/>
              </a:rPr>
              <a:t>availability</a:t>
            </a:r>
            <a:r>
              <a:rPr kumimoji="0" lang="de-DE" sz="1867" b="0" i="0" u="none" strike="noStrike" kern="1200" cap="none" spc="0" normalizeH="0" baseline="0" noProof="0" dirty="0">
                <a:ln>
                  <a:noFill/>
                </a:ln>
                <a:solidFill>
                  <a:srgbClr val="575757"/>
                </a:solidFill>
                <a:effectLst/>
                <a:uLnTx/>
                <a:uFillTx/>
                <a:latin typeface="Arial"/>
                <a:ea typeface="+mn-ea"/>
                <a:cs typeface="+mn-cs"/>
              </a:rPr>
              <a:t> </a:t>
            </a:r>
            <a:r>
              <a:rPr kumimoji="0" lang="de-DE" sz="1867" b="0" i="0" u="none" strike="noStrike" kern="1200" cap="none" spc="0" normalizeH="0" baseline="0" noProof="0" dirty="0" err="1">
                <a:ln>
                  <a:noFill/>
                </a:ln>
                <a:solidFill>
                  <a:srgbClr val="575757"/>
                </a:solidFill>
                <a:effectLst/>
                <a:uLnTx/>
                <a:uFillTx/>
                <a:latin typeface="Arial"/>
                <a:ea typeface="+mn-ea"/>
                <a:cs typeface="+mn-cs"/>
              </a:rPr>
              <a:t>over</a:t>
            </a:r>
            <a:r>
              <a:rPr kumimoji="0" lang="de-DE" sz="1867" b="0" i="0" u="none" strike="noStrike" kern="1200" cap="none" spc="0" normalizeH="0" baseline="0" noProof="0" dirty="0">
                <a:ln>
                  <a:noFill/>
                </a:ln>
                <a:solidFill>
                  <a:srgbClr val="575757"/>
                </a:solidFill>
                <a:effectLst/>
                <a:uLnTx/>
                <a:uFillTx/>
                <a:latin typeface="Arial"/>
                <a:ea typeface="+mn-ea"/>
                <a:cs typeface="+mn-cs"/>
              </a:rPr>
              <a:t> a </a:t>
            </a:r>
            <a:r>
              <a:rPr kumimoji="0" lang="de-DE" sz="1867" b="0" i="0" u="none" strike="noStrike" kern="1200" cap="none" spc="0" normalizeH="0" baseline="0" noProof="0" dirty="0" err="1">
                <a:ln>
                  <a:noFill/>
                </a:ln>
                <a:solidFill>
                  <a:srgbClr val="575757"/>
                </a:solidFill>
                <a:effectLst/>
                <a:uLnTx/>
                <a:uFillTx/>
                <a:latin typeface="Arial"/>
                <a:ea typeface="+mn-ea"/>
                <a:cs typeface="+mn-cs"/>
              </a:rPr>
              <a:t>year</a:t>
            </a:r>
            <a:r>
              <a:rPr kumimoji="0" lang="de-DE" sz="1867" b="0" i="0" u="none" strike="noStrike" kern="1200" cap="none" spc="0" normalizeH="0" baseline="0" noProof="0" dirty="0">
                <a:ln>
                  <a:noFill/>
                </a:ln>
                <a:solidFill>
                  <a:srgbClr val="575757"/>
                </a:solidFill>
                <a:effectLst/>
                <a:uLnTx/>
                <a:uFillTx/>
                <a:latin typeface="Arial"/>
                <a:ea typeface="+mn-ea"/>
                <a:cs typeface="+mn-cs"/>
              </a:rPr>
              <a:t>  </a:t>
            </a:r>
          </a:p>
        </p:txBody>
      </p:sp>
      <p:sp>
        <p:nvSpPr>
          <p:cNvPr id="10" name="Rechteck 9"/>
          <p:cNvSpPr/>
          <p:nvPr/>
        </p:nvSpPr>
        <p:spPr>
          <a:xfrm>
            <a:off x="8391053" y="2978898"/>
            <a:ext cx="955040" cy="379656"/>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de-DE" sz="1867" b="0" i="0" u="none" strike="noStrike" kern="1200" cap="none" spc="0" normalizeH="0" baseline="0" noProof="0" dirty="0">
                <a:ln>
                  <a:noFill/>
                </a:ln>
                <a:solidFill>
                  <a:srgbClr val="575757"/>
                </a:solidFill>
                <a:effectLst/>
                <a:uLnTx/>
                <a:uFillTx/>
                <a:latin typeface="Arial"/>
                <a:ea typeface="+mn-ea"/>
                <a:cs typeface="+mn-cs"/>
              </a:rPr>
              <a:t>30 %</a:t>
            </a:r>
          </a:p>
        </p:txBody>
      </p:sp>
      <p:cxnSp>
        <p:nvCxnSpPr>
          <p:cNvPr id="11" name="Gerade Verbindung mit Pfeil 10"/>
          <p:cNvCxnSpPr/>
          <p:nvPr/>
        </p:nvCxnSpPr>
        <p:spPr>
          <a:xfrm>
            <a:off x="6241127" y="3758425"/>
            <a:ext cx="1422400" cy="0"/>
          </a:xfrm>
          <a:prstGeom prst="straightConnector1">
            <a:avLst/>
          </a:prstGeom>
          <a:ln>
            <a:solidFill>
              <a:schemeClr val="accent1">
                <a:shade val="95000"/>
                <a:satMod val="105000"/>
              </a:schemeClr>
            </a:solidFill>
            <a:tailEnd type="arrow"/>
          </a:ln>
        </p:spPr>
        <p:style>
          <a:lnRef idx="1">
            <a:schemeClr val="accent1"/>
          </a:lnRef>
          <a:fillRef idx="0">
            <a:schemeClr val="accent1"/>
          </a:fillRef>
          <a:effectRef idx="0">
            <a:schemeClr val="accent1"/>
          </a:effectRef>
          <a:fontRef idx="minor">
            <a:schemeClr val="tx1"/>
          </a:fontRef>
        </p:style>
      </p:cxnSp>
      <p:sp>
        <p:nvSpPr>
          <p:cNvPr id="12" name="Rechteck 11"/>
          <p:cNvSpPr/>
          <p:nvPr/>
        </p:nvSpPr>
        <p:spPr>
          <a:xfrm>
            <a:off x="8391053" y="3549863"/>
            <a:ext cx="955040" cy="379656"/>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de-DE" sz="1867" b="0" i="0" u="none" strike="noStrike" kern="1200" cap="none" spc="0" normalizeH="0" baseline="0" noProof="0" dirty="0">
                <a:ln>
                  <a:noFill/>
                </a:ln>
                <a:solidFill>
                  <a:srgbClr val="575757"/>
                </a:solidFill>
                <a:effectLst/>
                <a:uLnTx/>
                <a:uFillTx/>
                <a:latin typeface="Arial"/>
                <a:ea typeface="+mn-ea"/>
                <a:cs typeface="+mn-cs"/>
              </a:rPr>
              <a:t>90 %</a:t>
            </a:r>
          </a:p>
        </p:txBody>
      </p:sp>
      <p:cxnSp>
        <p:nvCxnSpPr>
          <p:cNvPr id="13" name="Gerade Verbindung mit Pfeil 12"/>
          <p:cNvCxnSpPr/>
          <p:nvPr/>
        </p:nvCxnSpPr>
        <p:spPr>
          <a:xfrm>
            <a:off x="6241127" y="4369064"/>
            <a:ext cx="1422400" cy="0"/>
          </a:xfrm>
          <a:prstGeom prst="straightConnector1">
            <a:avLst/>
          </a:prstGeom>
          <a:ln>
            <a:solidFill>
              <a:schemeClr val="accent1">
                <a:shade val="95000"/>
                <a:satMod val="105000"/>
              </a:schemeClr>
            </a:solidFill>
            <a:tailEnd type="arrow"/>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a:xfrm>
            <a:off x="8391053" y="4152595"/>
            <a:ext cx="955040" cy="379656"/>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de-DE" sz="1867" b="0" i="0" u="none" strike="noStrike" kern="1200" cap="none" spc="0" normalizeH="0" baseline="0" noProof="0" dirty="0">
                <a:ln>
                  <a:noFill/>
                </a:ln>
                <a:solidFill>
                  <a:srgbClr val="575757"/>
                </a:solidFill>
                <a:effectLst/>
                <a:uLnTx/>
                <a:uFillTx/>
                <a:latin typeface="Arial"/>
                <a:ea typeface="+mn-ea"/>
                <a:cs typeface="+mn-cs"/>
              </a:rPr>
              <a:t>30 %</a:t>
            </a:r>
          </a:p>
        </p:txBody>
      </p:sp>
      <p:cxnSp>
        <p:nvCxnSpPr>
          <p:cNvPr id="16" name="Gerade Verbindung mit Pfeil 15"/>
          <p:cNvCxnSpPr/>
          <p:nvPr/>
        </p:nvCxnSpPr>
        <p:spPr>
          <a:xfrm>
            <a:off x="6241127" y="4948799"/>
            <a:ext cx="1422400" cy="0"/>
          </a:xfrm>
          <a:prstGeom prst="straightConnector1">
            <a:avLst/>
          </a:prstGeom>
          <a:ln>
            <a:solidFill>
              <a:schemeClr val="accent1">
                <a:shade val="95000"/>
                <a:satMod val="105000"/>
              </a:schemeClr>
            </a:solidFill>
            <a:tailEnd type="arrow"/>
          </a:ln>
        </p:spPr>
        <p:style>
          <a:lnRef idx="1">
            <a:schemeClr val="accent1"/>
          </a:lnRef>
          <a:fillRef idx="0">
            <a:schemeClr val="accent1"/>
          </a:fillRef>
          <a:effectRef idx="0">
            <a:schemeClr val="accent1"/>
          </a:effectRef>
          <a:fontRef idx="minor">
            <a:schemeClr val="tx1"/>
          </a:fontRef>
        </p:style>
      </p:cxnSp>
      <p:sp>
        <p:nvSpPr>
          <p:cNvPr id="17" name="Rechteck 16"/>
          <p:cNvSpPr/>
          <p:nvPr/>
        </p:nvSpPr>
        <p:spPr>
          <a:xfrm>
            <a:off x="1584000" y="2958976"/>
            <a:ext cx="6018107" cy="2103589"/>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de-DE" sz="1867" b="0" i="0" u="none" strike="noStrike" kern="1200" cap="none" spc="0" normalizeH="0" baseline="0" noProof="0" dirty="0">
                <a:ln>
                  <a:noFill/>
                </a:ln>
                <a:solidFill>
                  <a:srgbClr val="575757"/>
                </a:solidFill>
                <a:effectLst/>
                <a:uLnTx/>
                <a:uFillTx/>
                <a:latin typeface="Arial"/>
                <a:ea typeface="+mn-ea"/>
                <a:cs typeface="+mn-cs"/>
              </a:rPr>
              <a:t>1. Positive </a:t>
            </a:r>
            <a:r>
              <a:rPr kumimoji="0" lang="de-DE" sz="1867" b="0" i="0" u="none" strike="noStrike" kern="1200" cap="none" spc="0" normalizeH="0" baseline="0" noProof="0" dirty="0" err="1">
                <a:ln>
                  <a:noFill/>
                </a:ln>
                <a:solidFill>
                  <a:srgbClr val="575757"/>
                </a:solidFill>
                <a:effectLst/>
                <a:uLnTx/>
                <a:uFillTx/>
                <a:latin typeface="Arial"/>
                <a:ea typeface="+mn-ea"/>
                <a:cs typeface="+mn-cs"/>
              </a:rPr>
              <a:t>inertia</a:t>
            </a:r>
            <a:r>
              <a:rPr kumimoji="0" lang="de-DE" sz="1867" b="0" i="0" u="none" strike="noStrike" kern="1200" cap="none" spc="0" normalizeH="0" baseline="0" noProof="0" dirty="0">
                <a:ln>
                  <a:noFill/>
                </a:ln>
                <a:solidFill>
                  <a:srgbClr val="575757"/>
                </a:solidFill>
                <a:effectLst/>
                <a:uLnTx/>
                <a:uFillTx/>
                <a:latin typeface="Arial"/>
                <a:ea typeface="+mn-ea"/>
                <a:cs typeface="+mn-cs"/>
              </a:rPr>
              <a:t> „Basic </a:t>
            </a:r>
            <a:r>
              <a:rPr kumimoji="0" lang="de-DE" sz="1867" b="0" i="0" u="none" strike="noStrike" kern="1200" cap="none" spc="0" normalizeH="0" baseline="0" noProof="0" dirty="0" err="1">
                <a:ln>
                  <a:noFill/>
                </a:ln>
                <a:solidFill>
                  <a:srgbClr val="575757"/>
                </a:solidFill>
                <a:effectLst/>
                <a:uLnTx/>
                <a:uFillTx/>
                <a:latin typeface="Arial"/>
                <a:ea typeface="+mn-ea"/>
                <a:cs typeface="+mn-cs"/>
              </a:rPr>
              <a:t>Product</a:t>
            </a:r>
            <a:r>
              <a:rPr kumimoji="0" lang="de-DE" sz="1867" b="0" i="0" u="none" strike="noStrike" kern="1200" cap="none" spc="0" normalizeH="0" baseline="0" noProof="0" dirty="0">
                <a:ln>
                  <a:noFill/>
                </a:ln>
                <a:solidFill>
                  <a:srgbClr val="575757"/>
                </a:solidFill>
                <a:effectLst/>
                <a:uLnTx/>
                <a:uFillTx/>
                <a:latin typeface="Arial"/>
                <a:ea typeface="+mn-ea"/>
                <a:cs typeface="+mn-cs"/>
              </a:rPr>
              <a:t>“</a:t>
            </a:r>
          </a:p>
          <a:p>
            <a:pPr marL="0" marR="0" lvl="0" indent="0" algn="l" defTabSz="1219170" rtl="0" eaLnBrk="1" fontAlgn="auto" latinLnBrk="0" hangingPunct="1">
              <a:lnSpc>
                <a:spcPct val="100000"/>
              </a:lnSpc>
              <a:spcBef>
                <a:spcPts val="0"/>
              </a:spcBef>
              <a:spcAft>
                <a:spcPts val="0"/>
              </a:spcAft>
              <a:buClrTx/>
              <a:buSzTx/>
              <a:buFontTx/>
              <a:buNone/>
              <a:tabLst/>
              <a:defRPr/>
            </a:pPr>
            <a:br>
              <a:rPr kumimoji="0" lang="de-DE" sz="1867" b="0" i="0" u="none" strike="noStrike" kern="1200" cap="none" spc="0" normalizeH="0" baseline="0" noProof="0" dirty="0">
                <a:ln>
                  <a:noFill/>
                </a:ln>
                <a:solidFill>
                  <a:srgbClr val="575757"/>
                </a:solidFill>
                <a:effectLst/>
                <a:uLnTx/>
                <a:uFillTx/>
                <a:latin typeface="Arial"/>
                <a:ea typeface="+mn-ea"/>
                <a:cs typeface="+mn-cs"/>
              </a:rPr>
            </a:br>
            <a:r>
              <a:rPr kumimoji="0" lang="de-DE" sz="1867" b="0" i="0" u="none" strike="noStrike" kern="1200" cap="none" spc="0" normalizeH="0" baseline="0" noProof="0" dirty="0">
                <a:ln>
                  <a:noFill/>
                </a:ln>
                <a:solidFill>
                  <a:srgbClr val="575757"/>
                </a:solidFill>
                <a:effectLst/>
                <a:uLnTx/>
                <a:uFillTx/>
                <a:latin typeface="Arial"/>
                <a:ea typeface="+mn-ea"/>
                <a:cs typeface="+mn-cs"/>
              </a:rPr>
              <a:t>2. Positive </a:t>
            </a:r>
            <a:r>
              <a:rPr kumimoji="0" lang="de-DE" sz="1867" b="0" i="0" u="none" strike="noStrike" kern="1200" cap="none" spc="0" normalizeH="0" baseline="0" noProof="0" dirty="0" err="1">
                <a:ln>
                  <a:noFill/>
                </a:ln>
                <a:solidFill>
                  <a:srgbClr val="575757"/>
                </a:solidFill>
                <a:effectLst/>
                <a:uLnTx/>
                <a:uFillTx/>
                <a:latin typeface="Arial"/>
                <a:ea typeface="+mn-ea"/>
                <a:cs typeface="+mn-cs"/>
              </a:rPr>
              <a:t>inertia</a:t>
            </a:r>
            <a:r>
              <a:rPr kumimoji="0" lang="de-DE" sz="1867" b="0" i="0" u="none" strike="noStrike" kern="1200" cap="none" spc="0" normalizeH="0" baseline="0" noProof="0" dirty="0">
                <a:ln>
                  <a:noFill/>
                </a:ln>
                <a:solidFill>
                  <a:srgbClr val="575757"/>
                </a:solidFill>
                <a:effectLst/>
                <a:uLnTx/>
                <a:uFillTx/>
                <a:latin typeface="Arial"/>
                <a:ea typeface="+mn-ea"/>
                <a:cs typeface="+mn-cs"/>
              </a:rPr>
              <a:t> „Premium </a:t>
            </a:r>
            <a:r>
              <a:rPr kumimoji="0" lang="de-DE" sz="1867" b="0" i="0" u="none" strike="noStrike" kern="1200" cap="none" spc="0" normalizeH="0" baseline="0" noProof="0" dirty="0" err="1">
                <a:ln>
                  <a:noFill/>
                </a:ln>
                <a:solidFill>
                  <a:srgbClr val="575757"/>
                </a:solidFill>
                <a:effectLst/>
                <a:uLnTx/>
                <a:uFillTx/>
                <a:latin typeface="Arial"/>
                <a:ea typeface="+mn-ea"/>
                <a:cs typeface="+mn-cs"/>
              </a:rPr>
              <a:t>Product</a:t>
            </a:r>
            <a:r>
              <a:rPr kumimoji="0" lang="de-DE" sz="1867" b="0" i="0" u="none" strike="noStrike" kern="1200" cap="none" spc="0" normalizeH="0" baseline="0" noProof="0" dirty="0">
                <a:ln>
                  <a:noFill/>
                </a:ln>
                <a:solidFill>
                  <a:srgbClr val="575757"/>
                </a:solidFill>
                <a:effectLst/>
                <a:uLnTx/>
                <a:uFillTx/>
                <a:latin typeface="Arial"/>
                <a:ea typeface="+mn-ea"/>
                <a:cs typeface="+mn-cs"/>
              </a:rPr>
              <a:t>“</a:t>
            </a:r>
            <a:br>
              <a:rPr kumimoji="0" lang="de-DE" sz="1867" b="0" i="0" u="none" strike="noStrike" kern="1200" cap="none" spc="0" normalizeH="0" baseline="0" noProof="0" dirty="0">
                <a:ln>
                  <a:noFill/>
                </a:ln>
                <a:solidFill>
                  <a:srgbClr val="575757"/>
                </a:solidFill>
                <a:effectLst/>
                <a:uLnTx/>
                <a:uFillTx/>
                <a:latin typeface="Arial"/>
                <a:ea typeface="+mn-ea"/>
                <a:cs typeface="+mn-cs"/>
              </a:rPr>
            </a:br>
            <a:endParaRPr kumimoji="0" lang="de-DE" sz="1867" b="0" i="0" u="none" strike="noStrike" kern="1200" cap="none" spc="0" normalizeH="0" baseline="0" noProof="0" dirty="0">
              <a:ln>
                <a:noFill/>
              </a:ln>
              <a:solidFill>
                <a:srgbClr val="575757"/>
              </a:solidFill>
              <a:effectLst/>
              <a:uLnTx/>
              <a:uFillTx/>
              <a:latin typeface="Arial"/>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de-DE" sz="1867" b="0" i="0" u="none" strike="noStrike" kern="1200" cap="none" spc="0" normalizeH="0" baseline="0" noProof="0" dirty="0">
                <a:ln>
                  <a:noFill/>
                </a:ln>
                <a:solidFill>
                  <a:srgbClr val="575757"/>
                </a:solidFill>
                <a:effectLst/>
                <a:uLnTx/>
                <a:uFillTx/>
                <a:latin typeface="Arial"/>
                <a:ea typeface="+mn-ea"/>
                <a:cs typeface="+mn-cs"/>
              </a:rPr>
              <a:t>3. Negative </a:t>
            </a:r>
            <a:r>
              <a:rPr kumimoji="0" lang="de-DE" sz="1867" b="0" i="0" u="none" strike="noStrike" kern="1200" cap="none" spc="0" normalizeH="0" baseline="0" noProof="0" dirty="0" err="1">
                <a:ln>
                  <a:noFill/>
                </a:ln>
                <a:solidFill>
                  <a:srgbClr val="575757"/>
                </a:solidFill>
                <a:effectLst/>
                <a:uLnTx/>
                <a:uFillTx/>
                <a:latin typeface="Arial"/>
                <a:ea typeface="+mn-ea"/>
                <a:cs typeface="+mn-cs"/>
              </a:rPr>
              <a:t>inertia</a:t>
            </a:r>
            <a:r>
              <a:rPr kumimoji="0" lang="de-DE" sz="1867" b="0" i="0" u="none" strike="noStrike" kern="1200" cap="none" spc="0" normalizeH="0" baseline="0" noProof="0" dirty="0">
                <a:ln>
                  <a:noFill/>
                </a:ln>
                <a:solidFill>
                  <a:srgbClr val="575757"/>
                </a:solidFill>
                <a:effectLst/>
                <a:uLnTx/>
                <a:uFillTx/>
                <a:latin typeface="Arial"/>
                <a:ea typeface="+mn-ea"/>
                <a:cs typeface="+mn-cs"/>
              </a:rPr>
              <a:t> „Basic </a:t>
            </a:r>
            <a:r>
              <a:rPr kumimoji="0" lang="de-DE" sz="1867" b="0" i="0" u="none" strike="noStrike" kern="1200" cap="none" spc="0" normalizeH="0" baseline="0" noProof="0" dirty="0" err="1">
                <a:ln>
                  <a:noFill/>
                </a:ln>
                <a:solidFill>
                  <a:srgbClr val="575757"/>
                </a:solidFill>
                <a:effectLst/>
                <a:uLnTx/>
                <a:uFillTx/>
                <a:latin typeface="Arial"/>
                <a:ea typeface="+mn-ea"/>
                <a:cs typeface="+mn-cs"/>
              </a:rPr>
              <a:t>Product</a:t>
            </a:r>
            <a:r>
              <a:rPr kumimoji="0" lang="de-DE" sz="1867" b="0" i="0" u="none" strike="noStrike" kern="1200" cap="none" spc="0" normalizeH="0" baseline="0" noProof="0" dirty="0">
                <a:ln>
                  <a:noFill/>
                </a:ln>
                <a:solidFill>
                  <a:srgbClr val="575757"/>
                </a:solidFill>
                <a:effectLst/>
                <a:uLnTx/>
                <a:uFillTx/>
                <a:latin typeface="Arial"/>
                <a:ea typeface="+mn-ea"/>
                <a:cs typeface="+mn-cs"/>
              </a:rPr>
              <a:t>“</a:t>
            </a:r>
            <a:br>
              <a:rPr kumimoji="0" lang="de-DE" sz="1867" b="0" i="0" u="none" strike="noStrike" kern="1200" cap="none" spc="0" normalizeH="0" baseline="0" noProof="0" dirty="0">
                <a:ln>
                  <a:noFill/>
                </a:ln>
                <a:solidFill>
                  <a:srgbClr val="575757"/>
                </a:solidFill>
                <a:effectLst/>
                <a:uLnTx/>
                <a:uFillTx/>
                <a:latin typeface="Arial"/>
                <a:ea typeface="+mn-ea"/>
                <a:cs typeface="+mn-cs"/>
              </a:rPr>
            </a:br>
            <a:br>
              <a:rPr kumimoji="0" lang="de-DE" sz="1867" b="0" i="0" u="none" strike="noStrike" kern="1200" cap="none" spc="0" normalizeH="0" baseline="0" noProof="0" dirty="0">
                <a:ln>
                  <a:noFill/>
                </a:ln>
                <a:solidFill>
                  <a:srgbClr val="575757"/>
                </a:solidFill>
                <a:effectLst/>
                <a:uLnTx/>
                <a:uFillTx/>
                <a:latin typeface="Arial"/>
                <a:ea typeface="+mn-ea"/>
                <a:cs typeface="+mn-cs"/>
              </a:rPr>
            </a:br>
            <a:r>
              <a:rPr kumimoji="0" lang="de-DE" sz="1867" b="0" i="0" u="none" strike="noStrike" kern="1200" cap="none" spc="0" normalizeH="0" baseline="0" noProof="0" dirty="0">
                <a:ln>
                  <a:noFill/>
                </a:ln>
                <a:solidFill>
                  <a:srgbClr val="575757"/>
                </a:solidFill>
                <a:effectLst/>
                <a:uLnTx/>
                <a:uFillTx/>
                <a:latin typeface="Arial"/>
                <a:ea typeface="+mn-ea"/>
                <a:cs typeface="+mn-cs"/>
              </a:rPr>
              <a:t>4. Negative </a:t>
            </a:r>
            <a:r>
              <a:rPr kumimoji="0" lang="de-DE" sz="1867" b="0" i="0" u="none" strike="noStrike" kern="1200" cap="none" spc="0" normalizeH="0" baseline="0" noProof="0" dirty="0" err="1">
                <a:ln>
                  <a:noFill/>
                </a:ln>
                <a:solidFill>
                  <a:srgbClr val="575757"/>
                </a:solidFill>
                <a:effectLst/>
                <a:uLnTx/>
                <a:uFillTx/>
                <a:latin typeface="Arial"/>
                <a:ea typeface="+mn-ea"/>
                <a:cs typeface="+mn-cs"/>
              </a:rPr>
              <a:t>inertia</a:t>
            </a:r>
            <a:r>
              <a:rPr kumimoji="0" lang="de-DE" sz="1867" b="0" i="0" u="none" strike="noStrike" kern="1200" cap="none" spc="0" normalizeH="0" baseline="0" noProof="0" dirty="0">
                <a:ln>
                  <a:noFill/>
                </a:ln>
                <a:solidFill>
                  <a:srgbClr val="575757"/>
                </a:solidFill>
                <a:effectLst/>
                <a:uLnTx/>
                <a:uFillTx/>
                <a:latin typeface="Arial"/>
                <a:ea typeface="+mn-ea"/>
                <a:cs typeface="+mn-cs"/>
              </a:rPr>
              <a:t> „Premium </a:t>
            </a:r>
            <a:r>
              <a:rPr kumimoji="0" lang="de-DE" sz="1867" b="0" i="0" u="none" strike="noStrike" kern="1200" cap="none" spc="0" normalizeH="0" baseline="0" noProof="0" dirty="0" err="1">
                <a:ln>
                  <a:noFill/>
                </a:ln>
                <a:solidFill>
                  <a:srgbClr val="575757"/>
                </a:solidFill>
                <a:effectLst/>
                <a:uLnTx/>
                <a:uFillTx/>
                <a:latin typeface="Arial"/>
                <a:ea typeface="+mn-ea"/>
                <a:cs typeface="+mn-cs"/>
              </a:rPr>
              <a:t>Product</a:t>
            </a:r>
            <a:r>
              <a:rPr kumimoji="0" lang="de-DE" sz="1867" b="0" i="0" u="none" strike="noStrike" kern="1200" cap="none" spc="0" normalizeH="0" baseline="0" noProof="0" dirty="0">
                <a:ln>
                  <a:noFill/>
                </a:ln>
                <a:solidFill>
                  <a:srgbClr val="575757"/>
                </a:solidFill>
                <a:effectLst/>
                <a:uLnTx/>
                <a:uFillTx/>
                <a:latin typeface="Arial"/>
                <a:ea typeface="+mn-ea"/>
                <a:cs typeface="+mn-cs"/>
              </a:rPr>
              <a:t>“</a:t>
            </a:r>
          </a:p>
        </p:txBody>
      </p:sp>
      <p:sp>
        <p:nvSpPr>
          <p:cNvPr id="18" name="Rechteck 17"/>
          <p:cNvSpPr/>
          <p:nvPr/>
        </p:nvSpPr>
        <p:spPr>
          <a:xfrm>
            <a:off x="8391053" y="4723561"/>
            <a:ext cx="955040" cy="379656"/>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de-DE" sz="1867" b="0" i="0" u="none" strike="noStrike" kern="1200" cap="none" spc="0" normalizeH="0" baseline="0" noProof="0" dirty="0">
                <a:ln>
                  <a:noFill/>
                </a:ln>
                <a:solidFill>
                  <a:srgbClr val="575757"/>
                </a:solidFill>
                <a:effectLst/>
                <a:uLnTx/>
                <a:uFillTx/>
                <a:latin typeface="Arial"/>
                <a:ea typeface="+mn-ea"/>
                <a:cs typeface="+mn-cs"/>
              </a:rPr>
              <a:t>90 %</a:t>
            </a:r>
          </a:p>
        </p:txBody>
      </p:sp>
      <p:sp>
        <p:nvSpPr>
          <p:cNvPr id="7" name="TextBox 6">
            <a:extLst>
              <a:ext uri="{FF2B5EF4-FFF2-40B4-BE49-F238E27FC236}">
                <a16:creationId xmlns:a16="http://schemas.microsoft.com/office/drawing/2014/main" id="{6C3AB387-6F9A-0E0F-0ABC-C07A5B5DFF86}"/>
              </a:ext>
            </a:extLst>
          </p:cNvPr>
          <p:cNvSpPr txBox="1"/>
          <p:nvPr/>
        </p:nvSpPr>
        <p:spPr>
          <a:xfrm>
            <a:off x="476794" y="5738032"/>
            <a:ext cx="11384280" cy="5078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200"/>
              </a:spcBef>
              <a:spcAft>
                <a:spcPts val="0"/>
              </a:spcAft>
              <a:buClr>
                <a:srgbClr val="0064B4"/>
              </a:buClr>
              <a:buSzTx/>
              <a:buFontTx/>
              <a:buNone/>
              <a:tabLst/>
              <a:defRPr/>
            </a:pPr>
            <a:r>
              <a:rPr kumimoji="0" lang="en-US" sz="1100" b="0" i="0" u="none" strike="noStrike" kern="1200" cap="none" spc="0" normalizeH="0" baseline="0" noProof="0" dirty="0">
                <a:ln>
                  <a:noFill/>
                </a:ln>
                <a:solidFill>
                  <a:srgbClr val="575757"/>
                </a:solidFill>
                <a:effectLst/>
                <a:uLnTx/>
                <a:uFillTx/>
                <a:latin typeface="Arial"/>
                <a:ea typeface="+mn-ea"/>
                <a:cs typeface="+mn-cs"/>
              </a:rPr>
              <a:t>Source: “Requirements and verification procedures for </a:t>
            </a:r>
            <a:r>
              <a:rPr kumimoji="0" lang="en-US" sz="1100" b="0" i="0" u="none" strike="noStrike" kern="1200" cap="none" spc="0" normalizeH="0" baseline="0" noProof="0" dirty="0" err="1">
                <a:ln>
                  <a:noFill/>
                </a:ln>
                <a:solidFill>
                  <a:srgbClr val="575757"/>
                </a:solidFill>
                <a:effectLst/>
                <a:uLnTx/>
                <a:uFillTx/>
                <a:latin typeface="Arial"/>
                <a:ea typeface="+mn-ea"/>
                <a:cs typeface="+mn-cs"/>
              </a:rPr>
              <a:t>gridforming</a:t>
            </a:r>
            <a:r>
              <a:rPr kumimoji="0" lang="en-US" sz="1100" b="0" i="0" u="none" strike="noStrike" kern="1200" cap="none" spc="0" normalizeH="0" baseline="0" noProof="0" dirty="0">
                <a:ln>
                  <a:noFill/>
                </a:ln>
                <a:solidFill>
                  <a:srgbClr val="575757"/>
                </a:solidFill>
                <a:effectLst/>
                <a:uLnTx/>
                <a:uFillTx/>
                <a:latin typeface="Arial"/>
                <a:ea typeface="+mn-ea"/>
                <a:cs typeface="+mn-cs"/>
              </a:rPr>
              <a:t> units – the German approach to ensure power system stability under very high penetration of inverter-based sources”, presented by K. </a:t>
            </a:r>
            <a:r>
              <a:rPr kumimoji="0" lang="en-US" sz="1100" b="0" i="0" u="none" strike="noStrike" kern="1200" cap="none" spc="0" normalizeH="0" baseline="0" noProof="0" dirty="0" err="1">
                <a:ln>
                  <a:noFill/>
                </a:ln>
                <a:solidFill>
                  <a:srgbClr val="575757"/>
                </a:solidFill>
                <a:effectLst/>
                <a:uLnTx/>
                <a:uFillTx/>
                <a:latin typeface="Arial"/>
                <a:ea typeface="+mn-ea"/>
                <a:cs typeface="+mn-cs"/>
              </a:rPr>
              <a:t>Malekian</a:t>
            </a:r>
            <a:r>
              <a:rPr kumimoji="0" lang="en-US" sz="1100" b="0" i="0" u="none" strike="noStrike" kern="1200" cap="none" spc="0" normalizeH="0" baseline="0" noProof="0" dirty="0">
                <a:ln>
                  <a:noFill/>
                </a:ln>
                <a:solidFill>
                  <a:srgbClr val="575757"/>
                </a:solidFill>
                <a:effectLst/>
                <a:uLnTx/>
                <a:uFillTx/>
                <a:latin typeface="Arial"/>
                <a:ea typeface="+mn-ea"/>
                <a:cs typeface="+mn-cs"/>
              </a:rPr>
              <a:t>, E. Quitmann (Enercon), T. </a:t>
            </a:r>
            <a:r>
              <a:rPr kumimoji="0" lang="en-US" sz="1100" b="0" i="0" u="none" strike="noStrike" kern="1200" cap="none" spc="0" normalizeH="0" baseline="0" noProof="0" dirty="0" err="1">
                <a:ln>
                  <a:noFill/>
                </a:ln>
                <a:solidFill>
                  <a:srgbClr val="575757"/>
                </a:solidFill>
                <a:effectLst/>
                <a:uLnTx/>
                <a:uFillTx/>
                <a:latin typeface="Arial"/>
                <a:ea typeface="+mn-ea"/>
                <a:cs typeface="+mn-cs"/>
              </a:rPr>
              <a:t>Bülo</a:t>
            </a:r>
            <a:r>
              <a:rPr kumimoji="0" lang="en-US" sz="1100" b="0" i="0" u="none" strike="noStrike" kern="1200" cap="none" spc="0" normalizeH="0" baseline="0" noProof="0" dirty="0">
                <a:ln>
                  <a:noFill/>
                </a:ln>
                <a:solidFill>
                  <a:srgbClr val="575757"/>
                </a:solidFill>
                <a:effectLst/>
                <a:uLnTx/>
                <a:uFillTx/>
                <a:latin typeface="Arial"/>
                <a:ea typeface="+mn-ea"/>
                <a:cs typeface="+mn-cs"/>
              </a:rPr>
              <a:t> (SMA), J. </a:t>
            </a:r>
            <a:r>
              <a:rPr kumimoji="0" lang="en-US" sz="1100" b="0" i="0" u="none" strike="noStrike" kern="1200" cap="none" spc="0" normalizeH="0" baseline="0" noProof="0" dirty="0" err="1">
                <a:ln>
                  <a:noFill/>
                </a:ln>
                <a:solidFill>
                  <a:srgbClr val="575757"/>
                </a:solidFill>
                <a:effectLst/>
                <a:uLnTx/>
                <a:uFillTx/>
                <a:latin typeface="Arial"/>
                <a:ea typeface="+mn-ea"/>
                <a:cs typeface="+mn-cs"/>
              </a:rPr>
              <a:t>Massmann</a:t>
            </a:r>
            <a:r>
              <a:rPr kumimoji="0" lang="en-US" sz="1100" b="0" i="0" u="none" strike="noStrike" kern="1200" cap="none" spc="0" normalizeH="0" baseline="0" noProof="0" dirty="0">
                <a:ln>
                  <a:noFill/>
                </a:ln>
                <a:solidFill>
                  <a:srgbClr val="575757"/>
                </a:solidFill>
                <a:effectLst/>
                <a:uLnTx/>
                <a:uFillTx/>
                <a:latin typeface="Arial"/>
                <a:ea typeface="+mn-ea"/>
                <a:cs typeface="+mn-cs"/>
              </a:rPr>
              <a:t> (</a:t>
            </a:r>
            <a:r>
              <a:rPr kumimoji="0" lang="en-US" sz="1100" b="0" i="0" u="none" strike="noStrike" kern="1200" cap="none" spc="0" normalizeH="0" baseline="0" noProof="0" dirty="0" err="1">
                <a:ln>
                  <a:noFill/>
                </a:ln>
                <a:solidFill>
                  <a:srgbClr val="575757"/>
                </a:solidFill>
                <a:effectLst/>
                <a:uLnTx/>
                <a:uFillTx/>
                <a:latin typeface="Arial"/>
                <a:ea typeface="+mn-ea"/>
                <a:cs typeface="+mn-cs"/>
              </a:rPr>
              <a:t>Amprion</a:t>
            </a:r>
            <a:r>
              <a:rPr kumimoji="0" lang="en-US" sz="1100" b="0" i="0" u="none" strike="noStrike" kern="1200" cap="none" spc="0" normalizeH="0" baseline="0" noProof="0" dirty="0">
                <a:ln>
                  <a:noFill/>
                </a:ln>
                <a:solidFill>
                  <a:srgbClr val="575757"/>
                </a:solidFill>
                <a:effectLst/>
                <a:uLnTx/>
                <a:uFillTx/>
                <a:latin typeface="Arial"/>
                <a:ea typeface="+mn-ea"/>
                <a:cs typeface="+mn-cs"/>
              </a:rPr>
              <a:t>), M. </a:t>
            </a:r>
            <a:r>
              <a:rPr kumimoji="0" lang="en-US" sz="1100" b="0" i="0" u="none" strike="noStrike" kern="1200" cap="none" spc="0" normalizeH="0" baseline="0" noProof="0" dirty="0" err="1">
                <a:ln>
                  <a:noFill/>
                </a:ln>
                <a:solidFill>
                  <a:srgbClr val="575757"/>
                </a:solidFill>
                <a:effectLst/>
                <a:uLnTx/>
                <a:uFillTx/>
                <a:latin typeface="Arial"/>
                <a:ea typeface="+mn-ea"/>
                <a:cs typeface="+mn-cs"/>
              </a:rPr>
              <a:t>Schmieg</a:t>
            </a:r>
            <a:r>
              <a:rPr kumimoji="0" lang="en-US" sz="1100" b="0" i="0" u="none" strike="noStrike" kern="1200" cap="none" spc="0" normalizeH="0" baseline="0" noProof="0" dirty="0">
                <a:ln>
                  <a:noFill/>
                </a:ln>
                <a:solidFill>
                  <a:srgbClr val="575757"/>
                </a:solidFill>
                <a:effectLst/>
                <a:uLnTx/>
                <a:uFillTx/>
                <a:latin typeface="Arial"/>
                <a:ea typeface="+mn-ea"/>
                <a:cs typeface="+mn-cs"/>
              </a:rPr>
              <a:t> (</a:t>
            </a:r>
            <a:r>
              <a:rPr kumimoji="0" lang="en-US" sz="1100" b="0" i="0" u="none" strike="noStrike" kern="1200" cap="none" spc="0" normalizeH="0" baseline="0" noProof="0" dirty="0" err="1">
                <a:ln>
                  <a:noFill/>
                </a:ln>
                <a:solidFill>
                  <a:srgbClr val="575757"/>
                </a:solidFill>
                <a:effectLst/>
                <a:uLnTx/>
                <a:uFillTx/>
                <a:latin typeface="Arial"/>
                <a:ea typeface="+mn-ea"/>
                <a:cs typeface="+mn-cs"/>
              </a:rPr>
              <a:t>DigSilent</a:t>
            </a:r>
            <a:r>
              <a:rPr kumimoji="0" lang="en-US" sz="1100" b="0" i="0" u="none" strike="noStrike" kern="1200" cap="none" spc="0" normalizeH="0" baseline="0" noProof="0" dirty="0">
                <a:ln>
                  <a:noFill/>
                </a:ln>
                <a:solidFill>
                  <a:srgbClr val="575757"/>
                </a:solidFill>
                <a:effectLst/>
                <a:uLnTx/>
                <a:uFillTx/>
                <a:latin typeface="Arial"/>
                <a:ea typeface="+mn-ea"/>
                <a:cs typeface="+mn-cs"/>
              </a:rPr>
              <a:t>), C. </a:t>
            </a:r>
            <a:r>
              <a:rPr kumimoji="0" lang="en-US" sz="1100" b="0" i="0" u="none" strike="noStrike" kern="1200" cap="none" spc="0" normalizeH="0" baseline="0" noProof="0" dirty="0" err="1">
                <a:ln>
                  <a:noFill/>
                </a:ln>
                <a:solidFill>
                  <a:srgbClr val="575757"/>
                </a:solidFill>
                <a:effectLst/>
                <a:uLnTx/>
                <a:uFillTx/>
                <a:latin typeface="Arial"/>
                <a:ea typeface="+mn-ea"/>
                <a:cs typeface="+mn-cs"/>
              </a:rPr>
              <a:t>Wulkow</a:t>
            </a:r>
            <a:r>
              <a:rPr kumimoji="0" lang="en-US" sz="1100" b="0" i="0" u="none" strike="noStrike" kern="1200" cap="none" spc="0" normalizeH="0" baseline="0" noProof="0" dirty="0">
                <a:ln>
                  <a:noFill/>
                </a:ln>
                <a:solidFill>
                  <a:srgbClr val="575757"/>
                </a:solidFill>
                <a:effectLst/>
                <a:uLnTx/>
                <a:uFillTx/>
                <a:latin typeface="Arial"/>
                <a:ea typeface="+mn-ea"/>
                <a:cs typeface="+mn-cs"/>
              </a:rPr>
              <a:t> (VDE FNN), 23</a:t>
            </a:r>
            <a:r>
              <a:rPr kumimoji="0" lang="en-US" sz="1100" b="0" i="0" u="none" strike="noStrike" kern="1200" cap="none" spc="0" normalizeH="0" baseline="30000" noProof="0" dirty="0">
                <a:ln>
                  <a:noFill/>
                </a:ln>
                <a:solidFill>
                  <a:srgbClr val="575757"/>
                </a:solidFill>
                <a:effectLst/>
                <a:uLnTx/>
                <a:uFillTx/>
                <a:latin typeface="Arial"/>
                <a:ea typeface="+mn-ea"/>
                <a:cs typeface="+mn-cs"/>
              </a:rPr>
              <a:t>rd</a:t>
            </a:r>
            <a:r>
              <a:rPr kumimoji="0" lang="en-US" sz="1100" b="0" i="0" u="none" strike="noStrike" kern="1200" cap="none" spc="0" normalizeH="0" baseline="0" noProof="0" dirty="0">
                <a:ln>
                  <a:noFill/>
                </a:ln>
                <a:solidFill>
                  <a:srgbClr val="575757"/>
                </a:solidFill>
                <a:effectLst/>
                <a:uLnTx/>
                <a:uFillTx/>
                <a:latin typeface="Arial"/>
                <a:ea typeface="+mn-ea"/>
                <a:cs typeface="+mn-cs"/>
              </a:rPr>
              <a:t> Wind &amp; Solar Integration Workshop, Helsinki, Finland, October 8-11</a:t>
            </a:r>
            <a:r>
              <a:rPr kumimoji="0" lang="en-US" sz="1100" b="0" i="0" u="none" strike="noStrike" kern="1200" cap="none" spc="0" normalizeH="0" baseline="30000" noProof="0" dirty="0">
                <a:ln>
                  <a:noFill/>
                </a:ln>
                <a:solidFill>
                  <a:srgbClr val="575757"/>
                </a:solidFill>
                <a:effectLst/>
                <a:uLnTx/>
                <a:uFillTx/>
                <a:latin typeface="Arial"/>
                <a:ea typeface="+mn-ea"/>
                <a:cs typeface="+mn-cs"/>
              </a:rPr>
              <a:t>th</a:t>
            </a:r>
            <a:r>
              <a:rPr kumimoji="0" lang="en-US" sz="1100" b="0" i="0" u="none" strike="noStrike" kern="1200" cap="none" spc="0" normalizeH="0" baseline="0" noProof="0" dirty="0">
                <a:ln>
                  <a:noFill/>
                </a:ln>
                <a:solidFill>
                  <a:srgbClr val="575757"/>
                </a:solidFill>
                <a:effectLst/>
                <a:uLnTx/>
                <a:uFillTx/>
                <a:latin typeface="Arial"/>
                <a:ea typeface="+mn-ea"/>
                <a:cs typeface="+mn-cs"/>
              </a:rPr>
              <a:t> </a:t>
            </a:r>
          </a:p>
        </p:txBody>
      </p:sp>
    </p:spTree>
    <p:extLst>
      <p:ext uri="{BB962C8B-B14F-4D97-AF65-F5344CB8AC3E}">
        <p14:creationId xmlns:p14="http://schemas.microsoft.com/office/powerpoint/2010/main" val="13216121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up)">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childTnLst>
                                </p:cTn>
                              </p:par>
                              <p:par>
                                <p:cTn id="12" presetID="1" presetClass="entr" presetSubtype="0" fill="hold" nodeType="withEffect">
                                  <p:stCondLst>
                                    <p:cond delay="0"/>
                                  </p:stCondLst>
                                  <p:childTnLst>
                                    <p:set>
                                      <p:cBhvr>
                                        <p:cTn id="13" dur="1" fill="hold">
                                          <p:stCondLst>
                                            <p:cond delay="0"/>
                                          </p:stCondLst>
                                        </p:cTn>
                                        <p:tgtEl>
                                          <p:spTgt spid="11"/>
                                        </p:tgtEl>
                                        <p:attrNameLst>
                                          <p:attrName>style.visibility</p:attrName>
                                        </p:attrNameLst>
                                      </p:cBhvr>
                                      <p:to>
                                        <p:strVal val="visible"/>
                                      </p:to>
                                    </p:set>
                                  </p:childTnLst>
                                </p:cTn>
                              </p:par>
                              <p:par>
                                <p:cTn id="14" presetID="1" presetClass="entr" presetSubtype="0" fill="hold" nodeType="withEffect">
                                  <p:stCondLst>
                                    <p:cond delay="0"/>
                                  </p:stCondLst>
                                  <p:childTnLst>
                                    <p:set>
                                      <p:cBhvr>
                                        <p:cTn id="15" dur="1" fill="hold">
                                          <p:stCondLst>
                                            <p:cond delay="0"/>
                                          </p:stCondLst>
                                        </p:cTn>
                                        <p:tgtEl>
                                          <p:spTgt spid="13"/>
                                        </p:tgtEl>
                                        <p:attrNameLst>
                                          <p:attrName>style.visibility</p:attrName>
                                        </p:attrNameLst>
                                      </p:cBhvr>
                                      <p:to>
                                        <p:strVal val="visible"/>
                                      </p:to>
                                    </p:set>
                                  </p:childTnLst>
                                </p:cTn>
                              </p:par>
                              <p:par>
                                <p:cTn id="16" presetID="1" presetClass="entr" presetSubtype="0" fill="hold" nodeType="withEffect">
                                  <p:stCondLst>
                                    <p:cond delay="0"/>
                                  </p:stCondLst>
                                  <p:childTnLst>
                                    <p:set>
                                      <p:cBhvr>
                                        <p:cTn id="17" dur="1" fill="hold">
                                          <p:stCondLst>
                                            <p:cond delay="0"/>
                                          </p:stCondLst>
                                        </p:cTn>
                                        <p:tgtEl>
                                          <p:spTgt spid="16"/>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14"/>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12"/>
                                        </p:tgtEl>
                                        <p:attrNameLst>
                                          <p:attrName>style.visibility</p:attrName>
                                        </p:attrNameLst>
                                      </p:cBhvr>
                                      <p:to>
                                        <p:strVal val="visible"/>
                                      </p:to>
                                    </p:set>
                                  </p:childTnLst>
                                </p:cTn>
                              </p:par>
                              <p:par>
                                <p:cTn id="22" presetID="1" presetClass="entr" presetSubtype="0" fill="hold" grpId="0" nodeType="withEffect">
                                  <p:stCondLst>
                                    <p:cond delay="0"/>
                                  </p:stCondLst>
                                  <p:childTnLst>
                                    <p:set>
                                      <p:cBhvr>
                                        <p:cTn id="23" dur="1" fill="hold">
                                          <p:stCondLst>
                                            <p:cond delay="0"/>
                                          </p:stCondLst>
                                        </p:cTn>
                                        <p:tgtEl>
                                          <p:spTgt spid="10"/>
                                        </p:tgtEl>
                                        <p:attrNameLst>
                                          <p:attrName>style.visibility</p:attrName>
                                        </p:attrNameLst>
                                      </p:cBhvr>
                                      <p:to>
                                        <p:strVal val="visible"/>
                                      </p:to>
                                    </p:set>
                                  </p:childTnLst>
                                </p:cTn>
                              </p:par>
                              <p:par>
                                <p:cTn id="24" presetID="1" presetClass="entr" presetSubtype="0" fill="hold" grpId="0" nodeType="withEffect">
                                  <p:stCondLst>
                                    <p:cond delay="0"/>
                                  </p:stCondLst>
                                  <p:childTnLst>
                                    <p:set>
                                      <p:cBhvr>
                                        <p:cTn id="25" dur="1" fill="hold">
                                          <p:stCondLst>
                                            <p:cond delay="0"/>
                                          </p:stCondLst>
                                        </p:cTn>
                                        <p:tgtEl>
                                          <p:spTgt spid="9"/>
                                        </p:tgtEl>
                                        <p:attrNameLst>
                                          <p:attrName>style.visibility</p:attrName>
                                        </p:attrNameLst>
                                      </p:cBhvr>
                                      <p:to>
                                        <p:strVal val="visible"/>
                                      </p:to>
                                    </p:set>
                                  </p:childTnLst>
                                </p:cTn>
                              </p:par>
                              <p:par>
                                <p:cTn id="26" presetID="1" presetClass="entr" presetSubtype="0" fill="hold" grpId="0" nodeType="withEffect">
                                  <p:stCondLst>
                                    <p:cond delay="0"/>
                                  </p:stCondLst>
                                  <p:childTnLst>
                                    <p:set>
                                      <p:cBhvr>
                                        <p:cTn id="27"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2" grpId="0"/>
      <p:bldP spid="14" grpId="0"/>
      <p:bldP spid="17" grpId="0"/>
      <p:bldP spid="18"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0DB3606-1CBA-52D4-F6E2-E6BA392EAED3}"/>
              </a:ext>
            </a:extLst>
          </p:cNvPr>
          <p:cNvSpPr>
            <a:spLocks noGrp="1"/>
          </p:cNvSpPr>
          <p:nvPr>
            <p:ph type="title"/>
          </p:nvPr>
        </p:nvSpPr>
        <p:spPr/>
        <p:txBody>
          <a:bodyPr/>
          <a:lstStyle/>
          <a:p>
            <a:r>
              <a:rPr lang="en-GB" dirty="0"/>
              <a:t>Meeting the system needs with the help of three pillars</a:t>
            </a:r>
          </a:p>
        </p:txBody>
      </p:sp>
      <p:sp>
        <p:nvSpPr>
          <p:cNvPr id="3" name="Datumsplatzhalter 2">
            <a:extLst>
              <a:ext uri="{FF2B5EF4-FFF2-40B4-BE49-F238E27FC236}">
                <a16:creationId xmlns:a16="http://schemas.microsoft.com/office/drawing/2014/main" id="{66F8253F-649B-00A6-1902-0CE96A0D2F78}"/>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srgbClr val="0064B4"/>
                </a:solidFill>
                <a:effectLst/>
                <a:uLnTx/>
                <a:uFillTx/>
                <a:latin typeface="Arial"/>
                <a:ea typeface="+mn-ea"/>
                <a:cs typeface="+mn-cs"/>
              </a:rPr>
              <a:t>09/10/2024</a:t>
            </a:r>
          </a:p>
        </p:txBody>
      </p:sp>
      <p:sp>
        <p:nvSpPr>
          <p:cNvPr id="4" name="Fußzeilenplatzhalter 3">
            <a:extLst>
              <a:ext uri="{FF2B5EF4-FFF2-40B4-BE49-F238E27FC236}">
                <a16:creationId xmlns:a16="http://schemas.microsoft.com/office/drawing/2014/main" id="{19E86B98-9372-DCA3-0205-991E9C6EC213}"/>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noFill/>
                </a:ln>
                <a:solidFill>
                  <a:srgbClr val="0064B4"/>
                </a:solidFill>
                <a:effectLst/>
                <a:uLnTx/>
                <a:uFillTx/>
                <a:latin typeface="Arial"/>
                <a:ea typeface="+mn-ea"/>
                <a:cs typeface="+mn-cs"/>
              </a:rPr>
              <a:t>© Forum Network Technology/Network Operation in the VDE</a:t>
            </a:r>
            <a:endParaRPr kumimoji="0" lang="en-US" sz="933" b="0" i="0" u="none" strike="noStrike" kern="1200" cap="none" spc="0" normalizeH="0" baseline="0" noProof="0" dirty="0">
              <a:ln>
                <a:noFill/>
              </a:ln>
              <a:solidFill>
                <a:srgbClr val="0064B4"/>
              </a:solidFill>
              <a:effectLst/>
              <a:uLnTx/>
              <a:uFillTx/>
              <a:latin typeface="Arial"/>
              <a:ea typeface="+mn-ea"/>
              <a:cs typeface="+mn-cs"/>
            </a:endParaRPr>
          </a:p>
        </p:txBody>
      </p:sp>
      <p:sp>
        <p:nvSpPr>
          <p:cNvPr id="5" name="Foliennummernplatzhalter 4">
            <a:extLst>
              <a:ext uri="{FF2B5EF4-FFF2-40B4-BE49-F238E27FC236}">
                <a16:creationId xmlns:a16="http://schemas.microsoft.com/office/drawing/2014/main" id="{EC2191A4-CB12-C48B-E6A5-7DA843E245B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A1E7D3-1333-45EE-ABB9-51527D316BA3}" type="slidenum">
              <a:rPr kumimoji="0" lang="en-US" sz="933" b="0" i="0" u="none" strike="noStrike" kern="1200" cap="none" spc="0" normalizeH="0" baseline="0" noProof="0" smtClean="0">
                <a:ln>
                  <a:noFill/>
                </a:ln>
                <a:solidFill>
                  <a:srgbClr val="0064B4"/>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933" b="0" i="0" u="none" strike="noStrike" kern="1200" cap="none" spc="0" normalizeH="0" baseline="0" noProof="0" dirty="0">
              <a:ln>
                <a:noFill/>
              </a:ln>
              <a:solidFill>
                <a:srgbClr val="0064B4"/>
              </a:solidFill>
              <a:effectLst/>
              <a:uLnTx/>
              <a:uFillTx/>
              <a:latin typeface="Arial"/>
              <a:ea typeface="+mn-ea"/>
              <a:cs typeface="+mn-cs"/>
            </a:endParaRPr>
          </a:p>
        </p:txBody>
      </p:sp>
      <p:sp>
        <p:nvSpPr>
          <p:cNvPr id="7" name="Pfeil: nach rechts 11">
            <a:extLst>
              <a:ext uri="{FF2B5EF4-FFF2-40B4-BE49-F238E27FC236}">
                <a16:creationId xmlns:a16="http://schemas.microsoft.com/office/drawing/2014/main" id="{012EC797-9DDD-1618-52E1-D078320219D7}"/>
              </a:ext>
            </a:extLst>
          </p:cNvPr>
          <p:cNvSpPr/>
          <p:nvPr/>
        </p:nvSpPr>
        <p:spPr>
          <a:xfrm>
            <a:off x="609871" y="1096096"/>
            <a:ext cx="10620044" cy="899165"/>
          </a:xfrm>
          <a:prstGeom prst="rightArrow">
            <a:avLst>
              <a:gd name="adj1" fmla="val 59630"/>
              <a:gd name="adj2" fmla="val 53852"/>
            </a:avLst>
          </a:prstGeom>
          <a:solidFill>
            <a:srgbClr val="2268B1"/>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a:ln>
                <a:noFill/>
              </a:ln>
              <a:solidFill>
                <a:srgbClr val="3C5F8C"/>
              </a:solidFill>
              <a:effectLst/>
              <a:uLnTx/>
              <a:uFillTx/>
              <a:latin typeface="Calibri"/>
              <a:ea typeface="+mn-ea"/>
              <a:cs typeface="+mn-cs"/>
            </a:endParaRPr>
          </a:p>
        </p:txBody>
      </p:sp>
      <p:cxnSp>
        <p:nvCxnSpPr>
          <p:cNvPr id="8" name="Gerader Verbinder 7">
            <a:extLst>
              <a:ext uri="{FF2B5EF4-FFF2-40B4-BE49-F238E27FC236}">
                <a16:creationId xmlns:a16="http://schemas.microsoft.com/office/drawing/2014/main" id="{ACA421E3-6D0A-4730-49E6-E429CCBABD1D}"/>
              </a:ext>
            </a:extLst>
          </p:cNvPr>
          <p:cNvCxnSpPr>
            <a:cxnSpLocks/>
            <a:endCxn id="20" idx="0"/>
          </p:cNvCxnSpPr>
          <p:nvPr/>
        </p:nvCxnSpPr>
        <p:spPr>
          <a:xfrm>
            <a:off x="708989" y="1847451"/>
            <a:ext cx="0" cy="244788"/>
          </a:xfrm>
          <a:prstGeom prst="line">
            <a:avLst/>
          </a:prstGeom>
          <a:noFill/>
          <a:ln w="12700" cap="flat" cmpd="sng" algn="ctr">
            <a:solidFill>
              <a:srgbClr val="000000"/>
            </a:solidFill>
            <a:prstDash val="solid"/>
            <a:miter lim="800000"/>
          </a:ln>
          <a:effectLst/>
        </p:spPr>
      </p:cxnSp>
      <p:cxnSp>
        <p:nvCxnSpPr>
          <p:cNvPr id="9" name="Gerader Verbinder 8">
            <a:extLst>
              <a:ext uri="{FF2B5EF4-FFF2-40B4-BE49-F238E27FC236}">
                <a16:creationId xmlns:a16="http://schemas.microsoft.com/office/drawing/2014/main" id="{448F1CB7-E08E-E635-66FB-FC521A3F3A78}"/>
              </a:ext>
            </a:extLst>
          </p:cNvPr>
          <p:cNvCxnSpPr>
            <a:cxnSpLocks/>
            <a:endCxn id="27" idx="0"/>
          </p:cNvCxnSpPr>
          <p:nvPr/>
        </p:nvCxnSpPr>
        <p:spPr>
          <a:xfrm>
            <a:off x="7509480" y="1841572"/>
            <a:ext cx="0" cy="2750717"/>
          </a:xfrm>
          <a:prstGeom prst="line">
            <a:avLst/>
          </a:prstGeom>
          <a:noFill/>
          <a:ln w="12700" cap="flat" cmpd="sng" algn="ctr">
            <a:solidFill>
              <a:srgbClr val="000000"/>
            </a:solidFill>
            <a:prstDash val="solid"/>
            <a:miter lim="800000"/>
          </a:ln>
          <a:effectLst/>
        </p:spPr>
      </p:cxnSp>
      <p:cxnSp>
        <p:nvCxnSpPr>
          <p:cNvPr id="13" name="Gerader Verbinder 12">
            <a:extLst>
              <a:ext uri="{FF2B5EF4-FFF2-40B4-BE49-F238E27FC236}">
                <a16:creationId xmlns:a16="http://schemas.microsoft.com/office/drawing/2014/main" id="{3B8DFFD9-B3A5-DE24-41F6-D87962A7A164}"/>
              </a:ext>
            </a:extLst>
          </p:cNvPr>
          <p:cNvCxnSpPr>
            <a:cxnSpLocks/>
            <a:endCxn id="24" idx="0"/>
          </p:cNvCxnSpPr>
          <p:nvPr/>
        </p:nvCxnSpPr>
        <p:spPr>
          <a:xfrm flipH="1">
            <a:off x="3985335" y="1847449"/>
            <a:ext cx="0" cy="1476931"/>
          </a:xfrm>
          <a:prstGeom prst="line">
            <a:avLst/>
          </a:prstGeom>
          <a:noFill/>
          <a:ln w="12700" cap="flat" cmpd="sng" algn="ctr">
            <a:solidFill>
              <a:srgbClr val="000000"/>
            </a:solidFill>
            <a:prstDash val="solid"/>
            <a:miter lim="800000"/>
          </a:ln>
          <a:effectLst/>
        </p:spPr>
      </p:cxnSp>
      <p:grpSp>
        <p:nvGrpSpPr>
          <p:cNvPr id="14" name="Gruppieren 13">
            <a:extLst>
              <a:ext uri="{FF2B5EF4-FFF2-40B4-BE49-F238E27FC236}">
                <a16:creationId xmlns:a16="http://schemas.microsoft.com/office/drawing/2014/main" id="{C8479615-F15E-D98A-B5E2-9A99F58A8CF3}"/>
              </a:ext>
            </a:extLst>
          </p:cNvPr>
          <p:cNvGrpSpPr/>
          <p:nvPr/>
        </p:nvGrpSpPr>
        <p:grpSpPr>
          <a:xfrm>
            <a:off x="553519" y="1947167"/>
            <a:ext cx="10775515" cy="614143"/>
            <a:chOff x="454400" y="2902842"/>
            <a:chExt cx="10775514" cy="614142"/>
          </a:xfrm>
        </p:grpSpPr>
        <p:sp>
          <p:nvSpPr>
            <p:cNvPr id="15" name="Pfeil: nach rechts 11">
              <a:extLst>
                <a:ext uri="{FF2B5EF4-FFF2-40B4-BE49-F238E27FC236}">
                  <a16:creationId xmlns:a16="http://schemas.microsoft.com/office/drawing/2014/main" id="{5EF280AF-E8BF-E060-54F2-FB3AC6479712}"/>
                </a:ext>
              </a:extLst>
            </p:cNvPr>
            <p:cNvSpPr/>
            <p:nvPr/>
          </p:nvSpPr>
          <p:spPr>
            <a:xfrm>
              <a:off x="609870" y="2902842"/>
              <a:ext cx="10620044" cy="614142"/>
            </a:xfrm>
            <a:prstGeom prst="rightArrow">
              <a:avLst/>
            </a:prstGeom>
            <a:solidFill>
              <a:srgbClr val="2268B1">
                <a:lumMod val="20000"/>
                <a:lumOff val="80000"/>
              </a:srgb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de-DE" sz="1600" b="1" i="0" u="none" strike="noStrike" kern="0" cap="none" spc="0" normalizeH="0" baseline="0" noProof="0" dirty="0">
                  <a:ln>
                    <a:noFill/>
                  </a:ln>
                  <a:solidFill>
                    <a:srgbClr val="3C5F8C"/>
                  </a:solidFill>
                  <a:effectLst/>
                  <a:uLnTx/>
                  <a:uFillTx/>
                  <a:latin typeface="Calibri"/>
                  <a:ea typeface="+mn-ea"/>
                  <a:cs typeface="+mn-cs"/>
                </a:rPr>
                <a:t>    TSO-Assets (VINKs)</a:t>
              </a:r>
            </a:p>
          </p:txBody>
        </p:sp>
        <p:sp>
          <p:nvSpPr>
            <p:cNvPr id="20" name="Ellipse 19">
              <a:extLst>
                <a:ext uri="{FF2B5EF4-FFF2-40B4-BE49-F238E27FC236}">
                  <a16:creationId xmlns:a16="http://schemas.microsoft.com/office/drawing/2014/main" id="{1691FECF-8E54-119E-D647-AC211915A307}"/>
                </a:ext>
              </a:extLst>
            </p:cNvPr>
            <p:cNvSpPr/>
            <p:nvPr/>
          </p:nvSpPr>
          <p:spPr bwMode="auto">
            <a:xfrm>
              <a:off x="454400" y="3047913"/>
              <a:ext cx="324000" cy="324000"/>
            </a:xfrm>
            <a:prstGeom prst="ellipse">
              <a:avLst/>
            </a:prstGeom>
            <a:solidFill>
              <a:srgbClr val="2268B1"/>
            </a:solidFill>
            <a:ln w="952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77" rtl="0" eaLnBrk="1" fontAlgn="base" latinLnBrk="0" hangingPunct="1">
                <a:lnSpc>
                  <a:spcPct val="100000"/>
                </a:lnSpc>
                <a:spcBef>
                  <a:spcPct val="50000"/>
                </a:spcBef>
                <a:spcAft>
                  <a:spcPct val="0"/>
                </a:spcAft>
                <a:buClrTx/>
                <a:buSzTx/>
                <a:buFontTx/>
                <a:buNone/>
                <a:tabLst/>
                <a:defRPr/>
              </a:pPr>
              <a:r>
                <a:rPr kumimoji="0" lang="de-DE" sz="1800" b="1" i="0" u="none" strike="noStrike" kern="0" cap="none" spc="0" normalizeH="0" baseline="0" noProof="0" dirty="0">
                  <a:ln>
                    <a:noFill/>
                  </a:ln>
                  <a:solidFill>
                    <a:srgbClr val="FFFFFF"/>
                  </a:solidFill>
                  <a:effectLst/>
                  <a:uLnTx/>
                  <a:uFillTx/>
                  <a:latin typeface="Arial"/>
                  <a:ea typeface="+mn-ea"/>
                  <a:cs typeface="+mn-cs"/>
                </a:rPr>
                <a:t>1</a:t>
              </a:r>
            </a:p>
          </p:txBody>
        </p:sp>
      </p:grpSp>
      <p:grpSp>
        <p:nvGrpSpPr>
          <p:cNvPr id="22" name="Gruppieren 21">
            <a:extLst>
              <a:ext uri="{FF2B5EF4-FFF2-40B4-BE49-F238E27FC236}">
                <a16:creationId xmlns:a16="http://schemas.microsoft.com/office/drawing/2014/main" id="{AA5CD8C7-DAAF-76C3-4157-BF5E1D9F5061}"/>
              </a:ext>
            </a:extLst>
          </p:cNvPr>
          <p:cNvGrpSpPr/>
          <p:nvPr/>
        </p:nvGrpSpPr>
        <p:grpSpPr>
          <a:xfrm>
            <a:off x="3823335" y="3202502"/>
            <a:ext cx="7505699" cy="614143"/>
            <a:chOff x="3724216" y="3621896"/>
            <a:chExt cx="7505698" cy="614142"/>
          </a:xfrm>
        </p:grpSpPr>
        <p:sp>
          <p:nvSpPr>
            <p:cNvPr id="23" name="Pfeil: nach rechts 11">
              <a:extLst>
                <a:ext uri="{FF2B5EF4-FFF2-40B4-BE49-F238E27FC236}">
                  <a16:creationId xmlns:a16="http://schemas.microsoft.com/office/drawing/2014/main" id="{33641D69-E829-BFEE-7E04-DC246323DF27}"/>
                </a:ext>
              </a:extLst>
            </p:cNvPr>
            <p:cNvSpPr/>
            <p:nvPr/>
          </p:nvSpPr>
          <p:spPr>
            <a:xfrm>
              <a:off x="3890433" y="3621896"/>
              <a:ext cx="7339481" cy="614142"/>
            </a:xfrm>
            <a:prstGeom prst="rightArrow">
              <a:avLst/>
            </a:prstGeom>
            <a:solidFill>
              <a:srgbClr val="2268B1">
                <a:lumMod val="20000"/>
                <a:lumOff val="80000"/>
              </a:srgb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3C5F8C"/>
                  </a:solidFill>
                  <a:effectLst/>
                  <a:uLnTx/>
                  <a:uFillTx/>
                  <a:latin typeface="Calibri"/>
                  <a:ea typeface="+mn-ea"/>
                  <a:cs typeface="+mn-cs"/>
                </a:rPr>
                <a:t>    Market based procurement of inertia</a:t>
              </a:r>
            </a:p>
          </p:txBody>
        </p:sp>
        <p:sp>
          <p:nvSpPr>
            <p:cNvPr id="24" name="Ellipse 23">
              <a:extLst>
                <a:ext uri="{FF2B5EF4-FFF2-40B4-BE49-F238E27FC236}">
                  <a16:creationId xmlns:a16="http://schemas.microsoft.com/office/drawing/2014/main" id="{EF5516AF-3600-2C15-4CF5-F25E3FD5BF57}"/>
                </a:ext>
              </a:extLst>
            </p:cNvPr>
            <p:cNvSpPr/>
            <p:nvPr/>
          </p:nvSpPr>
          <p:spPr bwMode="auto">
            <a:xfrm>
              <a:off x="3724216" y="3743774"/>
              <a:ext cx="324000" cy="324000"/>
            </a:xfrm>
            <a:prstGeom prst="ellipse">
              <a:avLst/>
            </a:prstGeom>
            <a:solidFill>
              <a:srgbClr val="2268B1"/>
            </a:solidFill>
            <a:ln w="952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77" rtl="0" eaLnBrk="1" fontAlgn="base" latinLnBrk="0" hangingPunct="1">
                <a:lnSpc>
                  <a:spcPct val="100000"/>
                </a:lnSpc>
                <a:spcBef>
                  <a:spcPct val="50000"/>
                </a:spcBef>
                <a:spcAft>
                  <a:spcPct val="0"/>
                </a:spcAft>
                <a:buClrTx/>
                <a:buSzTx/>
                <a:buFontTx/>
                <a:buNone/>
                <a:tabLst/>
                <a:defRPr/>
              </a:pPr>
              <a:r>
                <a:rPr kumimoji="0" lang="de-DE" sz="1800" b="1" i="0" u="none" strike="noStrike" kern="0" cap="none" spc="0" normalizeH="0" baseline="0" noProof="0" dirty="0">
                  <a:ln>
                    <a:noFill/>
                  </a:ln>
                  <a:solidFill>
                    <a:srgbClr val="FFFFFF"/>
                  </a:solidFill>
                  <a:effectLst/>
                  <a:uLnTx/>
                  <a:uFillTx/>
                  <a:latin typeface="Arial"/>
                  <a:ea typeface="+mn-ea"/>
                  <a:cs typeface="+mn-cs"/>
                </a:rPr>
                <a:t>2</a:t>
              </a:r>
            </a:p>
          </p:txBody>
        </p:sp>
      </p:grpSp>
      <p:grpSp>
        <p:nvGrpSpPr>
          <p:cNvPr id="25" name="Gruppieren 24">
            <a:extLst>
              <a:ext uri="{FF2B5EF4-FFF2-40B4-BE49-F238E27FC236}">
                <a16:creationId xmlns:a16="http://schemas.microsoft.com/office/drawing/2014/main" id="{F54266BD-4A66-D991-A2C9-5F52B689EAFF}"/>
              </a:ext>
            </a:extLst>
          </p:cNvPr>
          <p:cNvGrpSpPr/>
          <p:nvPr/>
        </p:nvGrpSpPr>
        <p:grpSpPr>
          <a:xfrm>
            <a:off x="7353383" y="4457838"/>
            <a:ext cx="3959080" cy="569183"/>
            <a:chOff x="7254263" y="4822962"/>
            <a:chExt cx="3959080" cy="614142"/>
          </a:xfrm>
        </p:grpSpPr>
        <p:sp>
          <p:nvSpPr>
            <p:cNvPr id="26" name="Pfeil: nach rechts 11">
              <a:extLst>
                <a:ext uri="{FF2B5EF4-FFF2-40B4-BE49-F238E27FC236}">
                  <a16:creationId xmlns:a16="http://schemas.microsoft.com/office/drawing/2014/main" id="{389C85B8-795D-5851-39C3-6A8443ACAB9D}"/>
                </a:ext>
              </a:extLst>
            </p:cNvPr>
            <p:cNvSpPr/>
            <p:nvPr/>
          </p:nvSpPr>
          <p:spPr>
            <a:xfrm>
              <a:off x="7426933" y="4822962"/>
              <a:ext cx="3786410" cy="614142"/>
            </a:xfrm>
            <a:prstGeom prst="rightArrow">
              <a:avLst/>
            </a:prstGeom>
            <a:solidFill>
              <a:srgbClr val="2268B1">
                <a:lumMod val="20000"/>
                <a:lumOff val="80000"/>
              </a:srgb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3C5F8C"/>
                  </a:solidFill>
                  <a:effectLst/>
                  <a:uLnTx/>
                  <a:uFillTx/>
                  <a:latin typeface="Calibri"/>
                  <a:ea typeface="+mn-ea"/>
                  <a:cs typeface="+mn-cs"/>
                </a:rPr>
                <a:t>   Grid Code Requirements</a:t>
              </a:r>
            </a:p>
          </p:txBody>
        </p:sp>
        <p:sp>
          <p:nvSpPr>
            <p:cNvPr id="27" name="Ellipse 26">
              <a:extLst>
                <a:ext uri="{FF2B5EF4-FFF2-40B4-BE49-F238E27FC236}">
                  <a16:creationId xmlns:a16="http://schemas.microsoft.com/office/drawing/2014/main" id="{F29B3E9A-1A03-8F73-6B47-2D8E575FC87A}"/>
                </a:ext>
              </a:extLst>
            </p:cNvPr>
            <p:cNvSpPr/>
            <p:nvPr/>
          </p:nvSpPr>
          <p:spPr bwMode="auto">
            <a:xfrm>
              <a:off x="7254263" y="4968033"/>
              <a:ext cx="324000" cy="324000"/>
            </a:xfrm>
            <a:prstGeom prst="ellipse">
              <a:avLst/>
            </a:prstGeom>
            <a:solidFill>
              <a:srgbClr val="2268B1"/>
            </a:solidFill>
            <a:ln w="952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77" rtl="0" eaLnBrk="1" fontAlgn="base" latinLnBrk="0" hangingPunct="1">
                <a:lnSpc>
                  <a:spcPct val="100000"/>
                </a:lnSpc>
                <a:spcBef>
                  <a:spcPct val="50000"/>
                </a:spcBef>
                <a:spcAft>
                  <a:spcPct val="0"/>
                </a:spcAft>
                <a:buClrTx/>
                <a:buSzTx/>
                <a:buFontTx/>
                <a:buNone/>
                <a:tabLst/>
                <a:defRPr/>
              </a:pPr>
              <a:r>
                <a:rPr kumimoji="0" lang="de-DE" sz="1800" b="1" i="0" u="none" strike="noStrike" kern="0" cap="none" spc="0" normalizeH="0" baseline="0" noProof="0" dirty="0">
                  <a:ln>
                    <a:noFill/>
                  </a:ln>
                  <a:solidFill>
                    <a:srgbClr val="FFFFFF"/>
                  </a:solidFill>
                  <a:effectLst/>
                  <a:uLnTx/>
                  <a:uFillTx/>
                  <a:latin typeface="Arial"/>
                  <a:ea typeface="+mn-ea"/>
                  <a:cs typeface="+mn-cs"/>
                </a:rPr>
                <a:t>3</a:t>
              </a:r>
            </a:p>
          </p:txBody>
        </p:sp>
      </p:grpSp>
      <p:sp>
        <p:nvSpPr>
          <p:cNvPr id="28" name="Textfeld 27">
            <a:extLst>
              <a:ext uri="{FF2B5EF4-FFF2-40B4-BE49-F238E27FC236}">
                <a16:creationId xmlns:a16="http://schemas.microsoft.com/office/drawing/2014/main" id="{4AC64EB8-5551-85FA-586E-5EF992087D65}"/>
              </a:ext>
            </a:extLst>
          </p:cNvPr>
          <p:cNvSpPr txBox="1"/>
          <p:nvPr/>
        </p:nvSpPr>
        <p:spPr bwMode="auto">
          <a:xfrm>
            <a:off x="856565" y="2502385"/>
            <a:ext cx="2954251" cy="2210412"/>
          </a:xfrm>
          <a:prstGeom prst="rect">
            <a:avLst/>
          </a:prstGeom>
        </p:spPr>
        <p:txBody>
          <a:bodyPr vert="horz" wrap="none" lIns="0" tIns="45720" rIns="91440" bIns="45720" rtlCol="0">
            <a:normAutofit/>
          </a:bodyPr>
          <a:lstStyle/>
          <a:p>
            <a:pPr marL="0" marR="0" lvl="0" indent="0" algn="l" defTabSz="914377" rtl="0" eaLnBrk="1" fontAlgn="auto" latinLnBrk="0" hangingPunct="1">
              <a:lnSpc>
                <a:spcPct val="100000"/>
              </a:lnSpc>
              <a:spcBef>
                <a:spcPts val="0"/>
              </a:spcBef>
              <a:spcAft>
                <a:spcPts val="600"/>
              </a:spcAft>
              <a:buClr>
                <a:srgbClr val="5C2483"/>
              </a:buClr>
              <a:buSzTx/>
              <a:buFontTx/>
              <a:buNone/>
              <a:tabLst/>
              <a:defRPr/>
            </a:pPr>
            <a:r>
              <a:rPr kumimoji="0" lang="en-GB" sz="1300" b="1" i="0" u="none" strike="noStrike" kern="0" cap="none" spc="0" normalizeH="0" baseline="0" noProof="0" dirty="0">
                <a:ln>
                  <a:noFill/>
                </a:ln>
                <a:solidFill>
                  <a:srgbClr val="000000"/>
                </a:solidFill>
                <a:effectLst/>
                <a:uLnTx/>
                <a:uFillTx/>
                <a:latin typeface="Arial"/>
                <a:ea typeface="+mn-ea"/>
                <a:cs typeface="+mn-cs"/>
              </a:rPr>
              <a:t>Goal</a:t>
            </a:r>
            <a:r>
              <a:rPr kumimoji="0" lang="en-GB" sz="1300" b="0" i="0" u="none" strike="noStrike" kern="0" cap="none" spc="0" normalizeH="0" baseline="0" noProof="0" dirty="0">
                <a:ln>
                  <a:noFill/>
                </a:ln>
                <a:solidFill>
                  <a:srgbClr val="000000"/>
                </a:solidFill>
                <a:effectLst/>
                <a:uLnTx/>
                <a:uFillTx/>
                <a:latin typeface="Arial"/>
                <a:ea typeface="+mn-ea"/>
                <a:cs typeface="+mn-cs"/>
              </a:rPr>
              <a:t>: Further development of the state </a:t>
            </a:r>
            <a:br>
              <a:rPr kumimoji="0" lang="en-GB" sz="1300" b="0" i="0" u="none" strike="noStrike" kern="0" cap="none" spc="0" normalizeH="0" baseline="0" noProof="0" dirty="0">
                <a:ln>
                  <a:noFill/>
                </a:ln>
                <a:solidFill>
                  <a:srgbClr val="000000"/>
                </a:solidFill>
                <a:effectLst/>
                <a:uLnTx/>
                <a:uFillTx/>
                <a:latin typeface="Arial"/>
                <a:ea typeface="+mn-ea"/>
                <a:cs typeface="+mn-cs"/>
              </a:rPr>
            </a:br>
            <a:r>
              <a:rPr kumimoji="0" lang="en-GB" sz="1300" b="0" i="0" u="none" strike="noStrike" kern="0" cap="none" spc="0" normalizeH="0" baseline="0" noProof="0" dirty="0">
                <a:ln>
                  <a:noFill/>
                </a:ln>
                <a:solidFill>
                  <a:srgbClr val="000000"/>
                </a:solidFill>
                <a:effectLst/>
                <a:uLnTx/>
                <a:uFillTx/>
                <a:latin typeface="Arial"/>
                <a:ea typeface="+mn-ea"/>
                <a:cs typeface="+mn-cs"/>
              </a:rPr>
              <a:t>of technology of TSO assets and </a:t>
            </a:r>
          </a:p>
          <a:p>
            <a:pPr marL="285744" marR="0" lvl="0" indent="-285744" algn="l" defTabSz="914377" rtl="0" eaLnBrk="1" fontAlgn="auto" latinLnBrk="0" hangingPunct="1">
              <a:lnSpc>
                <a:spcPct val="100000"/>
              </a:lnSpc>
              <a:spcBef>
                <a:spcPts val="0"/>
              </a:spcBef>
              <a:spcAft>
                <a:spcPts val="600"/>
              </a:spcAft>
              <a:buClr>
                <a:srgbClr val="5C2483"/>
              </a:buClr>
              <a:buSzTx/>
              <a:buFont typeface="Arial" panose="020B0604020202020204" pitchFamily="34" charset="0"/>
              <a:buChar char="•"/>
              <a:tabLst/>
              <a:defRPr/>
            </a:pPr>
            <a:r>
              <a:rPr kumimoji="0" lang="en-GB" sz="1300" b="0" i="0" u="none" strike="noStrike" kern="0" cap="none" spc="0" normalizeH="0" baseline="0" noProof="0" dirty="0">
                <a:ln>
                  <a:noFill/>
                </a:ln>
                <a:solidFill>
                  <a:srgbClr val="000000"/>
                </a:solidFill>
                <a:effectLst/>
                <a:uLnTx/>
                <a:uFillTx/>
                <a:latin typeface="Arial"/>
                <a:ea typeface="+mn-ea"/>
                <a:cs typeface="+mn-cs"/>
              </a:rPr>
              <a:t>Reactive power compensation units </a:t>
            </a:r>
            <a:br>
              <a:rPr kumimoji="0" lang="en-GB" sz="1300" b="0" i="0" u="none" strike="noStrike" kern="0" cap="none" spc="0" normalizeH="0" baseline="0" noProof="0" dirty="0">
                <a:ln>
                  <a:noFill/>
                </a:ln>
                <a:solidFill>
                  <a:srgbClr val="000000"/>
                </a:solidFill>
                <a:effectLst/>
                <a:uLnTx/>
                <a:uFillTx/>
                <a:latin typeface="Arial"/>
                <a:ea typeface="+mn-ea"/>
                <a:cs typeface="+mn-cs"/>
              </a:rPr>
            </a:br>
            <a:r>
              <a:rPr kumimoji="0" lang="en-GB" sz="1300" b="0" i="0" u="none" strike="noStrike" kern="0" cap="none" spc="0" normalizeH="0" baseline="0" noProof="0" dirty="0">
                <a:ln>
                  <a:noFill/>
                </a:ln>
                <a:solidFill>
                  <a:srgbClr val="000000"/>
                </a:solidFill>
                <a:effectLst/>
                <a:uLnTx/>
                <a:uFillTx/>
                <a:latin typeface="Arial"/>
                <a:ea typeface="+mn-ea"/>
                <a:cs typeface="+mn-cs"/>
              </a:rPr>
              <a:t>will have grid forming properties </a:t>
            </a:r>
            <a:br>
              <a:rPr kumimoji="0" lang="en-GB" sz="1300" b="0" i="0" u="none" strike="noStrike" kern="0" cap="none" spc="0" normalizeH="0" baseline="0" noProof="0" dirty="0">
                <a:ln>
                  <a:noFill/>
                </a:ln>
                <a:solidFill>
                  <a:srgbClr val="000000"/>
                </a:solidFill>
                <a:effectLst/>
                <a:uLnTx/>
                <a:uFillTx/>
                <a:latin typeface="Arial"/>
                <a:ea typeface="+mn-ea"/>
                <a:cs typeface="+mn-cs"/>
              </a:rPr>
            </a:br>
            <a:r>
              <a:rPr kumimoji="0" lang="en-GB" sz="1300" b="0" i="0" u="none" strike="noStrike" kern="0" cap="none" spc="0" normalizeH="0" baseline="0" noProof="0" dirty="0">
                <a:ln>
                  <a:noFill/>
                </a:ln>
                <a:solidFill>
                  <a:srgbClr val="000000"/>
                </a:solidFill>
                <a:effectLst/>
                <a:uLnTx/>
                <a:uFillTx/>
                <a:latin typeface="Arial"/>
                <a:ea typeface="+mn-ea"/>
                <a:cs typeface="+mn-cs"/>
              </a:rPr>
              <a:t>and short-term storages</a:t>
            </a:r>
          </a:p>
          <a:p>
            <a:pPr marL="285744" marR="0" lvl="0" indent="-285744" algn="l" defTabSz="914377" rtl="0" eaLnBrk="1" fontAlgn="auto" latinLnBrk="0" hangingPunct="1">
              <a:lnSpc>
                <a:spcPct val="100000"/>
              </a:lnSpc>
              <a:spcBef>
                <a:spcPts val="0"/>
              </a:spcBef>
              <a:spcAft>
                <a:spcPts val="600"/>
              </a:spcAft>
              <a:buClr>
                <a:srgbClr val="5C2483"/>
              </a:buClr>
              <a:buSzTx/>
              <a:buFont typeface="Arial" panose="020B0604020202020204" pitchFamily="34" charset="0"/>
              <a:buChar char="•"/>
              <a:tabLst/>
              <a:defRPr/>
            </a:pPr>
            <a:r>
              <a:rPr kumimoji="0" lang="en-GB" sz="1300" b="0" i="0" u="none" strike="noStrike" kern="0" cap="none" spc="0" normalizeH="0" baseline="0" noProof="0" dirty="0">
                <a:ln>
                  <a:noFill/>
                </a:ln>
                <a:solidFill>
                  <a:srgbClr val="000000"/>
                </a:solidFill>
                <a:effectLst/>
                <a:uLnTx/>
                <a:uFillTx/>
                <a:latin typeface="Arial"/>
                <a:ea typeface="+mn-ea"/>
                <a:cs typeface="+mn-cs"/>
              </a:rPr>
              <a:t>Amprion will build approx. 10 units </a:t>
            </a:r>
            <a:br>
              <a:rPr kumimoji="0" lang="en-GB" sz="1300" b="0" i="0" u="none" strike="noStrike" kern="0" cap="none" spc="0" normalizeH="0" baseline="0" noProof="0" dirty="0">
                <a:ln>
                  <a:noFill/>
                </a:ln>
                <a:solidFill>
                  <a:srgbClr val="000000"/>
                </a:solidFill>
                <a:effectLst/>
                <a:uLnTx/>
                <a:uFillTx/>
                <a:latin typeface="Arial"/>
                <a:ea typeface="+mn-ea"/>
                <a:cs typeface="+mn-cs"/>
              </a:rPr>
            </a:br>
            <a:r>
              <a:rPr kumimoji="0" lang="en-GB" sz="1300" b="0" i="0" u="none" strike="noStrike" kern="0" cap="none" spc="0" normalizeH="0" baseline="0" noProof="0" dirty="0">
                <a:ln>
                  <a:noFill/>
                </a:ln>
                <a:solidFill>
                  <a:srgbClr val="000000"/>
                </a:solidFill>
                <a:effectLst/>
                <a:uLnTx/>
                <a:uFillTx/>
                <a:latin typeface="Arial"/>
                <a:ea typeface="+mn-ea"/>
                <a:cs typeface="+mn-cs"/>
              </a:rPr>
              <a:t>(with 2,1 </a:t>
            </a:r>
            <a:r>
              <a:rPr kumimoji="0" lang="en-GB" sz="1300" b="0" i="0" u="none" strike="noStrike" kern="0" cap="none" spc="0" normalizeH="0" baseline="0" noProof="0" dirty="0" err="1">
                <a:ln>
                  <a:noFill/>
                </a:ln>
                <a:solidFill>
                  <a:srgbClr val="000000"/>
                </a:solidFill>
                <a:effectLst/>
                <a:uLnTx/>
                <a:uFillTx/>
                <a:latin typeface="Arial"/>
                <a:ea typeface="+mn-ea"/>
                <a:cs typeface="+mn-cs"/>
              </a:rPr>
              <a:t>GVAr</a:t>
            </a:r>
            <a:r>
              <a:rPr kumimoji="0" lang="en-GB" sz="1300" b="0" i="0" u="none" strike="noStrike" kern="0" cap="none" spc="0" normalizeH="0" baseline="0" noProof="0" dirty="0">
                <a:ln>
                  <a:noFill/>
                </a:ln>
                <a:solidFill>
                  <a:srgbClr val="000000"/>
                </a:solidFill>
                <a:effectLst/>
                <a:uLnTx/>
                <a:uFillTx/>
                <a:latin typeface="Arial"/>
                <a:ea typeface="+mn-ea"/>
                <a:cs typeface="+mn-cs"/>
              </a:rPr>
              <a:t> and 15 GWs)</a:t>
            </a:r>
            <a:br>
              <a:rPr kumimoji="0" lang="en-GB" sz="1300" b="0" i="0" u="none" strike="noStrike" kern="0" cap="none" spc="0" normalizeH="0" baseline="0" noProof="0" dirty="0">
                <a:ln>
                  <a:noFill/>
                </a:ln>
                <a:solidFill>
                  <a:srgbClr val="000000"/>
                </a:solidFill>
                <a:effectLst/>
                <a:uLnTx/>
                <a:uFillTx/>
                <a:latin typeface="Arial"/>
                <a:ea typeface="+mn-ea"/>
                <a:cs typeface="+mn-cs"/>
              </a:rPr>
            </a:br>
            <a:r>
              <a:rPr kumimoji="0" lang="en-GB" sz="1300" b="0" i="0" u="none" strike="noStrike" kern="0" cap="none" spc="0" normalizeH="0" baseline="0" noProof="0" dirty="0">
                <a:ln>
                  <a:noFill/>
                </a:ln>
                <a:solidFill>
                  <a:srgbClr val="000000"/>
                </a:solidFill>
                <a:effectLst/>
                <a:uLnTx/>
                <a:uFillTx/>
                <a:latin typeface="Arial"/>
                <a:ea typeface="+mn-ea"/>
                <a:cs typeface="+mn-cs"/>
              </a:rPr>
              <a:t>contributing towards inertia and </a:t>
            </a:r>
            <a:br>
              <a:rPr kumimoji="0" lang="en-GB" sz="1300" b="0" i="0" u="none" strike="noStrike" kern="0" cap="none" spc="0" normalizeH="0" baseline="0" noProof="0" dirty="0">
                <a:ln>
                  <a:noFill/>
                </a:ln>
                <a:solidFill>
                  <a:srgbClr val="000000"/>
                </a:solidFill>
                <a:effectLst/>
                <a:uLnTx/>
                <a:uFillTx/>
                <a:latin typeface="Arial"/>
                <a:ea typeface="+mn-ea"/>
                <a:cs typeface="+mn-cs"/>
              </a:rPr>
            </a:br>
            <a:r>
              <a:rPr kumimoji="0" lang="en-GB" sz="1300" b="0" i="0" u="none" strike="noStrike" kern="0" cap="none" spc="0" normalizeH="0" baseline="0" noProof="0" dirty="0">
                <a:ln>
                  <a:noFill/>
                </a:ln>
                <a:solidFill>
                  <a:srgbClr val="000000"/>
                </a:solidFill>
                <a:effectLst/>
                <a:uLnTx/>
                <a:uFillTx/>
                <a:latin typeface="Arial"/>
                <a:ea typeface="+mn-ea"/>
                <a:cs typeface="+mn-cs"/>
              </a:rPr>
              <a:t>system strength until 2030</a:t>
            </a:r>
          </a:p>
        </p:txBody>
      </p:sp>
      <p:sp>
        <p:nvSpPr>
          <p:cNvPr id="29" name="Textfeld 28">
            <a:extLst>
              <a:ext uri="{FF2B5EF4-FFF2-40B4-BE49-F238E27FC236}">
                <a16:creationId xmlns:a16="http://schemas.microsoft.com/office/drawing/2014/main" id="{927E4F98-FEA7-3DEE-EABA-9982BF665183}"/>
              </a:ext>
            </a:extLst>
          </p:cNvPr>
          <p:cNvSpPr txBox="1"/>
          <p:nvPr/>
        </p:nvSpPr>
        <p:spPr bwMode="auto">
          <a:xfrm>
            <a:off x="4279657" y="2502385"/>
            <a:ext cx="2954251" cy="2210412"/>
          </a:xfrm>
          <a:prstGeom prst="rect">
            <a:avLst/>
          </a:prstGeom>
        </p:spPr>
        <p:txBody>
          <a:bodyPr vert="horz" wrap="none" lIns="0" tIns="45720" rIns="91440" bIns="45720" rtlCol="0">
            <a:normAutofit/>
          </a:bodyPr>
          <a:lstStyle/>
          <a:p>
            <a:pPr marL="0" marR="0" lvl="0" indent="0" algn="l" defTabSz="914377" rtl="0" eaLnBrk="1" fontAlgn="auto" latinLnBrk="0" hangingPunct="1">
              <a:lnSpc>
                <a:spcPct val="100000"/>
              </a:lnSpc>
              <a:spcBef>
                <a:spcPts val="0"/>
              </a:spcBef>
              <a:spcAft>
                <a:spcPts val="600"/>
              </a:spcAft>
              <a:buClr>
                <a:srgbClr val="5C2483"/>
              </a:buClr>
              <a:buSzTx/>
              <a:buFontTx/>
              <a:buNone/>
              <a:tabLst/>
              <a:defRPr/>
            </a:pPr>
            <a:endParaRPr kumimoji="0" lang="de-DE" sz="1400" b="0" i="0" u="none" strike="noStrike" kern="0" cap="none" spc="0" normalizeH="0" baseline="0" noProof="0" dirty="0">
              <a:ln>
                <a:noFill/>
              </a:ln>
              <a:solidFill>
                <a:srgbClr val="000000"/>
              </a:solidFill>
              <a:effectLst/>
              <a:uLnTx/>
              <a:uFillTx/>
              <a:latin typeface="Arial"/>
              <a:ea typeface="+mn-ea"/>
              <a:cs typeface="+mn-cs"/>
            </a:endParaRPr>
          </a:p>
        </p:txBody>
      </p:sp>
      <p:sp>
        <p:nvSpPr>
          <p:cNvPr id="30" name="Textfeld 29">
            <a:extLst>
              <a:ext uri="{FF2B5EF4-FFF2-40B4-BE49-F238E27FC236}">
                <a16:creationId xmlns:a16="http://schemas.microsoft.com/office/drawing/2014/main" id="{5AC7FEF1-120B-B4CE-5E7A-478DBD47311B}"/>
              </a:ext>
            </a:extLst>
          </p:cNvPr>
          <p:cNvSpPr txBox="1"/>
          <p:nvPr/>
        </p:nvSpPr>
        <p:spPr bwMode="auto">
          <a:xfrm>
            <a:off x="4252380" y="3705350"/>
            <a:ext cx="2954251" cy="2351783"/>
          </a:xfrm>
          <a:prstGeom prst="rect">
            <a:avLst/>
          </a:prstGeom>
        </p:spPr>
        <p:txBody>
          <a:bodyPr vert="horz" wrap="none" lIns="0" tIns="45720" rIns="91440" bIns="45720" rtlCol="0">
            <a:normAutofit lnSpcReduction="10000"/>
          </a:bodyPr>
          <a:lstStyle/>
          <a:p>
            <a:pPr marL="0" marR="0" lvl="0" indent="0" algn="l" defTabSz="914377" rtl="0" eaLnBrk="1" fontAlgn="auto" latinLnBrk="0" hangingPunct="1">
              <a:lnSpc>
                <a:spcPct val="100000"/>
              </a:lnSpc>
              <a:spcBef>
                <a:spcPts val="0"/>
              </a:spcBef>
              <a:spcAft>
                <a:spcPts val="600"/>
              </a:spcAft>
              <a:buClr>
                <a:srgbClr val="5C2483"/>
              </a:buClr>
              <a:buSzTx/>
              <a:buFontTx/>
              <a:buNone/>
              <a:tabLst/>
              <a:defRPr/>
            </a:pPr>
            <a:r>
              <a:rPr kumimoji="0" lang="en-GB" sz="1300" b="1" i="0" u="none" strike="noStrike" kern="0" cap="none" spc="0" normalizeH="0" baseline="0" noProof="0" dirty="0">
                <a:ln>
                  <a:noFill/>
                </a:ln>
                <a:solidFill>
                  <a:srgbClr val="000000"/>
                </a:solidFill>
                <a:effectLst/>
                <a:uLnTx/>
                <a:uFillTx/>
                <a:latin typeface="Arial"/>
                <a:ea typeface="+mn-ea"/>
                <a:cs typeface="+mn-cs"/>
              </a:rPr>
              <a:t>Goal</a:t>
            </a:r>
            <a:r>
              <a:rPr kumimoji="0" lang="en-GB" sz="1300" b="0" i="0" u="none" strike="noStrike" kern="0" cap="none" spc="0" normalizeH="0" baseline="0" noProof="0" dirty="0">
                <a:ln>
                  <a:noFill/>
                </a:ln>
                <a:solidFill>
                  <a:srgbClr val="000000"/>
                </a:solidFill>
                <a:effectLst/>
                <a:uLnTx/>
                <a:uFillTx/>
                <a:latin typeface="Arial"/>
                <a:ea typeface="+mn-ea"/>
                <a:cs typeface="+mn-cs"/>
              </a:rPr>
              <a:t>: Accelerate the market maturity of</a:t>
            </a:r>
            <a:br>
              <a:rPr kumimoji="0" lang="en-GB" sz="1300" b="0" i="0" u="none" strike="noStrike" kern="0" cap="none" spc="0" normalizeH="0" baseline="0" noProof="0" dirty="0">
                <a:ln>
                  <a:noFill/>
                </a:ln>
                <a:solidFill>
                  <a:srgbClr val="000000"/>
                </a:solidFill>
                <a:effectLst/>
                <a:uLnTx/>
                <a:uFillTx/>
                <a:latin typeface="Arial"/>
                <a:ea typeface="+mn-ea"/>
                <a:cs typeface="+mn-cs"/>
              </a:rPr>
            </a:br>
            <a:r>
              <a:rPr kumimoji="0" lang="en-GB" sz="1300" b="0" i="0" u="none" strike="noStrike" kern="0" cap="none" spc="0" normalizeH="0" baseline="0" noProof="0" dirty="0">
                <a:ln>
                  <a:noFill/>
                </a:ln>
                <a:solidFill>
                  <a:srgbClr val="000000"/>
                </a:solidFill>
                <a:effectLst/>
                <a:uLnTx/>
                <a:uFillTx/>
                <a:latin typeface="Arial"/>
                <a:ea typeface="+mn-ea"/>
                <a:cs typeface="+mn-cs"/>
              </a:rPr>
              <a:t>generation units, storages and loads with </a:t>
            </a:r>
            <a:br>
              <a:rPr kumimoji="0" lang="en-GB" sz="1300" b="0" i="0" u="none" strike="noStrike" kern="0" cap="none" spc="0" normalizeH="0" baseline="0" noProof="0" dirty="0">
                <a:ln>
                  <a:noFill/>
                </a:ln>
                <a:solidFill>
                  <a:srgbClr val="000000"/>
                </a:solidFill>
                <a:effectLst/>
                <a:uLnTx/>
                <a:uFillTx/>
                <a:latin typeface="Arial"/>
                <a:ea typeface="+mn-ea"/>
                <a:cs typeface="+mn-cs"/>
              </a:rPr>
            </a:br>
            <a:r>
              <a:rPr kumimoji="0" lang="en-GB" sz="1300" b="0" i="0" u="none" strike="noStrike" kern="0" cap="none" spc="0" normalizeH="0" baseline="0" noProof="0" dirty="0">
                <a:ln>
                  <a:noFill/>
                </a:ln>
                <a:solidFill>
                  <a:srgbClr val="000000"/>
                </a:solidFill>
                <a:effectLst/>
                <a:uLnTx/>
                <a:uFillTx/>
                <a:latin typeface="Arial"/>
                <a:ea typeface="+mn-ea"/>
                <a:cs typeface="+mn-cs"/>
              </a:rPr>
              <a:t>grid forming properties and inertia</a:t>
            </a:r>
          </a:p>
          <a:p>
            <a:pPr marL="285744" marR="0" lvl="0" indent="-285744" algn="l" defTabSz="914377" rtl="0" eaLnBrk="1" fontAlgn="auto" latinLnBrk="0" hangingPunct="1">
              <a:lnSpc>
                <a:spcPct val="100000"/>
              </a:lnSpc>
              <a:spcBef>
                <a:spcPts val="0"/>
              </a:spcBef>
              <a:spcAft>
                <a:spcPts val="600"/>
              </a:spcAft>
              <a:buClr>
                <a:srgbClr val="5C2483"/>
              </a:buClr>
              <a:buSzTx/>
              <a:buFont typeface="Arial" panose="020B0604020202020204" pitchFamily="34" charset="0"/>
              <a:buChar char="•"/>
              <a:tabLst/>
              <a:defRPr/>
            </a:pPr>
            <a:r>
              <a:rPr kumimoji="0" lang="en-US" sz="1300" b="0" i="0" u="none" strike="noStrike" kern="0" cap="none" spc="0" normalizeH="0" baseline="0" noProof="0" dirty="0">
                <a:ln>
                  <a:noFill/>
                </a:ln>
                <a:solidFill>
                  <a:srgbClr val="000000"/>
                </a:solidFill>
                <a:effectLst/>
                <a:uLnTx/>
                <a:uFillTx/>
                <a:latin typeface="Arial"/>
                <a:ea typeface="+mn-ea"/>
                <a:cs typeface="+mn-cs"/>
              </a:rPr>
              <a:t>Implementation of a bonus system </a:t>
            </a:r>
          </a:p>
          <a:p>
            <a:pPr marL="285744" marR="0" lvl="0" indent="-285744" algn="l" defTabSz="914377" rtl="0" eaLnBrk="1" fontAlgn="auto" latinLnBrk="0" hangingPunct="1">
              <a:lnSpc>
                <a:spcPct val="100000"/>
              </a:lnSpc>
              <a:spcBef>
                <a:spcPts val="0"/>
              </a:spcBef>
              <a:spcAft>
                <a:spcPts val="600"/>
              </a:spcAft>
              <a:buClr>
                <a:srgbClr val="5C2483"/>
              </a:buClr>
              <a:buSzTx/>
              <a:buFont typeface="Arial" panose="020B0604020202020204" pitchFamily="34" charset="0"/>
              <a:buChar char="•"/>
              <a:tabLst/>
              <a:defRPr/>
            </a:pPr>
            <a:r>
              <a:rPr kumimoji="0" lang="en-GB" sz="1300" b="0" i="0" u="none" strike="noStrike" kern="0" cap="none" spc="0" normalizeH="0" baseline="0" noProof="0" dirty="0">
                <a:ln>
                  <a:noFill/>
                </a:ln>
                <a:solidFill>
                  <a:srgbClr val="000000"/>
                </a:solidFill>
                <a:effectLst/>
                <a:uLnTx/>
                <a:uFillTx/>
                <a:latin typeface="Arial"/>
                <a:ea typeface="+mn-ea"/>
                <a:cs typeface="+mn-cs"/>
              </a:rPr>
              <a:t>Differentiation between positive and </a:t>
            </a:r>
            <a:br>
              <a:rPr kumimoji="0" lang="en-GB" sz="1300" b="0" i="0" u="none" strike="noStrike" kern="0" cap="none" spc="0" normalizeH="0" baseline="0" noProof="0" dirty="0">
                <a:ln>
                  <a:noFill/>
                </a:ln>
                <a:solidFill>
                  <a:srgbClr val="000000"/>
                </a:solidFill>
                <a:effectLst/>
                <a:uLnTx/>
                <a:uFillTx/>
                <a:latin typeface="Arial"/>
                <a:ea typeface="+mn-ea"/>
                <a:cs typeface="+mn-cs"/>
              </a:rPr>
            </a:br>
            <a:r>
              <a:rPr kumimoji="0" lang="en-GB" sz="1300" b="0" i="0" u="none" strike="noStrike" kern="0" cap="none" spc="0" normalizeH="0" baseline="0" noProof="0" dirty="0">
                <a:ln>
                  <a:noFill/>
                </a:ln>
                <a:solidFill>
                  <a:srgbClr val="000000"/>
                </a:solidFill>
                <a:effectLst/>
                <a:uLnTx/>
                <a:uFillTx/>
                <a:latin typeface="Arial"/>
                <a:ea typeface="+mn-ea"/>
                <a:cs typeface="+mn-cs"/>
              </a:rPr>
              <a:t>negative inertia</a:t>
            </a:r>
          </a:p>
          <a:p>
            <a:pPr marL="285744" marR="0" lvl="0" indent="-285744" algn="l" defTabSz="914377" rtl="0" eaLnBrk="1" fontAlgn="auto" latinLnBrk="0" hangingPunct="1">
              <a:lnSpc>
                <a:spcPct val="100000"/>
              </a:lnSpc>
              <a:spcBef>
                <a:spcPts val="0"/>
              </a:spcBef>
              <a:spcAft>
                <a:spcPts val="600"/>
              </a:spcAft>
              <a:buClr>
                <a:srgbClr val="5C2483"/>
              </a:buClr>
              <a:buSzTx/>
              <a:buFont typeface="Arial" panose="020B0604020202020204" pitchFamily="34" charset="0"/>
              <a:buChar char="•"/>
              <a:tabLst/>
              <a:defRPr/>
            </a:pPr>
            <a:r>
              <a:rPr kumimoji="0" lang="en-US" sz="1300" b="0" i="0" u="none" strike="noStrike" kern="0" cap="none" spc="0" normalizeH="0" baseline="0" noProof="0" dirty="0">
                <a:ln>
                  <a:noFill/>
                </a:ln>
                <a:solidFill>
                  <a:srgbClr val="000000"/>
                </a:solidFill>
                <a:effectLst/>
                <a:uLnTx/>
                <a:uFillTx/>
                <a:latin typeface="Arial"/>
                <a:ea typeface="+mn-ea"/>
                <a:cs typeface="+mn-cs"/>
              </a:rPr>
              <a:t>Close monitoring of procured quantities </a:t>
            </a:r>
            <a:br>
              <a:rPr kumimoji="0" lang="en-US" sz="1300" b="0" i="0" u="none" strike="noStrike" kern="0" cap="none" spc="0" normalizeH="0" baseline="0" noProof="0" dirty="0">
                <a:ln>
                  <a:noFill/>
                </a:ln>
                <a:solidFill>
                  <a:srgbClr val="000000"/>
                </a:solidFill>
                <a:effectLst/>
                <a:uLnTx/>
                <a:uFillTx/>
                <a:latin typeface="Arial"/>
                <a:ea typeface="+mn-ea"/>
                <a:cs typeface="+mn-cs"/>
              </a:rPr>
            </a:br>
            <a:r>
              <a:rPr kumimoji="0" lang="en-US" sz="1300" b="0" i="0" u="none" strike="noStrike" kern="0" cap="none" spc="0" normalizeH="0" baseline="0" noProof="0" dirty="0">
                <a:ln>
                  <a:noFill/>
                </a:ln>
                <a:solidFill>
                  <a:srgbClr val="000000"/>
                </a:solidFill>
                <a:effectLst/>
                <a:uLnTx/>
                <a:uFillTx/>
                <a:latin typeface="Arial"/>
                <a:ea typeface="+mn-ea"/>
                <a:cs typeface="+mn-cs"/>
              </a:rPr>
              <a:t>and delivery levels</a:t>
            </a:r>
          </a:p>
          <a:p>
            <a:pPr marL="285744" marR="0" lvl="0" indent="-285744" algn="l" defTabSz="914377" rtl="0" eaLnBrk="1" fontAlgn="auto" latinLnBrk="0" hangingPunct="1">
              <a:lnSpc>
                <a:spcPct val="100000"/>
              </a:lnSpc>
              <a:spcBef>
                <a:spcPts val="0"/>
              </a:spcBef>
              <a:spcAft>
                <a:spcPts val="600"/>
              </a:spcAft>
              <a:buClr>
                <a:srgbClr val="5C2483"/>
              </a:buClr>
              <a:buSzTx/>
              <a:buFont typeface="Arial" panose="020B0604020202020204" pitchFamily="34" charset="0"/>
              <a:buChar char="•"/>
              <a:tabLst/>
              <a:defRPr/>
            </a:pPr>
            <a:r>
              <a:rPr kumimoji="0" lang="en-US" sz="1300" b="0" i="0" u="none" strike="noStrike" kern="0" cap="none" spc="0" normalizeH="0" baseline="0" noProof="0" dirty="0">
                <a:ln>
                  <a:noFill/>
                </a:ln>
                <a:solidFill>
                  <a:srgbClr val="000000"/>
                </a:solidFill>
                <a:effectLst/>
                <a:uLnTx/>
                <a:uFillTx/>
                <a:latin typeface="Arial"/>
                <a:ea typeface="+mn-ea"/>
                <a:cs typeface="+mn-cs"/>
              </a:rPr>
              <a:t>FNN will define technical requirements</a:t>
            </a:r>
            <a:br>
              <a:rPr kumimoji="0" lang="en-US" sz="1300" b="0" i="0" u="none" strike="noStrike" kern="0" cap="none" spc="0" normalizeH="0" baseline="0" noProof="0" dirty="0">
                <a:ln>
                  <a:noFill/>
                </a:ln>
                <a:solidFill>
                  <a:srgbClr val="000000"/>
                </a:solidFill>
                <a:effectLst/>
                <a:uLnTx/>
                <a:uFillTx/>
                <a:latin typeface="Arial"/>
                <a:ea typeface="+mn-ea"/>
                <a:cs typeface="+mn-cs"/>
              </a:rPr>
            </a:br>
            <a:r>
              <a:rPr kumimoji="0" lang="en-US" sz="1300" b="0" i="0" u="none" strike="noStrike" kern="0" cap="none" spc="0" normalizeH="0" baseline="0" noProof="0">
                <a:ln>
                  <a:noFill/>
                </a:ln>
                <a:solidFill>
                  <a:srgbClr val="000000"/>
                </a:solidFill>
                <a:effectLst/>
                <a:uLnTx/>
                <a:uFillTx/>
                <a:latin typeface="Arial"/>
                <a:ea typeface="+mn-ea"/>
                <a:cs typeface="+mn-cs"/>
              </a:rPr>
              <a:t>and verification/compliance procedures</a:t>
            </a:r>
            <a:endParaRPr kumimoji="0" lang="de-DE" sz="1300" b="0" i="0" u="none" strike="noStrike" kern="0" cap="none" spc="0" normalizeH="0" baseline="0" noProof="0" dirty="0">
              <a:ln>
                <a:noFill/>
              </a:ln>
              <a:solidFill>
                <a:srgbClr val="000000"/>
              </a:solidFill>
              <a:effectLst/>
              <a:uLnTx/>
              <a:uFillTx/>
              <a:latin typeface="Arial"/>
              <a:ea typeface="+mn-ea"/>
              <a:cs typeface="+mn-cs"/>
            </a:endParaRPr>
          </a:p>
        </p:txBody>
      </p:sp>
      <p:sp>
        <p:nvSpPr>
          <p:cNvPr id="42" name="Textfeld 41">
            <a:extLst>
              <a:ext uri="{FF2B5EF4-FFF2-40B4-BE49-F238E27FC236}">
                <a16:creationId xmlns:a16="http://schemas.microsoft.com/office/drawing/2014/main" id="{2C5B3DA7-525E-5122-712E-2AF16B89DB8F}"/>
              </a:ext>
            </a:extLst>
          </p:cNvPr>
          <p:cNvSpPr txBox="1"/>
          <p:nvPr/>
        </p:nvSpPr>
        <p:spPr bwMode="auto">
          <a:xfrm>
            <a:off x="7748828" y="4928102"/>
            <a:ext cx="2954251" cy="2048593"/>
          </a:xfrm>
          <a:prstGeom prst="rect">
            <a:avLst/>
          </a:prstGeom>
        </p:spPr>
        <p:txBody>
          <a:bodyPr vert="horz" wrap="none" lIns="0" tIns="45720" rIns="91440" bIns="45720" rtlCol="0">
            <a:normAutofit/>
          </a:bodyPr>
          <a:lstStyle/>
          <a:p>
            <a:pPr marL="0" marR="0" lvl="0" indent="0" algn="l" defTabSz="914377" rtl="0" eaLnBrk="1" fontAlgn="auto" latinLnBrk="0" hangingPunct="1">
              <a:lnSpc>
                <a:spcPct val="100000"/>
              </a:lnSpc>
              <a:spcBef>
                <a:spcPts val="0"/>
              </a:spcBef>
              <a:spcAft>
                <a:spcPts val="600"/>
              </a:spcAft>
              <a:buClr>
                <a:srgbClr val="5C2483"/>
              </a:buClr>
              <a:buSzTx/>
              <a:buFontTx/>
              <a:buNone/>
              <a:tabLst/>
              <a:defRPr/>
            </a:pPr>
            <a:r>
              <a:rPr kumimoji="0" lang="en-GB" sz="1300" b="1" i="0" u="none" strike="noStrike" kern="0" cap="none" spc="0" normalizeH="0" baseline="0" noProof="0" dirty="0">
                <a:ln>
                  <a:noFill/>
                </a:ln>
                <a:solidFill>
                  <a:srgbClr val="000000"/>
                </a:solidFill>
                <a:effectLst/>
                <a:uLnTx/>
                <a:uFillTx/>
                <a:latin typeface="Arial"/>
                <a:ea typeface="+mn-ea"/>
                <a:cs typeface="+mn-cs"/>
              </a:rPr>
              <a:t>Goal</a:t>
            </a:r>
            <a:r>
              <a:rPr kumimoji="0" lang="en-GB" sz="1300" b="0" i="0" u="none" strike="noStrike" kern="0" cap="none" spc="0" normalizeH="0" baseline="0" noProof="0" dirty="0">
                <a:ln>
                  <a:noFill/>
                </a:ln>
                <a:solidFill>
                  <a:srgbClr val="000000"/>
                </a:solidFill>
                <a:effectLst/>
                <a:uLnTx/>
                <a:uFillTx/>
                <a:latin typeface="Arial"/>
                <a:ea typeface="+mn-ea"/>
                <a:cs typeface="+mn-cs"/>
              </a:rPr>
              <a:t>: Contribution from generation units,</a:t>
            </a:r>
            <a:br>
              <a:rPr kumimoji="0" lang="en-GB" sz="1300" b="0" i="0" u="none" strike="noStrike" kern="0" cap="none" spc="0" normalizeH="0" baseline="0" noProof="0" dirty="0">
                <a:ln>
                  <a:noFill/>
                </a:ln>
                <a:solidFill>
                  <a:srgbClr val="000000"/>
                </a:solidFill>
                <a:effectLst/>
                <a:uLnTx/>
                <a:uFillTx/>
                <a:latin typeface="Arial"/>
                <a:ea typeface="+mn-ea"/>
                <a:cs typeface="+mn-cs"/>
              </a:rPr>
            </a:br>
            <a:r>
              <a:rPr kumimoji="0" lang="en-GB" sz="1300" b="0" i="0" u="none" strike="noStrike" kern="0" cap="none" spc="0" normalizeH="0" baseline="0" noProof="0" dirty="0">
                <a:ln>
                  <a:noFill/>
                </a:ln>
                <a:solidFill>
                  <a:srgbClr val="000000"/>
                </a:solidFill>
                <a:effectLst/>
                <a:uLnTx/>
                <a:uFillTx/>
                <a:latin typeface="Arial"/>
                <a:ea typeface="+mn-ea"/>
                <a:cs typeface="+mn-cs"/>
              </a:rPr>
              <a:t>storages and loads</a:t>
            </a:r>
          </a:p>
          <a:p>
            <a:pPr marL="285744" marR="0" lvl="0" indent="-285744" algn="l" defTabSz="914377" rtl="0" eaLnBrk="1" fontAlgn="auto" latinLnBrk="0" hangingPunct="1">
              <a:lnSpc>
                <a:spcPct val="100000"/>
              </a:lnSpc>
              <a:spcBef>
                <a:spcPts val="0"/>
              </a:spcBef>
              <a:spcAft>
                <a:spcPts val="600"/>
              </a:spcAft>
              <a:buClr>
                <a:srgbClr val="5C2483"/>
              </a:buClr>
              <a:buSzTx/>
              <a:buFont typeface="Arial" panose="020B0604020202020204" pitchFamily="34" charset="0"/>
              <a:buChar char="•"/>
              <a:tabLst/>
              <a:defRPr/>
            </a:pPr>
            <a:r>
              <a:rPr kumimoji="0" lang="en-GB" sz="1300" b="0" i="0" u="none" strike="noStrike" kern="0" cap="none" spc="0" normalizeH="0" baseline="0" noProof="0" dirty="0">
                <a:ln>
                  <a:noFill/>
                </a:ln>
                <a:solidFill>
                  <a:srgbClr val="000000"/>
                </a:solidFill>
                <a:effectLst/>
                <a:uLnTx/>
                <a:uFillTx/>
                <a:latin typeface="Arial"/>
                <a:ea typeface="+mn-ea"/>
                <a:cs typeface="+mn-cs"/>
              </a:rPr>
              <a:t>Implementation of amended European</a:t>
            </a:r>
            <a:br>
              <a:rPr kumimoji="0" lang="en-GB" sz="1300" b="0" i="0" u="none" strike="noStrike" kern="0" cap="none" spc="0" normalizeH="0" baseline="0" noProof="0" dirty="0">
                <a:ln>
                  <a:noFill/>
                </a:ln>
                <a:solidFill>
                  <a:srgbClr val="000000"/>
                </a:solidFill>
                <a:effectLst/>
                <a:uLnTx/>
                <a:uFillTx/>
                <a:latin typeface="Arial"/>
                <a:ea typeface="+mn-ea"/>
                <a:cs typeface="+mn-cs"/>
              </a:rPr>
            </a:br>
            <a:r>
              <a:rPr kumimoji="0" lang="en-GB" sz="1300" b="0" i="0" u="none" strike="noStrike" kern="0" cap="none" spc="0" normalizeH="0" baseline="0" noProof="0" dirty="0">
                <a:ln>
                  <a:noFill/>
                </a:ln>
                <a:solidFill>
                  <a:srgbClr val="000000"/>
                </a:solidFill>
                <a:effectLst/>
                <a:uLnTx/>
                <a:uFillTx/>
                <a:latin typeface="Arial"/>
                <a:ea typeface="+mn-ea"/>
                <a:cs typeface="+mn-cs"/>
              </a:rPr>
              <a:t>Guidelines (</a:t>
            </a:r>
            <a:r>
              <a:rPr kumimoji="0" lang="en-GB" sz="1300" b="0" i="0" u="none" strike="noStrike" kern="0" cap="none" spc="0" normalizeH="0" baseline="0" noProof="0" dirty="0" err="1">
                <a:ln>
                  <a:noFill/>
                </a:ln>
                <a:solidFill>
                  <a:srgbClr val="000000"/>
                </a:solidFill>
                <a:effectLst/>
                <a:uLnTx/>
                <a:uFillTx/>
                <a:latin typeface="Arial"/>
                <a:ea typeface="+mn-ea"/>
                <a:cs typeface="+mn-cs"/>
              </a:rPr>
              <a:t>RfG</a:t>
            </a:r>
            <a:r>
              <a:rPr kumimoji="0" lang="en-GB" sz="1300" b="0" i="0" u="none" strike="noStrike" kern="0" cap="none" spc="0" normalizeH="0" baseline="0" noProof="0" dirty="0">
                <a:ln>
                  <a:noFill/>
                </a:ln>
                <a:solidFill>
                  <a:srgbClr val="000000"/>
                </a:solidFill>
                <a:effectLst/>
                <a:uLnTx/>
                <a:uFillTx/>
                <a:latin typeface="Arial"/>
                <a:ea typeface="+mn-ea"/>
                <a:cs typeface="+mn-cs"/>
              </a:rPr>
              <a:t>, HVDC)</a:t>
            </a:r>
          </a:p>
          <a:p>
            <a:pPr marL="285744" marR="0" lvl="0" indent="-285744" algn="l" defTabSz="914377" rtl="0" eaLnBrk="1" fontAlgn="auto" latinLnBrk="0" hangingPunct="1">
              <a:lnSpc>
                <a:spcPct val="100000"/>
              </a:lnSpc>
              <a:spcBef>
                <a:spcPts val="0"/>
              </a:spcBef>
              <a:spcAft>
                <a:spcPts val="600"/>
              </a:spcAft>
              <a:buClr>
                <a:srgbClr val="5C2483"/>
              </a:buClr>
              <a:buSzTx/>
              <a:buFont typeface="Arial" panose="020B0604020202020204" pitchFamily="34" charset="0"/>
              <a:buChar char="•"/>
              <a:tabLst/>
              <a:defRPr/>
            </a:pPr>
            <a:endParaRPr kumimoji="0" lang="en-GB" sz="1300" b="0" i="0" u="none" strike="noStrike" kern="0" cap="none" spc="0" normalizeH="0" baseline="0" noProof="0" dirty="0">
              <a:ln>
                <a:noFill/>
              </a:ln>
              <a:solidFill>
                <a:srgbClr val="000000"/>
              </a:solidFill>
              <a:effectLst/>
              <a:uLnTx/>
              <a:uFillTx/>
              <a:latin typeface="Arial"/>
              <a:ea typeface="+mn-ea"/>
              <a:cs typeface="+mn-cs"/>
            </a:endParaRPr>
          </a:p>
        </p:txBody>
      </p:sp>
      <p:grpSp>
        <p:nvGrpSpPr>
          <p:cNvPr id="44" name="Gruppieren 43">
            <a:extLst>
              <a:ext uri="{FF2B5EF4-FFF2-40B4-BE49-F238E27FC236}">
                <a16:creationId xmlns:a16="http://schemas.microsoft.com/office/drawing/2014/main" id="{8899023B-CE03-8D71-0D7D-A3FEF4A4EA05}"/>
              </a:ext>
            </a:extLst>
          </p:cNvPr>
          <p:cNvGrpSpPr/>
          <p:nvPr/>
        </p:nvGrpSpPr>
        <p:grpSpPr>
          <a:xfrm>
            <a:off x="3397233" y="1164863"/>
            <a:ext cx="1176899" cy="720000"/>
            <a:chOff x="1457826" y="2089301"/>
            <a:chExt cx="1176898" cy="720000"/>
          </a:xfrm>
        </p:grpSpPr>
        <p:sp>
          <p:nvSpPr>
            <p:cNvPr id="45" name="Pfeil nach links und rechts 9">
              <a:extLst>
                <a:ext uri="{FF2B5EF4-FFF2-40B4-BE49-F238E27FC236}">
                  <a16:creationId xmlns:a16="http://schemas.microsoft.com/office/drawing/2014/main" id="{C9F80B1B-37D5-4E6A-FCA0-3E1CE3BD9A5D}"/>
                </a:ext>
              </a:extLst>
            </p:cNvPr>
            <p:cNvSpPr/>
            <p:nvPr/>
          </p:nvSpPr>
          <p:spPr bwMode="auto">
            <a:xfrm>
              <a:off x="1457826" y="2310516"/>
              <a:ext cx="1176898" cy="254400"/>
            </a:xfrm>
            <a:prstGeom prst="leftRightArrow">
              <a:avLst/>
            </a:prstGeom>
            <a:pattFill prst="dkUpDiag">
              <a:fgClr>
                <a:srgbClr val="C3CDDC"/>
              </a:fgClr>
              <a:bgClr>
                <a:srgbClr val="69A4E2"/>
              </a:bgClr>
            </a:pattFill>
            <a:ln w="952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77" rtl="0" eaLnBrk="1" fontAlgn="base" latinLnBrk="0" hangingPunct="1">
                <a:lnSpc>
                  <a:spcPct val="100000"/>
                </a:lnSpc>
                <a:spcBef>
                  <a:spcPct val="50000"/>
                </a:spcBef>
                <a:spcAft>
                  <a:spcPct val="0"/>
                </a:spcAft>
                <a:buClrTx/>
                <a:buSzTx/>
                <a:buFontTx/>
                <a:buNone/>
                <a:tabLst/>
                <a:defRPr/>
              </a:pPr>
              <a:endParaRPr kumimoji="0" lang="de-DE" sz="1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50" name="Ellipse 49">
              <a:extLst>
                <a:ext uri="{FF2B5EF4-FFF2-40B4-BE49-F238E27FC236}">
                  <a16:creationId xmlns:a16="http://schemas.microsoft.com/office/drawing/2014/main" id="{B232308E-BC85-B742-2211-9CF440B3B3CA}"/>
                </a:ext>
              </a:extLst>
            </p:cNvPr>
            <p:cNvSpPr/>
            <p:nvPr/>
          </p:nvSpPr>
          <p:spPr>
            <a:xfrm>
              <a:off x="1686275" y="2089301"/>
              <a:ext cx="720000" cy="720000"/>
            </a:xfrm>
            <a:prstGeom prst="ellipse">
              <a:avLst/>
            </a:prstGeom>
            <a:solidFill>
              <a:srgbClr val="C3CDDC"/>
            </a:solidFill>
            <a:ln>
              <a:noFill/>
            </a:ln>
          </p:spPr>
          <p:txBody>
            <a:bodyPr wrap="square" lIns="0" tIns="36000" rIns="0" bIns="36000" anchor="ctr">
              <a:noAutofit/>
            </a:bodyPr>
            <a:lstStyle/>
            <a:p>
              <a:pPr marL="0" marR="0" lvl="0" indent="0" algn="ctr" defTabSz="359983" rtl="0" eaLnBrk="1" fontAlgn="auto" latinLnBrk="0" hangingPunct="1">
                <a:lnSpc>
                  <a:spcPct val="103000"/>
                </a:lnSpc>
                <a:spcBef>
                  <a:spcPts val="0"/>
                </a:spcBef>
                <a:spcAft>
                  <a:spcPts val="300"/>
                </a:spcAft>
                <a:buClrTx/>
                <a:buSzPct val="70000"/>
                <a:buFontTx/>
                <a:buNone/>
                <a:tabLst/>
                <a:defRPr/>
              </a:pPr>
              <a:r>
                <a:rPr kumimoji="0" lang="de-DE" sz="1400" b="1" i="0" u="none" strike="noStrike" kern="0" cap="none" spc="0" normalizeH="0" baseline="0" noProof="0" dirty="0">
                  <a:ln>
                    <a:noFill/>
                  </a:ln>
                  <a:solidFill>
                    <a:srgbClr val="3C5F8C"/>
                  </a:solidFill>
                  <a:effectLst/>
                  <a:uLnTx/>
                  <a:uFillTx/>
                  <a:latin typeface="Calibri"/>
                  <a:ea typeface="+mn-ea"/>
                  <a:cs typeface="+mn-cs"/>
                </a:rPr>
                <a:t>2025</a:t>
              </a:r>
            </a:p>
          </p:txBody>
        </p:sp>
      </p:grpSp>
      <p:sp>
        <p:nvSpPr>
          <p:cNvPr id="51" name="Ellipse 50">
            <a:extLst>
              <a:ext uri="{FF2B5EF4-FFF2-40B4-BE49-F238E27FC236}">
                <a16:creationId xmlns:a16="http://schemas.microsoft.com/office/drawing/2014/main" id="{67FF0529-F097-8FFB-0F00-23F3032E11A7}"/>
              </a:ext>
            </a:extLst>
          </p:cNvPr>
          <p:cNvSpPr/>
          <p:nvPr/>
        </p:nvSpPr>
        <p:spPr>
          <a:xfrm>
            <a:off x="353255" y="1150512"/>
            <a:ext cx="720000" cy="720000"/>
          </a:xfrm>
          <a:prstGeom prst="ellipse">
            <a:avLst/>
          </a:prstGeom>
          <a:solidFill>
            <a:srgbClr val="C3CDDC"/>
          </a:solidFill>
          <a:ln>
            <a:noFill/>
          </a:ln>
        </p:spPr>
        <p:txBody>
          <a:bodyPr wrap="square" lIns="0" tIns="36000" rIns="0" bIns="36000" anchor="ctr">
            <a:noAutofit/>
          </a:bodyPr>
          <a:lstStyle/>
          <a:p>
            <a:pPr marL="0" marR="0" lvl="0" indent="0" algn="ctr" defTabSz="359983" rtl="0" eaLnBrk="1" fontAlgn="auto" latinLnBrk="0" hangingPunct="1">
              <a:lnSpc>
                <a:spcPct val="103000"/>
              </a:lnSpc>
              <a:spcBef>
                <a:spcPts val="0"/>
              </a:spcBef>
              <a:spcAft>
                <a:spcPts val="300"/>
              </a:spcAft>
              <a:buClrTx/>
              <a:buSzPct val="70000"/>
              <a:buFontTx/>
              <a:buNone/>
              <a:tabLst/>
              <a:defRPr/>
            </a:pPr>
            <a:r>
              <a:rPr kumimoji="0" lang="de-DE" sz="1400" b="1" i="0" u="none" strike="noStrike" kern="0" cap="none" spc="0" normalizeH="0" baseline="0" noProof="0" dirty="0">
                <a:ln>
                  <a:noFill/>
                </a:ln>
                <a:solidFill>
                  <a:srgbClr val="3C5F8C"/>
                </a:solidFill>
                <a:effectLst/>
                <a:uLnTx/>
                <a:uFillTx/>
                <a:latin typeface="Calibri"/>
                <a:ea typeface="+mn-ea"/>
                <a:cs typeface="+mn-cs"/>
              </a:rPr>
              <a:t>Today</a:t>
            </a:r>
          </a:p>
        </p:txBody>
      </p:sp>
      <p:grpSp>
        <p:nvGrpSpPr>
          <p:cNvPr id="55" name="Gruppieren 54">
            <a:extLst>
              <a:ext uri="{FF2B5EF4-FFF2-40B4-BE49-F238E27FC236}">
                <a16:creationId xmlns:a16="http://schemas.microsoft.com/office/drawing/2014/main" id="{5973FA8C-0837-A0A1-914E-268EED586351}"/>
              </a:ext>
            </a:extLst>
          </p:cNvPr>
          <p:cNvGrpSpPr/>
          <p:nvPr/>
        </p:nvGrpSpPr>
        <p:grpSpPr>
          <a:xfrm>
            <a:off x="6921031" y="1176447"/>
            <a:ext cx="1176899" cy="720000"/>
            <a:chOff x="5750463" y="2089301"/>
            <a:chExt cx="1176898" cy="720000"/>
          </a:xfrm>
        </p:grpSpPr>
        <p:sp>
          <p:nvSpPr>
            <p:cNvPr id="56" name="Pfeil nach links und rechts 37">
              <a:extLst>
                <a:ext uri="{FF2B5EF4-FFF2-40B4-BE49-F238E27FC236}">
                  <a16:creationId xmlns:a16="http://schemas.microsoft.com/office/drawing/2014/main" id="{6C8825F7-5E75-773E-8796-36C180AB40D5}"/>
                </a:ext>
              </a:extLst>
            </p:cNvPr>
            <p:cNvSpPr/>
            <p:nvPr/>
          </p:nvSpPr>
          <p:spPr bwMode="auto">
            <a:xfrm>
              <a:off x="5750463" y="2310516"/>
              <a:ext cx="1176898" cy="254400"/>
            </a:xfrm>
            <a:prstGeom prst="leftRightArrow">
              <a:avLst/>
            </a:prstGeom>
            <a:pattFill prst="dkUpDiag">
              <a:fgClr>
                <a:srgbClr val="C3CDDC"/>
              </a:fgClr>
              <a:bgClr>
                <a:srgbClr val="69A4E2"/>
              </a:bgClr>
            </a:pattFill>
            <a:ln w="952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77" rtl="0" eaLnBrk="1" fontAlgn="base" latinLnBrk="0" hangingPunct="1">
                <a:lnSpc>
                  <a:spcPct val="100000"/>
                </a:lnSpc>
                <a:spcBef>
                  <a:spcPct val="50000"/>
                </a:spcBef>
                <a:spcAft>
                  <a:spcPct val="0"/>
                </a:spcAft>
                <a:buClrTx/>
                <a:buSzTx/>
                <a:buFontTx/>
                <a:buNone/>
                <a:tabLst/>
                <a:defRPr/>
              </a:pPr>
              <a:endParaRPr kumimoji="0" lang="de-DE" sz="1800" b="0" i="0" u="none" strike="noStrike" kern="0" cap="none" spc="0" normalizeH="0" baseline="0" noProof="0" dirty="0" err="1">
                <a:ln>
                  <a:noFill/>
                </a:ln>
                <a:solidFill>
                  <a:srgbClr val="FFFFFF"/>
                </a:solidFill>
                <a:effectLst/>
                <a:uLnTx/>
                <a:uFillTx/>
                <a:latin typeface="Arial"/>
                <a:ea typeface="+mn-ea"/>
                <a:cs typeface="+mn-cs"/>
              </a:endParaRPr>
            </a:p>
          </p:txBody>
        </p:sp>
        <p:sp>
          <p:nvSpPr>
            <p:cNvPr id="61" name="Ellipse 60">
              <a:extLst>
                <a:ext uri="{FF2B5EF4-FFF2-40B4-BE49-F238E27FC236}">
                  <a16:creationId xmlns:a16="http://schemas.microsoft.com/office/drawing/2014/main" id="{362AD43F-10CD-EB48-EFAB-179E15C1DE49}"/>
                </a:ext>
              </a:extLst>
            </p:cNvPr>
            <p:cNvSpPr/>
            <p:nvPr/>
          </p:nvSpPr>
          <p:spPr>
            <a:xfrm>
              <a:off x="5978912" y="2089301"/>
              <a:ext cx="720000" cy="720000"/>
            </a:xfrm>
            <a:prstGeom prst="ellipse">
              <a:avLst/>
            </a:prstGeom>
            <a:solidFill>
              <a:srgbClr val="C3CDDC"/>
            </a:solidFill>
            <a:ln>
              <a:noFill/>
            </a:ln>
          </p:spPr>
          <p:txBody>
            <a:bodyPr wrap="square" lIns="0" tIns="36000" rIns="0" bIns="36000" anchor="ctr">
              <a:noAutofit/>
            </a:bodyPr>
            <a:lstStyle/>
            <a:p>
              <a:pPr marL="0" marR="0" lvl="0" indent="0" algn="ctr" defTabSz="359983" rtl="0" eaLnBrk="1" fontAlgn="auto" latinLnBrk="0" hangingPunct="1">
                <a:lnSpc>
                  <a:spcPct val="103000"/>
                </a:lnSpc>
                <a:spcBef>
                  <a:spcPts val="0"/>
                </a:spcBef>
                <a:spcAft>
                  <a:spcPts val="300"/>
                </a:spcAft>
                <a:buClrTx/>
                <a:buSzPct val="70000"/>
                <a:buFontTx/>
                <a:buNone/>
                <a:tabLst/>
                <a:defRPr/>
              </a:pPr>
              <a:r>
                <a:rPr kumimoji="0" lang="de-DE" sz="1400" b="1" i="0" u="none" strike="noStrike" kern="0" cap="none" spc="0" normalizeH="0" baseline="0" noProof="0" dirty="0">
                  <a:ln>
                    <a:noFill/>
                  </a:ln>
                  <a:solidFill>
                    <a:srgbClr val="3C5F8C"/>
                  </a:solidFill>
                  <a:effectLst/>
                  <a:uLnTx/>
                  <a:uFillTx/>
                  <a:latin typeface="Calibri"/>
                  <a:ea typeface="+mn-ea"/>
                  <a:cs typeface="+mn-cs"/>
                </a:rPr>
                <a:t>2030</a:t>
              </a:r>
            </a:p>
          </p:txBody>
        </p:sp>
      </p:grpSp>
      <p:sp>
        <p:nvSpPr>
          <p:cNvPr id="6" name="Rechteck 5">
            <a:extLst>
              <a:ext uri="{FF2B5EF4-FFF2-40B4-BE49-F238E27FC236}">
                <a16:creationId xmlns:a16="http://schemas.microsoft.com/office/drawing/2014/main" id="{0489E06D-9E35-CCA6-D778-F52EC127C7B0}"/>
              </a:ext>
            </a:extLst>
          </p:cNvPr>
          <p:cNvSpPr/>
          <p:nvPr/>
        </p:nvSpPr>
        <p:spPr bwMode="gray">
          <a:xfrm>
            <a:off x="3801510" y="3289254"/>
            <a:ext cx="3653293" cy="2647455"/>
          </a:xfrm>
          <a:prstGeom prst="rect">
            <a:avLst/>
          </a:prstGeom>
          <a:noFill/>
          <a:ln w="15875" algn="ctr">
            <a:solidFill>
              <a:schemeClr val="accent1"/>
            </a:solidFill>
            <a:miter lim="800000"/>
            <a:headEnd/>
            <a:tailEnd/>
          </a:ln>
          <a:effectLst/>
        </p:spPr>
        <p:txBody>
          <a:bodyPr lIns="192000" tIns="48000" rIns="192000" bIns="4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67" b="1" i="0" u="none" strike="noStrike" kern="0" cap="none" spc="0" normalizeH="0" baseline="0" noProof="0">
              <a:ln>
                <a:noFill/>
              </a:ln>
              <a:solidFill>
                <a:srgbClr val="FFFFFF"/>
              </a:solidFill>
              <a:effectLst/>
              <a:uLnTx/>
              <a:uFillTx/>
              <a:latin typeface="Arial"/>
              <a:ea typeface="+mn-ea"/>
              <a:cs typeface="+mn-cs"/>
            </a:endParaRPr>
          </a:p>
        </p:txBody>
      </p:sp>
      <p:sp>
        <p:nvSpPr>
          <p:cNvPr id="10" name="TextBox 9">
            <a:extLst>
              <a:ext uri="{FF2B5EF4-FFF2-40B4-BE49-F238E27FC236}">
                <a16:creationId xmlns:a16="http://schemas.microsoft.com/office/drawing/2014/main" id="{FB829639-3A8F-CB5C-3497-F684FDDC3238}"/>
              </a:ext>
            </a:extLst>
          </p:cNvPr>
          <p:cNvSpPr txBox="1"/>
          <p:nvPr/>
        </p:nvSpPr>
        <p:spPr>
          <a:xfrm>
            <a:off x="353255" y="5969597"/>
            <a:ext cx="11384280" cy="5078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200"/>
              </a:spcBef>
              <a:spcAft>
                <a:spcPts val="0"/>
              </a:spcAft>
              <a:buClr>
                <a:srgbClr val="0064B4"/>
              </a:buClr>
              <a:buSzTx/>
              <a:buFontTx/>
              <a:buNone/>
              <a:tabLst/>
              <a:defRPr/>
            </a:pPr>
            <a:r>
              <a:rPr kumimoji="0" lang="en-US" sz="1100" b="0" i="0" u="none" strike="noStrike" kern="1200" cap="none" spc="0" normalizeH="0" baseline="0" noProof="0" dirty="0">
                <a:ln>
                  <a:noFill/>
                </a:ln>
                <a:solidFill>
                  <a:srgbClr val="575757"/>
                </a:solidFill>
                <a:effectLst/>
                <a:uLnTx/>
                <a:uFillTx/>
                <a:latin typeface="Arial"/>
                <a:ea typeface="+mn-ea"/>
                <a:cs typeface="+mn-cs"/>
              </a:rPr>
              <a:t>Source: “Requirements and verification procedures for </a:t>
            </a:r>
            <a:r>
              <a:rPr kumimoji="0" lang="en-US" sz="1100" b="0" i="0" u="none" strike="noStrike" kern="1200" cap="none" spc="0" normalizeH="0" baseline="0" noProof="0" dirty="0" err="1">
                <a:ln>
                  <a:noFill/>
                </a:ln>
                <a:solidFill>
                  <a:srgbClr val="575757"/>
                </a:solidFill>
                <a:effectLst/>
                <a:uLnTx/>
                <a:uFillTx/>
                <a:latin typeface="Arial"/>
                <a:ea typeface="+mn-ea"/>
                <a:cs typeface="+mn-cs"/>
              </a:rPr>
              <a:t>gridforming</a:t>
            </a:r>
            <a:r>
              <a:rPr kumimoji="0" lang="en-US" sz="1100" b="0" i="0" u="none" strike="noStrike" kern="1200" cap="none" spc="0" normalizeH="0" baseline="0" noProof="0" dirty="0">
                <a:ln>
                  <a:noFill/>
                </a:ln>
                <a:solidFill>
                  <a:srgbClr val="575757"/>
                </a:solidFill>
                <a:effectLst/>
                <a:uLnTx/>
                <a:uFillTx/>
                <a:latin typeface="Arial"/>
                <a:ea typeface="+mn-ea"/>
                <a:cs typeface="+mn-cs"/>
              </a:rPr>
              <a:t> units – the German approach to ensure power system stability under very high penetration of inverter-based sources”, presented by K. </a:t>
            </a:r>
            <a:r>
              <a:rPr kumimoji="0" lang="en-US" sz="1100" b="0" i="0" u="none" strike="noStrike" kern="1200" cap="none" spc="0" normalizeH="0" baseline="0" noProof="0" dirty="0" err="1">
                <a:ln>
                  <a:noFill/>
                </a:ln>
                <a:solidFill>
                  <a:srgbClr val="575757"/>
                </a:solidFill>
                <a:effectLst/>
                <a:uLnTx/>
                <a:uFillTx/>
                <a:latin typeface="Arial"/>
                <a:ea typeface="+mn-ea"/>
                <a:cs typeface="+mn-cs"/>
              </a:rPr>
              <a:t>Malekian</a:t>
            </a:r>
            <a:r>
              <a:rPr kumimoji="0" lang="en-US" sz="1100" b="0" i="0" u="none" strike="noStrike" kern="1200" cap="none" spc="0" normalizeH="0" baseline="0" noProof="0" dirty="0">
                <a:ln>
                  <a:noFill/>
                </a:ln>
                <a:solidFill>
                  <a:srgbClr val="575757"/>
                </a:solidFill>
                <a:effectLst/>
                <a:uLnTx/>
                <a:uFillTx/>
                <a:latin typeface="Arial"/>
                <a:ea typeface="+mn-ea"/>
                <a:cs typeface="+mn-cs"/>
              </a:rPr>
              <a:t>, E. Quitmann (Enercon), T. </a:t>
            </a:r>
            <a:r>
              <a:rPr kumimoji="0" lang="en-US" sz="1100" b="0" i="0" u="none" strike="noStrike" kern="1200" cap="none" spc="0" normalizeH="0" baseline="0" noProof="0" dirty="0" err="1">
                <a:ln>
                  <a:noFill/>
                </a:ln>
                <a:solidFill>
                  <a:srgbClr val="575757"/>
                </a:solidFill>
                <a:effectLst/>
                <a:uLnTx/>
                <a:uFillTx/>
                <a:latin typeface="Arial"/>
                <a:ea typeface="+mn-ea"/>
                <a:cs typeface="+mn-cs"/>
              </a:rPr>
              <a:t>Bülo</a:t>
            </a:r>
            <a:r>
              <a:rPr kumimoji="0" lang="en-US" sz="1100" b="0" i="0" u="none" strike="noStrike" kern="1200" cap="none" spc="0" normalizeH="0" baseline="0" noProof="0" dirty="0">
                <a:ln>
                  <a:noFill/>
                </a:ln>
                <a:solidFill>
                  <a:srgbClr val="575757"/>
                </a:solidFill>
                <a:effectLst/>
                <a:uLnTx/>
                <a:uFillTx/>
                <a:latin typeface="Arial"/>
                <a:ea typeface="+mn-ea"/>
                <a:cs typeface="+mn-cs"/>
              </a:rPr>
              <a:t> (SMA), J. </a:t>
            </a:r>
            <a:r>
              <a:rPr kumimoji="0" lang="en-US" sz="1100" b="0" i="0" u="none" strike="noStrike" kern="1200" cap="none" spc="0" normalizeH="0" baseline="0" noProof="0" dirty="0" err="1">
                <a:ln>
                  <a:noFill/>
                </a:ln>
                <a:solidFill>
                  <a:srgbClr val="575757"/>
                </a:solidFill>
                <a:effectLst/>
                <a:uLnTx/>
                <a:uFillTx/>
                <a:latin typeface="Arial"/>
                <a:ea typeface="+mn-ea"/>
                <a:cs typeface="+mn-cs"/>
              </a:rPr>
              <a:t>Massmann</a:t>
            </a:r>
            <a:r>
              <a:rPr kumimoji="0" lang="en-US" sz="1100" b="0" i="0" u="none" strike="noStrike" kern="1200" cap="none" spc="0" normalizeH="0" baseline="0" noProof="0" dirty="0">
                <a:ln>
                  <a:noFill/>
                </a:ln>
                <a:solidFill>
                  <a:srgbClr val="575757"/>
                </a:solidFill>
                <a:effectLst/>
                <a:uLnTx/>
                <a:uFillTx/>
                <a:latin typeface="Arial"/>
                <a:ea typeface="+mn-ea"/>
                <a:cs typeface="+mn-cs"/>
              </a:rPr>
              <a:t> (</a:t>
            </a:r>
            <a:r>
              <a:rPr kumimoji="0" lang="en-US" sz="1100" b="0" i="0" u="none" strike="noStrike" kern="1200" cap="none" spc="0" normalizeH="0" baseline="0" noProof="0" dirty="0" err="1">
                <a:ln>
                  <a:noFill/>
                </a:ln>
                <a:solidFill>
                  <a:srgbClr val="575757"/>
                </a:solidFill>
                <a:effectLst/>
                <a:uLnTx/>
                <a:uFillTx/>
                <a:latin typeface="Arial"/>
                <a:ea typeface="+mn-ea"/>
                <a:cs typeface="+mn-cs"/>
              </a:rPr>
              <a:t>Amprion</a:t>
            </a:r>
            <a:r>
              <a:rPr kumimoji="0" lang="en-US" sz="1100" b="0" i="0" u="none" strike="noStrike" kern="1200" cap="none" spc="0" normalizeH="0" baseline="0" noProof="0" dirty="0">
                <a:ln>
                  <a:noFill/>
                </a:ln>
                <a:solidFill>
                  <a:srgbClr val="575757"/>
                </a:solidFill>
                <a:effectLst/>
                <a:uLnTx/>
                <a:uFillTx/>
                <a:latin typeface="Arial"/>
                <a:ea typeface="+mn-ea"/>
                <a:cs typeface="+mn-cs"/>
              </a:rPr>
              <a:t>), M. </a:t>
            </a:r>
            <a:r>
              <a:rPr kumimoji="0" lang="en-US" sz="1100" b="0" i="0" u="none" strike="noStrike" kern="1200" cap="none" spc="0" normalizeH="0" baseline="0" noProof="0" dirty="0" err="1">
                <a:ln>
                  <a:noFill/>
                </a:ln>
                <a:solidFill>
                  <a:srgbClr val="575757"/>
                </a:solidFill>
                <a:effectLst/>
                <a:uLnTx/>
                <a:uFillTx/>
                <a:latin typeface="Arial"/>
                <a:ea typeface="+mn-ea"/>
                <a:cs typeface="+mn-cs"/>
              </a:rPr>
              <a:t>Schmieg</a:t>
            </a:r>
            <a:r>
              <a:rPr kumimoji="0" lang="en-US" sz="1100" b="0" i="0" u="none" strike="noStrike" kern="1200" cap="none" spc="0" normalizeH="0" baseline="0" noProof="0" dirty="0">
                <a:ln>
                  <a:noFill/>
                </a:ln>
                <a:solidFill>
                  <a:srgbClr val="575757"/>
                </a:solidFill>
                <a:effectLst/>
                <a:uLnTx/>
                <a:uFillTx/>
                <a:latin typeface="Arial"/>
                <a:ea typeface="+mn-ea"/>
                <a:cs typeface="+mn-cs"/>
              </a:rPr>
              <a:t> (</a:t>
            </a:r>
            <a:r>
              <a:rPr kumimoji="0" lang="en-US" sz="1100" b="0" i="0" u="none" strike="noStrike" kern="1200" cap="none" spc="0" normalizeH="0" baseline="0" noProof="0" dirty="0" err="1">
                <a:ln>
                  <a:noFill/>
                </a:ln>
                <a:solidFill>
                  <a:srgbClr val="575757"/>
                </a:solidFill>
                <a:effectLst/>
                <a:uLnTx/>
                <a:uFillTx/>
                <a:latin typeface="Arial"/>
                <a:ea typeface="+mn-ea"/>
                <a:cs typeface="+mn-cs"/>
              </a:rPr>
              <a:t>DigSilent</a:t>
            </a:r>
            <a:r>
              <a:rPr kumimoji="0" lang="en-US" sz="1100" b="0" i="0" u="none" strike="noStrike" kern="1200" cap="none" spc="0" normalizeH="0" baseline="0" noProof="0" dirty="0">
                <a:ln>
                  <a:noFill/>
                </a:ln>
                <a:solidFill>
                  <a:srgbClr val="575757"/>
                </a:solidFill>
                <a:effectLst/>
                <a:uLnTx/>
                <a:uFillTx/>
                <a:latin typeface="Arial"/>
                <a:ea typeface="+mn-ea"/>
                <a:cs typeface="+mn-cs"/>
              </a:rPr>
              <a:t>), C. </a:t>
            </a:r>
            <a:r>
              <a:rPr kumimoji="0" lang="en-US" sz="1100" b="0" i="0" u="none" strike="noStrike" kern="1200" cap="none" spc="0" normalizeH="0" baseline="0" noProof="0" dirty="0" err="1">
                <a:ln>
                  <a:noFill/>
                </a:ln>
                <a:solidFill>
                  <a:srgbClr val="575757"/>
                </a:solidFill>
                <a:effectLst/>
                <a:uLnTx/>
                <a:uFillTx/>
                <a:latin typeface="Arial"/>
                <a:ea typeface="+mn-ea"/>
                <a:cs typeface="+mn-cs"/>
              </a:rPr>
              <a:t>Wulkow</a:t>
            </a:r>
            <a:r>
              <a:rPr kumimoji="0" lang="en-US" sz="1100" b="0" i="0" u="none" strike="noStrike" kern="1200" cap="none" spc="0" normalizeH="0" baseline="0" noProof="0" dirty="0">
                <a:ln>
                  <a:noFill/>
                </a:ln>
                <a:solidFill>
                  <a:srgbClr val="575757"/>
                </a:solidFill>
                <a:effectLst/>
                <a:uLnTx/>
                <a:uFillTx/>
                <a:latin typeface="Arial"/>
                <a:ea typeface="+mn-ea"/>
                <a:cs typeface="+mn-cs"/>
              </a:rPr>
              <a:t> (VDE FNN), 23</a:t>
            </a:r>
            <a:r>
              <a:rPr kumimoji="0" lang="en-US" sz="1100" b="0" i="0" u="none" strike="noStrike" kern="1200" cap="none" spc="0" normalizeH="0" baseline="30000" noProof="0" dirty="0">
                <a:ln>
                  <a:noFill/>
                </a:ln>
                <a:solidFill>
                  <a:srgbClr val="575757"/>
                </a:solidFill>
                <a:effectLst/>
                <a:uLnTx/>
                <a:uFillTx/>
                <a:latin typeface="Arial"/>
                <a:ea typeface="+mn-ea"/>
                <a:cs typeface="+mn-cs"/>
              </a:rPr>
              <a:t>rd</a:t>
            </a:r>
            <a:r>
              <a:rPr kumimoji="0" lang="en-US" sz="1100" b="0" i="0" u="none" strike="noStrike" kern="1200" cap="none" spc="0" normalizeH="0" baseline="0" noProof="0" dirty="0">
                <a:ln>
                  <a:noFill/>
                </a:ln>
                <a:solidFill>
                  <a:srgbClr val="575757"/>
                </a:solidFill>
                <a:effectLst/>
                <a:uLnTx/>
                <a:uFillTx/>
                <a:latin typeface="Arial"/>
                <a:ea typeface="+mn-ea"/>
                <a:cs typeface="+mn-cs"/>
              </a:rPr>
              <a:t> Wind &amp; Solar Integration Workshop, Helsinki, Finland, October 8-11</a:t>
            </a:r>
            <a:r>
              <a:rPr kumimoji="0" lang="en-US" sz="1100" b="0" i="0" u="none" strike="noStrike" kern="1200" cap="none" spc="0" normalizeH="0" baseline="30000" noProof="0" dirty="0">
                <a:ln>
                  <a:noFill/>
                </a:ln>
                <a:solidFill>
                  <a:srgbClr val="575757"/>
                </a:solidFill>
                <a:effectLst/>
                <a:uLnTx/>
                <a:uFillTx/>
                <a:latin typeface="Arial"/>
                <a:ea typeface="+mn-ea"/>
                <a:cs typeface="+mn-cs"/>
              </a:rPr>
              <a:t>th</a:t>
            </a:r>
            <a:r>
              <a:rPr kumimoji="0" lang="en-US" sz="1100" b="0" i="0" u="none" strike="noStrike" kern="1200" cap="none" spc="0" normalizeH="0" baseline="0" noProof="0" dirty="0">
                <a:ln>
                  <a:noFill/>
                </a:ln>
                <a:solidFill>
                  <a:srgbClr val="575757"/>
                </a:solidFill>
                <a:effectLst/>
                <a:uLnTx/>
                <a:uFillTx/>
                <a:latin typeface="Arial"/>
                <a:ea typeface="+mn-ea"/>
                <a:cs typeface="+mn-cs"/>
              </a:rPr>
              <a:t> </a:t>
            </a:r>
          </a:p>
        </p:txBody>
      </p:sp>
    </p:spTree>
    <p:extLst>
      <p:ext uri="{BB962C8B-B14F-4D97-AF65-F5344CB8AC3E}">
        <p14:creationId xmlns:p14="http://schemas.microsoft.com/office/powerpoint/2010/main" val="38748157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7D9240-8F04-87A1-21C6-D9B752A909C8}"/>
              </a:ext>
            </a:extLst>
          </p:cNvPr>
          <p:cNvSpPr>
            <a:spLocks noGrp="1"/>
          </p:cNvSpPr>
          <p:nvPr>
            <p:ph type="title"/>
          </p:nvPr>
        </p:nvSpPr>
        <p:spPr/>
        <p:txBody>
          <a:bodyPr/>
          <a:lstStyle/>
          <a:p>
            <a:r>
              <a:rPr lang="en-US" dirty="0"/>
              <a:t>DOE Forum for the Implementation of Reliability Standards for Transmission (i2X FIRST)</a:t>
            </a:r>
          </a:p>
        </p:txBody>
      </p:sp>
      <p:sp>
        <p:nvSpPr>
          <p:cNvPr id="3" name="Content Placeholder 2">
            <a:extLst>
              <a:ext uri="{FF2B5EF4-FFF2-40B4-BE49-F238E27FC236}">
                <a16:creationId xmlns:a16="http://schemas.microsoft.com/office/drawing/2014/main" id="{66DADAE8-B366-FA79-3BC1-F72AD84F3D73}"/>
              </a:ext>
            </a:extLst>
          </p:cNvPr>
          <p:cNvSpPr>
            <a:spLocks noGrp="1"/>
          </p:cNvSpPr>
          <p:nvPr>
            <p:ph sz="quarter" idx="10"/>
          </p:nvPr>
        </p:nvSpPr>
        <p:spPr>
          <a:xfrm>
            <a:off x="761999" y="1855789"/>
            <a:ext cx="7690965" cy="4435283"/>
          </a:xfrm>
        </p:spPr>
        <p:txBody>
          <a:bodyPr/>
          <a:lstStyle/>
          <a:p>
            <a:pPr marL="174625" indent="-174625">
              <a:lnSpc>
                <a:spcPct val="108000"/>
              </a:lnSpc>
              <a:spcBef>
                <a:spcPts val="600"/>
              </a:spcBef>
              <a:buSzPct val="100000"/>
            </a:pPr>
            <a:r>
              <a:rPr lang="en-US" sz="2000" dirty="0">
                <a:solidFill>
                  <a:schemeClr val="tx1"/>
                </a:solidFill>
                <a:latin typeface="Arial" panose="020B0604020202020204" pitchFamily="34" charset="0"/>
                <a:cs typeface="Arial" panose="020B0604020202020204" pitchFamily="34" charset="0"/>
                <a:hlinkClick r:id="rId2"/>
              </a:rPr>
              <a:t>Reactive Power – Voltage Control Requirements (continued) |April 29, 2025</a:t>
            </a:r>
            <a:endParaRPr lang="en-US" sz="2000" dirty="0">
              <a:solidFill>
                <a:schemeClr val="tx1"/>
              </a:solidFill>
              <a:latin typeface="Arial" panose="020B0604020202020204" pitchFamily="34" charset="0"/>
              <a:cs typeface="Arial" panose="020B0604020202020204" pitchFamily="34" charset="0"/>
            </a:endParaRPr>
          </a:p>
          <a:p>
            <a:pPr marL="403225" lvl="1" indent="-236538">
              <a:lnSpc>
                <a:spcPct val="108000"/>
              </a:lnSpc>
              <a:spcBef>
                <a:spcPts val="600"/>
              </a:spcBef>
              <a:buSzPct val="100000"/>
              <a:buFont typeface="Arial" panose="020B0604020202020204" pitchFamily="34" charset="0"/>
              <a:buChar char="‒"/>
            </a:pPr>
            <a:r>
              <a:rPr lang="en-US" b="1" dirty="0">
                <a:solidFill>
                  <a:schemeClr val="tx1"/>
                </a:solidFill>
                <a:latin typeface="Arial" panose="020B0604020202020204" pitchFamily="34" charset="0"/>
                <a:cs typeface="Arial" panose="020B0604020202020204" pitchFamily="34" charset="0"/>
              </a:rPr>
              <a:t>Nighttime Reactive Power Support from Solar Inverters</a:t>
            </a:r>
            <a:r>
              <a:rPr lang="en-US" dirty="0">
                <a:solidFill>
                  <a:schemeClr val="tx1"/>
                </a:solidFill>
                <a:latin typeface="Arial" panose="020B0604020202020204" pitchFamily="34" charset="0"/>
                <a:cs typeface="Arial" panose="020B0604020202020204" pitchFamily="34" charset="0"/>
              </a:rPr>
              <a:t>: Aminul Huque, EPRI</a:t>
            </a:r>
          </a:p>
          <a:p>
            <a:pPr marL="403225" lvl="1" indent="-236538">
              <a:lnSpc>
                <a:spcPct val="108000"/>
              </a:lnSpc>
              <a:spcBef>
                <a:spcPts val="600"/>
              </a:spcBef>
              <a:buSzPct val="100000"/>
              <a:buFont typeface="Arial" panose="020B0604020202020204" pitchFamily="34" charset="0"/>
              <a:buChar char="‒"/>
            </a:pPr>
            <a:r>
              <a:rPr lang="en-US" b="1" dirty="0">
                <a:solidFill>
                  <a:schemeClr val="tx1"/>
                </a:solidFill>
                <a:latin typeface="Arial" panose="020B0604020202020204" pitchFamily="34" charset="0"/>
                <a:cs typeface="Arial" panose="020B0604020202020204" pitchFamily="34" charset="0"/>
              </a:rPr>
              <a:t>Communication of Capability and Status of Online IBRs at 0 MW Output</a:t>
            </a:r>
            <a:r>
              <a:rPr lang="en-US" dirty="0">
                <a:solidFill>
                  <a:schemeClr val="tx1"/>
                </a:solidFill>
                <a:latin typeface="Arial" panose="020B0604020202020204" pitchFamily="34" charset="0"/>
                <a:cs typeface="Arial" panose="020B0604020202020204" pitchFamily="34" charset="0"/>
              </a:rPr>
              <a:t>: Alex Lee, ERCOT</a:t>
            </a:r>
          </a:p>
          <a:p>
            <a:pPr marL="403225" lvl="1" indent="-236538">
              <a:lnSpc>
                <a:spcPct val="108000"/>
              </a:lnSpc>
              <a:spcBef>
                <a:spcPts val="600"/>
              </a:spcBef>
              <a:buSzPct val="100000"/>
              <a:buFont typeface="Arial" panose="020B0604020202020204" pitchFamily="34" charset="0"/>
              <a:buChar char="‒"/>
            </a:pPr>
            <a:r>
              <a:rPr lang="en-US" b="1" dirty="0">
                <a:solidFill>
                  <a:schemeClr val="tx1"/>
                </a:solidFill>
                <a:latin typeface="Arial" panose="020B0604020202020204" pitchFamily="34" charset="0"/>
                <a:cs typeface="Arial" panose="020B0604020202020204" pitchFamily="34" charset="0"/>
              </a:rPr>
              <a:t>Reactive Power – Voltage Control Requirements, Developer's Perspective</a:t>
            </a:r>
            <a:r>
              <a:rPr lang="en-US" dirty="0">
                <a:solidFill>
                  <a:schemeClr val="tx1"/>
                </a:solidFill>
                <a:latin typeface="Arial" panose="020B0604020202020204" pitchFamily="34" charset="0"/>
                <a:cs typeface="Arial" panose="020B0604020202020204" pitchFamily="34" charset="0"/>
              </a:rPr>
              <a:t>: Divya Kurthakoti </a:t>
            </a:r>
            <a:r>
              <a:rPr lang="en-US" dirty="0" err="1">
                <a:solidFill>
                  <a:schemeClr val="tx1"/>
                </a:solidFill>
                <a:latin typeface="Arial" panose="020B0604020202020204" pitchFamily="34" charset="0"/>
                <a:cs typeface="Arial" panose="020B0604020202020204" pitchFamily="34" charset="0"/>
              </a:rPr>
              <a:t>Chandrashekhara</a:t>
            </a:r>
            <a:r>
              <a:rPr lang="en-US" dirty="0">
                <a:solidFill>
                  <a:schemeClr val="tx1"/>
                </a:solidFill>
                <a:latin typeface="Arial" panose="020B0604020202020204" pitchFamily="34" charset="0"/>
                <a:cs typeface="Arial" panose="020B0604020202020204" pitchFamily="34" charset="0"/>
              </a:rPr>
              <a:t>, Orsted </a:t>
            </a:r>
          </a:p>
          <a:p>
            <a:endParaRPr lang="en-US" sz="2000" dirty="0">
              <a:solidFill>
                <a:schemeClr val="tx1"/>
              </a:solidFill>
              <a:latin typeface="Arial" panose="020B0604020202020204" pitchFamily="34" charset="0"/>
              <a:cs typeface="Arial" panose="020B0604020202020204" pitchFamily="34" charset="0"/>
            </a:endParaRPr>
          </a:p>
        </p:txBody>
      </p:sp>
      <p:pic>
        <p:nvPicPr>
          <p:cNvPr id="4" name="Picture 3" descr="A picture containing arrow&#10;&#10;Description automatically generated">
            <a:extLst>
              <a:ext uri="{FF2B5EF4-FFF2-40B4-BE49-F238E27FC236}">
                <a16:creationId xmlns:a16="http://schemas.microsoft.com/office/drawing/2014/main" id="{119EBB38-49D9-AF68-2C09-81A2592817A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6134" t="38889" r="8310" b="38611"/>
          <a:stretch/>
        </p:blipFill>
        <p:spPr>
          <a:xfrm>
            <a:off x="8508043" y="1566831"/>
            <a:ext cx="3544144" cy="932064"/>
          </a:xfrm>
          <a:prstGeom prst="rect">
            <a:avLst/>
          </a:prstGeom>
        </p:spPr>
      </p:pic>
      <p:sp>
        <p:nvSpPr>
          <p:cNvPr id="5" name="TextBox 4">
            <a:extLst>
              <a:ext uri="{FF2B5EF4-FFF2-40B4-BE49-F238E27FC236}">
                <a16:creationId xmlns:a16="http://schemas.microsoft.com/office/drawing/2014/main" id="{07F5AA4D-420F-D21F-2874-BE57D90812D6}"/>
              </a:ext>
            </a:extLst>
          </p:cNvPr>
          <p:cNvSpPr txBox="1"/>
          <p:nvPr/>
        </p:nvSpPr>
        <p:spPr>
          <a:xfrm>
            <a:off x="8669349" y="2498895"/>
            <a:ext cx="3329533" cy="646331"/>
          </a:xfrm>
          <a:prstGeom prst="rect">
            <a:avLst/>
          </a:prstGeom>
          <a:noFill/>
        </p:spPr>
        <p:txBody>
          <a:bodyPr wrap="square" rtlCol="0">
            <a:spAutoFit/>
          </a:bodyPr>
          <a:lstStyle/>
          <a:p>
            <a:r>
              <a:rPr lang="en-US" dirty="0">
                <a:latin typeface="Arial" panose="020B0604020202020204" pitchFamily="34" charset="0"/>
                <a:cs typeface="Arial" panose="020B0604020202020204" pitchFamily="34" charset="0"/>
                <a:hlinkClick r:id="rId2"/>
              </a:rPr>
              <a:t>Presentation and recording of Season 1 are posted here</a:t>
            </a:r>
            <a:endParaRPr lang="en-US" dirty="0">
              <a:latin typeface="Arial" panose="020B0604020202020204" pitchFamily="34" charset="0"/>
              <a:cs typeface="Arial" panose="020B0604020202020204" pitchFamily="34" charset="0"/>
            </a:endParaRPr>
          </a:p>
        </p:txBody>
      </p:sp>
      <p:pic>
        <p:nvPicPr>
          <p:cNvPr id="14" name="Picture 13">
            <a:extLst>
              <a:ext uri="{FF2B5EF4-FFF2-40B4-BE49-F238E27FC236}">
                <a16:creationId xmlns:a16="http://schemas.microsoft.com/office/drawing/2014/main" id="{3EA775ED-9F4C-9B9D-B574-9E974660FAE3}"/>
              </a:ext>
            </a:extLst>
          </p:cNvPr>
          <p:cNvPicPr>
            <a:picLocks noChangeAspect="1"/>
          </p:cNvPicPr>
          <p:nvPr/>
        </p:nvPicPr>
        <p:blipFill>
          <a:blip r:embed="rId4"/>
          <a:stretch>
            <a:fillRect/>
          </a:stretch>
        </p:blipFill>
        <p:spPr>
          <a:xfrm>
            <a:off x="9256888" y="3163829"/>
            <a:ext cx="2639619" cy="3485365"/>
          </a:xfrm>
          <a:prstGeom prst="rect">
            <a:avLst/>
          </a:prstGeom>
          <a:ln>
            <a:solidFill>
              <a:schemeClr val="bg1">
                <a:lumMod val="65000"/>
              </a:schemeClr>
            </a:solidFill>
          </a:ln>
        </p:spPr>
      </p:pic>
    </p:spTree>
    <p:extLst>
      <p:ext uri="{BB962C8B-B14F-4D97-AF65-F5344CB8AC3E}">
        <p14:creationId xmlns:p14="http://schemas.microsoft.com/office/powerpoint/2010/main" val="17010477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9B31CC-1CE4-F5E1-851A-1461F557B95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12CBE06-14BA-F856-B8A4-D79EDDE95AD5}"/>
              </a:ext>
            </a:extLst>
          </p:cNvPr>
          <p:cNvSpPr>
            <a:spLocks noGrp="1"/>
          </p:cNvSpPr>
          <p:nvPr>
            <p:ph type="title"/>
          </p:nvPr>
        </p:nvSpPr>
        <p:spPr/>
        <p:txBody>
          <a:bodyPr/>
          <a:lstStyle/>
          <a:p>
            <a:r>
              <a:rPr lang="en-US" dirty="0"/>
              <a:t>DOE Forum for the Implementation of Reliability Standards for Transmission (i2X FIRST) – Season 2</a:t>
            </a:r>
          </a:p>
        </p:txBody>
      </p:sp>
      <p:pic>
        <p:nvPicPr>
          <p:cNvPr id="4" name="Picture 3" descr="A picture containing arrow&#10;&#10;Description automatically generated">
            <a:extLst>
              <a:ext uri="{FF2B5EF4-FFF2-40B4-BE49-F238E27FC236}">
                <a16:creationId xmlns:a16="http://schemas.microsoft.com/office/drawing/2014/main" id="{D8D798DA-3F05-E9A8-090D-5F90F4795909}"/>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6134" t="38889" r="8310" b="38611"/>
          <a:stretch/>
        </p:blipFill>
        <p:spPr>
          <a:xfrm>
            <a:off x="8647856" y="1410083"/>
            <a:ext cx="3544144" cy="932064"/>
          </a:xfrm>
          <a:prstGeom prst="rect">
            <a:avLst/>
          </a:prstGeom>
        </p:spPr>
      </p:pic>
      <p:sp>
        <p:nvSpPr>
          <p:cNvPr id="7" name="Content Placeholder 6">
            <a:extLst>
              <a:ext uri="{FF2B5EF4-FFF2-40B4-BE49-F238E27FC236}">
                <a16:creationId xmlns:a16="http://schemas.microsoft.com/office/drawing/2014/main" id="{7718BCD2-9D61-CF2B-BE49-6D8E74B87689}"/>
              </a:ext>
            </a:extLst>
          </p:cNvPr>
          <p:cNvSpPr>
            <a:spLocks noGrp="1"/>
          </p:cNvSpPr>
          <p:nvPr>
            <p:ph sz="quarter" idx="10"/>
          </p:nvPr>
        </p:nvSpPr>
        <p:spPr/>
        <p:txBody>
          <a:bodyPr/>
          <a:lstStyle/>
          <a:p>
            <a:pPr marL="342900" marR="0" lvl="0" indent="-342900" algn="l" defTabSz="609493" rtl="0" eaLnBrk="1" fontAlgn="auto" latinLnBrk="0" hangingPunct="1">
              <a:lnSpc>
                <a:spcPct val="108000"/>
              </a:lnSpc>
              <a:spcBef>
                <a:spcPts val="0"/>
              </a:spcBef>
              <a:spcAft>
                <a:spcPts val="0"/>
              </a:spcAft>
              <a:buClr>
                <a:srgbClr val="F25A35"/>
              </a:buClr>
              <a:buSzTx/>
              <a:buFont typeface="+mj-lt"/>
              <a:buAutoNum type="arabicPeriod"/>
              <a:tabLst>
                <a:tab pos="457200" algn="l"/>
              </a:tabLst>
              <a:defRPr/>
            </a:pPr>
            <a:r>
              <a:rPr lang="en-US" sz="1600" dirty="0">
                <a:solidFill>
                  <a:schemeClr val="tx1"/>
                </a:solidFill>
                <a:latin typeface="Arial" panose="020B0604020202020204" pitchFamily="34" charset="0"/>
                <a:cs typeface="Arial" panose="020B0604020202020204" pitchFamily="34" charset="0"/>
              </a:rPr>
              <a:t>May 27, 2025, 11 a.m. - 1 p.m. ET </a:t>
            </a:r>
            <a:r>
              <a:rPr kumimoji="0" lang="en-US" sz="16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 Season 2 Kick-Off</a:t>
            </a:r>
          </a:p>
          <a:p>
            <a:pPr marL="342900" marR="0" lvl="0" indent="-342900" algn="l" defTabSz="609493" rtl="0" eaLnBrk="1" fontAlgn="auto" latinLnBrk="0" hangingPunct="1">
              <a:lnSpc>
                <a:spcPct val="108000"/>
              </a:lnSpc>
              <a:spcBef>
                <a:spcPts val="0"/>
              </a:spcBef>
              <a:spcAft>
                <a:spcPts val="0"/>
              </a:spcAft>
              <a:buClr>
                <a:srgbClr val="F25A35"/>
              </a:buClr>
              <a:buSzTx/>
              <a:buFont typeface="+mj-lt"/>
              <a:buAutoNum type="arabicPeriod"/>
              <a:tabLst>
                <a:tab pos="457200" algn="l"/>
              </a:tabLst>
              <a:defRPr/>
            </a:pPr>
            <a:r>
              <a:rPr kumimoji="0" lang="en-US" sz="16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June 24, 2025, 11 a.m.- 1 p.m. ET – NERC Milestone 3 Standards</a:t>
            </a:r>
          </a:p>
          <a:p>
            <a:pPr marL="342900" marR="0" lvl="0" indent="-342900" algn="l" defTabSz="609493" rtl="0" eaLnBrk="1" fontAlgn="auto" latinLnBrk="0" hangingPunct="1">
              <a:lnSpc>
                <a:spcPct val="108000"/>
              </a:lnSpc>
              <a:spcBef>
                <a:spcPts val="0"/>
              </a:spcBef>
              <a:spcAft>
                <a:spcPts val="0"/>
              </a:spcAft>
              <a:buClr>
                <a:srgbClr val="F25A35"/>
              </a:buClr>
              <a:buSzTx/>
              <a:buFont typeface="+mj-lt"/>
              <a:buAutoNum type="arabicPeriod"/>
              <a:tabLst>
                <a:tab pos="457200" algn="l"/>
              </a:tabLst>
              <a:defRPr/>
            </a:pPr>
            <a:r>
              <a:rPr kumimoji="0" lang="en-US" sz="16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July 22, 2025, 11 a.m.- 1 p.m. ET – IBR Plant Design Evaluation with Applicable Requirements I</a:t>
            </a:r>
          </a:p>
          <a:p>
            <a:pPr marL="342900" marR="0" lvl="0" indent="-342900" algn="l" defTabSz="609493" rtl="0" eaLnBrk="1" fontAlgn="auto" latinLnBrk="0" hangingPunct="1">
              <a:lnSpc>
                <a:spcPct val="108000"/>
              </a:lnSpc>
              <a:spcBef>
                <a:spcPts val="0"/>
              </a:spcBef>
              <a:spcAft>
                <a:spcPts val="0"/>
              </a:spcAft>
              <a:buClr>
                <a:srgbClr val="F25A35"/>
              </a:buClr>
              <a:buSzTx/>
              <a:buFont typeface="+mj-lt"/>
              <a:buAutoNum type="arabicPeriod"/>
              <a:tabLst>
                <a:tab pos="457200" algn="l"/>
              </a:tabLst>
              <a:defRPr/>
            </a:pPr>
            <a:r>
              <a:rPr kumimoji="0" lang="en-US" sz="16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August 26, 2025, 11 a.m.- 1 p.m. ET – IBR Plant Design Evaluation with Applicable Requirements II</a:t>
            </a:r>
          </a:p>
          <a:p>
            <a:pPr marL="342900" marR="0" lvl="0" indent="-342900" algn="l" defTabSz="609493" rtl="0" eaLnBrk="1" fontAlgn="auto" latinLnBrk="0" hangingPunct="1">
              <a:lnSpc>
                <a:spcPct val="108000"/>
              </a:lnSpc>
              <a:spcBef>
                <a:spcPts val="0"/>
              </a:spcBef>
              <a:spcAft>
                <a:spcPts val="0"/>
              </a:spcAft>
              <a:buClr>
                <a:srgbClr val="F25A35"/>
              </a:buClr>
              <a:buSzTx/>
              <a:buFont typeface="+mj-lt"/>
              <a:buAutoNum type="arabicPeriod"/>
              <a:tabLst>
                <a:tab pos="457200" algn="l"/>
              </a:tabLst>
              <a:defRPr/>
            </a:pPr>
            <a:r>
              <a:rPr kumimoji="0" lang="en-US" sz="16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September 23, 2025, 11 a.m.- 1 p.m. ET – IBR Plant Modeling Requirements and Best Practices </a:t>
            </a:r>
          </a:p>
          <a:p>
            <a:pPr marL="342900" marR="0" lvl="0" indent="-342900" algn="l" defTabSz="609493" rtl="0" eaLnBrk="1" fontAlgn="auto" latinLnBrk="0" hangingPunct="1">
              <a:lnSpc>
                <a:spcPct val="108000"/>
              </a:lnSpc>
              <a:spcBef>
                <a:spcPts val="0"/>
              </a:spcBef>
              <a:spcAft>
                <a:spcPts val="0"/>
              </a:spcAft>
              <a:buClr>
                <a:srgbClr val="F25A35"/>
              </a:buClr>
              <a:buSzTx/>
              <a:buFont typeface="+mj-lt"/>
              <a:buAutoNum type="arabicPeriod"/>
              <a:tabLst>
                <a:tab pos="457200" algn="l"/>
              </a:tabLst>
              <a:defRPr/>
            </a:pPr>
            <a:r>
              <a:rPr kumimoji="0" lang="en-US" sz="16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October 21, 2025, 11 a.m.- 1 p.m. ET – Challenges with IEEE2800-2022, Planned Revisions</a:t>
            </a:r>
          </a:p>
          <a:p>
            <a:pPr marL="342900" marR="0" lvl="0" indent="-342900" algn="l" defTabSz="609493" rtl="0" eaLnBrk="1" fontAlgn="auto" latinLnBrk="0" hangingPunct="1">
              <a:lnSpc>
                <a:spcPct val="108000"/>
              </a:lnSpc>
              <a:spcBef>
                <a:spcPts val="0"/>
              </a:spcBef>
              <a:spcAft>
                <a:spcPts val="0"/>
              </a:spcAft>
              <a:buClr>
                <a:srgbClr val="F25A35"/>
              </a:buClr>
              <a:buSzTx/>
              <a:buFont typeface="+mj-lt"/>
              <a:buAutoNum type="arabicPeriod"/>
              <a:tabLst>
                <a:tab pos="457200" algn="l"/>
              </a:tabLst>
              <a:defRPr/>
            </a:pPr>
            <a:r>
              <a:rPr kumimoji="0" lang="en-US" sz="16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November 25, 2025, 11 a.m.- 1 p.m. ET – Change of Management during IBR Plant Interconnection Process and Commissioning, How to Maintain Conformity</a:t>
            </a:r>
          </a:p>
          <a:p>
            <a:pPr marL="342900" marR="0" lvl="0" indent="-342900" algn="l" defTabSz="609493" rtl="0" eaLnBrk="1" fontAlgn="auto" latinLnBrk="0" hangingPunct="1">
              <a:lnSpc>
                <a:spcPct val="108000"/>
              </a:lnSpc>
              <a:spcBef>
                <a:spcPts val="0"/>
              </a:spcBef>
              <a:spcAft>
                <a:spcPts val="0"/>
              </a:spcAft>
              <a:buClr>
                <a:srgbClr val="F25A35"/>
              </a:buClr>
              <a:buSzTx/>
              <a:buFont typeface="+mj-lt"/>
              <a:buAutoNum type="arabicPeriod"/>
              <a:tabLst>
                <a:tab pos="457200" algn="l"/>
              </a:tabLst>
              <a:defRPr/>
            </a:pPr>
            <a:r>
              <a:rPr kumimoji="0" lang="en-US" sz="16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December 16, 2025, 11 a.m.- 1 p.m. ET – IBR Plant Commissioning Best Practices I</a:t>
            </a:r>
          </a:p>
          <a:p>
            <a:pPr marL="342900" marR="0" lvl="0" indent="-342900" algn="l" defTabSz="609493" rtl="0" eaLnBrk="1" fontAlgn="auto" latinLnBrk="0" hangingPunct="1">
              <a:lnSpc>
                <a:spcPct val="108000"/>
              </a:lnSpc>
              <a:spcBef>
                <a:spcPts val="0"/>
              </a:spcBef>
              <a:spcAft>
                <a:spcPts val="0"/>
              </a:spcAft>
              <a:buClr>
                <a:srgbClr val="F25A35"/>
              </a:buClr>
              <a:buSzTx/>
              <a:buFont typeface="+mj-lt"/>
              <a:buAutoNum type="arabicPeriod"/>
              <a:tabLst>
                <a:tab pos="457200" algn="l"/>
              </a:tabLst>
              <a:defRPr/>
            </a:pPr>
            <a:r>
              <a:rPr kumimoji="0" lang="en-US" sz="16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January 27, 2026, 11 a.m.- 1 p.m. ET – IBR Plant Commissioning Best Practices II </a:t>
            </a:r>
          </a:p>
          <a:p>
            <a:pPr marL="342900" marR="0" lvl="0" indent="-342900" algn="l" defTabSz="609493" rtl="0" eaLnBrk="1" fontAlgn="auto" latinLnBrk="0" hangingPunct="1">
              <a:lnSpc>
                <a:spcPct val="108000"/>
              </a:lnSpc>
              <a:spcBef>
                <a:spcPts val="0"/>
              </a:spcBef>
              <a:spcAft>
                <a:spcPts val="0"/>
              </a:spcAft>
              <a:buClr>
                <a:srgbClr val="F25A35"/>
              </a:buClr>
              <a:buSzTx/>
              <a:buFont typeface="+mj-lt"/>
              <a:buAutoNum type="arabicPeriod"/>
              <a:tabLst>
                <a:tab pos="457200" algn="l"/>
              </a:tabLst>
              <a:defRPr/>
            </a:pPr>
            <a:r>
              <a:rPr kumimoji="0" lang="en-US" sz="16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February 24, 2026, 11 a.m. - 1 p.m. ET – Grid Forming IBR Specifications and Testing Requirements I</a:t>
            </a:r>
          </a:p>
          <a:p>
            <a:pPr marL="342900" marR="0" lvl="0" indent="-342900" algn="l" defTabSz="609493" rtl="0" eaLnBrk="1" fontAlgn="auto" latinLnBrk="0" hangingPunct="1">
              <a:lnSpc>
                <a:spcPct val="108000"/>
              </a:lnSpc>
              <a:spcBef>
                <a:spcPts val="0"/>
              </a:spcBef>
              <a:spcAft>
                <a:spcPts val="0"/>
              </a:spcAft>
              <a:buClr>
                <a:srgbClr val="F25A35"/>
              </a:buClr>
              <a:buSzTx/>
              <a:buFont typeface="+mj-lt"/>
              <a:buAutoNum type="arabicPeriod"/>
              <a:tabLst>
                <a:tab pos="457200" algn="l"/>
              </a:tabLst>
              <a:defRPr/>
            </a:pPr>
            <a:r>
              <a:rPr kumimoji="0" lang="en-US" sz="16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March 16, 2026, hybrid event during</a:t>
            </a:r>
            <a:r>
              <a:rPr kumimoji="0" lang="en-US" sz="1600" b="0" i="0" u="none" strike="noStrike" kern="1200" cap="none" spc="0" normalizeH="0" baseline="0" noProof="0" dirty="0">
                <a:ln>
                  <a:noFill/>
                </a:ln>
                <a:solidFill>
                  <a:srgbClr val="4B545D"/>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a:ln>
                  <a:noFill/>
                </a:ln>
                <a:solidFill>
                  <a:srgbClr val="4B545D"/>
                </a:solidFill>
                <a:effectLst/>
                <a:uLnTx/>
                <a:uFillTx/>
                <a:latin typeface="Arial" panose="020B0604020202020204" pitchFamily="34" charset="0"/>
                <a:cs typeface="Arial" panose="020B0604020202020204" pitchFamily="34" charset="0"/>
                <a:hlinkClick r:id="rId3"/>
              </a:rPr>
              <a:t>ESIG Spring Workshop</a:t>
            </a:r>
            <a:r>
              <a:rPr kumimoji="0" lang="en-US" sz="1600" b="0" i="0" u="none" strike="noStrike" kern="1200" cap="none" spc="0" normalizeH="0" baseline="0" noProof="0" dirty="0">
                <a:ln>
                  <a:noFill/>
                </a:ln>
                <a:solidFill>
                  <a:srgbClr val="4B545D"/>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Grid Forming IBR Specifications, Testing Requirements, Lessons Learned  </a:t>
            </a:r>
          </a:p>
          <a:p>
            <a:pPr marL="0" marR="0" lvl="0" indent="0" algn="l" defTabSz="609493" rtl="0" eaLnBrk="1" fontAlgn="auto" latinLnBrk="0" hangingPunct="1">
              <a:lnSpc>
                <a:spcPct val="100000"/>
              </a:lnSpc>
              <a:spcBef>
                <a:spcPts val="600"/>
              </a:spcBef>
              <a:spcAft>
                <a:spcPts val="0"/>
              </a:spcAft>
              <a:buClrTx/>
              <a:buSzPts val="1000"/>
              <a:buFontTx/>
              <a:buNone/>
              <a:tabLst>
                <a:tab pos="457200" algn="l"/>
              </a:tabLst>
              <a:defRPr/>
            </a:pPr>
            <a:r>
              <a:rPr kumimoji="0" lang="en-US" sz="1600" b="1"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Sign up </a:t>
            </a:r>
            <a:r>
              <a:rPr kumimoji="0" lang="en-US" sz="16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for all future i2X FIRST Season 2 Meetings</a:t>
            </a:r>
            <a:r>
              <a:rPr kumimoji="0" lang="en-US" sz="1600" b="0" i="0" u="none" strike="noStrike" kern="1200" cap="none" spc="0" normalizeH="0" baseline="0" noProof="0" dirty="0">
                <a:ln>
                  <a:noFill/>
                </a:ln>
                <a:solidFill>
                  <a:srgbClr val="4B545D"/>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a:ln>
                  <a:noFill/>
                </a:ln>
                <a:solidFill>
                  <a:srgbClr val="4B545D"/>
                </a:solidFill>
                <a:effectLst/>
                <a:uLnTx/>
                <a:uFillTx/>
                <a:latin typeface="Arial" panose="020B0604020202020204" pitchFamily="34" charset="0"/>
                <a:cs typeface="Arial" panose="020B0604020202020204" pitchFamily="34" charset="0"/>
                <a:hlinkClick r:id="rId4"/>
              </a:rPr>
              <a:t>here</a:t>
            </a:r>
            <a:endParaRPr kumimoji="0" lang="en-US" sz="1600" b="0" i="0" u="none" strike="noStrike" kern="1200" cap="none" spc="0" normalizeH="0" baseline="0" noProof="0" dirty="0">
              <a:ln>
                <a:noFill/>
              </a:ln>
              <a:solidFill>
                <a:srgbClr val="4B545D"/>
              </a:solidFill>
              <a:effectLst/>
              <a:uLnTx/>
              <a:uFillTx/>
              <a:latin typeface="Arial" panose="020B0604020202020204" pitchFamily="34" charset="0"/>
              <a:cs typeface="Arial" panose="020B0604020202020204" pitchFamily="34" charset="0"/>
            </a:endParaRPr>
          </a:p>
          <a:p>
            <a:pPr marL="0" marR="0" lvl="0" indent="0" algn="l" defTabSz="609493" rtl="0" eaLnBrk="1" fontAlgn="auto" latinLnBrk="0" hangingPunct="1">
              <a:lnSpc>
                <a:spcPct val="110000"/>
              </a:lnSpc>
              <a:spcBef>
                <a:spcPts val="800"/>
              </a:spcBef>
              <a:spcAft>
                <a:spcPts val="0"/>
              </a:spcAft>
              <a:buClrTx/>
              <a:buSzTx/>
              <a:buFontTx/>
              <a:buNone/>
              <a:tabLst/>
              <a:defRPr/>
            </a:pPr>
            <a:r>
              <a:rPr kumimoji="0" lang="en-US" sz="1600" b="1"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Follow</a:t>
            </a:r>
            <a:r>
              <a:rPr kumimoji="0" lang="en-US" sz="16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 ESIG i2X FIRST website </a:t>
            </a:r>
            <a:r>
              <a:rPr kumimoji="0" lang="en-US" sz="1600" b="0" i="0" u="none" strike="noStrike" kern="1200" cap="none" spc="0" normalizeH="0" baseline="0" noProof="0" dirty="0">
                <a:ln>
                  <a:noFill/>
                </a:ln>
                <a:solidFill>
                  <a:srgbClr val="4B545D"/>
                </a:solidFill>
                <a:effectLst/>
                <a:uLnTx/>
                <a:uFillTx/>
                <a:latin typeface="Arial" panose="020B0604020202020204" pitchFamily="34" charset="0"/>
                <a:cs typeface="Arial" panose="020B0604020202020204" pitchFamily="34" charset="0"/>
                <a:hlinkClick r:id="rId5"/>
              </a:rPr>
              <a:t>https://www.esig.energy/i2x-first-forum/</a:t>
            </a:r>
            <a:r>
              <a:rPr kumimoji="0" lang="en-US" sz="1600" b="0" i="0" u="none" strike="noStrike" kern="1200" cap="none" spc="0" normalizeH="0" baseline="0" noProof="0" dirty="0">
                <a:ln>
                  <a:noFill/>
                </a:ln>
                <a:solidFill>
                  <a:srgbClr val="4B545D"/>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for meeting materials &amp; recordings and for future meeting details &amp; agendas</a:t>
            </a:r>
          </a:p>
          <a:p>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681591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CF2F232-AEFB-4198-AAB4-4C9846C77FE3}"/>
              </a:ext>
            </a:extLst>
          </p:cNvPr>
          <p:cNvSpPr>
            <a:spLocks noGrp="1"/>
          </p:cNvSpPr>
          <p:nvPr>
            <p:ph type="body" sz="quarter" idx="10"/>
          </p:nvPr>
        </p:nvSpPr>
        <p:spPr/>
        <p:txBody>
          <a:bodyPr/>
          <a:lstStyle/>
          <a:p>
            <a:r>
              <a:rPr lang="en-US" dirty="0"/>
              <a:t>Julia Matevosyan</a:t>
            </a:r>
          </a:p>
        </p:txBody>
      </p:sp>
      <p:sp>
        <p:nvSpPr>
          <p:cNvPr id="3" name="Text Placeholder 2">
            <a:extLst>
              <a:ext uri="{FF2B5EF4-FFF2-40B4-BE49-F238E27FC236}">
                <a16:creationId xmlns:a16="http://schemas.microsoft.com/office/drawing/2014/main" id="{963421F7-F4EF-4569-8427-374F6BB966A1}"/>
              </a:ext>
            </a:extLst>
          </p:cNvPr>
          <p:cNvSpPr>
            <a:spLocks noGrp="1"/>
          </p:cNvSpPr>
          <p:nvPr>
            <p:ph type="body" sz="quarter" idx="12"/>
          </p:nvPr>
        </p:nvSpPr>
        <p:spPr/>
        <p:txBody>
          <a:bodyPr/>
          <a:lstStyle/>
          <a:p>
            <a:r>
              <a:rPr lang="en-US" dirty="0" err="1"/>
              <a:t>julia@esig.energy</a:t>
            </a:r>
            <a:endParaRPr lang="en-US" dirty="0"/>
          </a:p>
        </p:txBody>
      </p:sp>
    </p:spTree>
    <p:extLst>
      <p:ext uri="{BB962C8B-B14F-4D97-AF65-F5344CB8AC3E}">
        <p14:creationId xmlns:p14="http://schemas.microsoft.com/office/powerpoint/2010/main" val="40437678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8D3FF9-A27B-7596-223B-34D53A7C7CDD}"/>
              </a:ext>
            </a:extLst>
          </p:cNvPr>
          <p:cNvSpPr>
            <a:spLocks noGrp="1"/>
          </p:cNvSpPr>
          <p:nvPr>
            <p:ph type="title"/>
          </p:nvPr>
        </p:nvSpPr>
        <p:spPr/>
        <p:txBody>
          <a:bodyPr/>
          <a:lstStyle/>
          <a:p>
            <a:r>
              <a:rPr lang="en-US" dirty="0"/>
              <a:t>NERC Milestone 3 Standards Update </a:t>
            </a:r>
          </a:p>
        </p:txBody>
      </p:sp>
      <p:sp>
        <p:nvSpPr>
          <p:cNvPr id="3" name="Content Placeholder 2">
            <a:extLst>
              <a:ext uri="{FF2B5EF4-FFF2-40B4-BE49-F238E27FC236}">
                <a16:creationId xmlns:a16="http://schemas.microsoft.com/office/drawing/2014/main" id="{D7B81A46-F755-27F4-FDDF-FEBBF2D6DDD3}"/>
              </a:ext>
            </a:extLst>
          </p:cNvPr>
          <p:cNvSpPr>
            <a:spLocks noGrp="1"/>
          </p:cNvSpPr>
          <p:nvPr>
            <p:ph sz="quarter" idx="10"/>
          </p:nvPr>
        </p:nvSpPr>
        <p:spPr/>
        <p:txBody>
          <a:bodyPr/>
          <a:lstStyle/>
          <a:p>
            <a:pPr marL="166688" lvl="0" indent="-147638">
              <a:lnSpc>
                <a:spcPct val="108000"/>
              </a:lnSpc>
              <a:spcBef>
                <a:spcPts val="600"/>
              </a:spcBef>
              <a:buSzPct val="100000"/>
              <a:buFont typeface="Noto Sans Symbols"/>
              <a:buChar char="▪"/>
              <a:defRPr/>
            </a:pPr>
            <a:r>
              <a:rPr lang="en-US" b="1" dirty="0">
                <a:solidFill>
                  <a:srgbClr val="000000"/>
                </a:solidFill>
                <a:latin typeface="Arial" panose="020B0604020202020204" pitchFamily="34" charset="0"/>
                <a:ea typeface="Montserrat"/>
                <a:cs typeface="Arial" panose="020B0604020202020204" pitchFamily="34" charset="0"/>
                <a:sym typeface="Montserrat"/>
              </a:rPr>
              <a:t>Project 2020-06 </a:t>
            </a:r>
            <a:r>
              <a:rPr kumimoji="0" lang="en-US" b="1" i="0" u="none" strike="noStrike" kern="1200" cap="none" spc="0" normalizeH="0" baseline="0" noProof="0" dirty="0">
                <a:ln>
                  <a:noFill/>
                </a:ln>
                <a:solidFill>
                  <a:srgbClr val="000000"/>
                </a:solidFill>
                <a:effectLst/>
                <a:uLnTx/>
                <a:uFillTx/>
                <a:latin typeface="Arial" panose="020B0604020202020204" pitchFamily="34" charset="0"/>
                <a:ea typeface="Montserrat"/>
                <a:cs typeface="Arial" panose="020B0604020202020204" pitchFamily="34" charset="0"/>
                <a:sym typeface="Montserrat"/>
              </a:rPr>
              <a:t>– Verifications of Models and Data for Generators</a:t>
            </a:r>
          </a:p>
          <a:p>
            <a:pPr marL="819150" marR="0" lvl="1" indent="-342900" algn="l" defTabSz="914400" rtl="0" eaLnBrk="1" fontAlgn="auto" latinLnBrk="0" hangingPunct="1">
              <a:lnSpc>
                <a:spcPct val="108000"/>
              </a:lnSpc>
              <a:spcBef>
                <a:spcPts val="300"/>
              </a:spcBef>
              <a:spcAft>
                <a:spcPts val="0"/>
              </a:spcAft>
              <a:buClr>
                <a:srgbClr val="F15934"/>
              </a:buClr>
              <a:buSzPct val="100000"/>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Arial" panose="020B0604020202020204" pitchFamily="34" charset="0"/>
                <a:ea typeface="Montserrat"/>
                <a:cs typeface="Arial" panose="020B0604020202020204" pitchFamily="34" charset="0"/>
                <a:sym typeface="Montserrat"/>
              </a:rPr>
              <a:t>MOD-026; MOD-027; FAC-002</a:t>
            </a:r>
          </a:p>
          <a:p>
            <a:pPr marL="819150" marR="0" lvl="1" indent="-342900" algn="l" defTabSz="914400" rtl="0" eaLnBrk="1" fontAlgn="auto" latinLnBrk="0" hangingPunct="1">
              <a:lnSpc>
                <a:spcPct val="108000"/>
              </a:lnSpc>
              <a:spcBef>
                <a:spcPts val="0"/>
              </a:spcBef>
              <a:spcAft>
                <a:spcPts val="0"/>
              </a:spcAft>
              <a:buClr>
                <a:srgbClr val="F15934"/>
              </a:buClr>
              <a:buSzPct val="100000"/>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Arial" panose="020B0604020202020204" pitchFamily="34" charset="0"/>
                <a:ea typeface="Montserrat"/>
                <a:cs typeface="Arial" panose="020B0604020202020204" pitchFamily="34" charset="0"/>
                <a:sym typeface="Montserrat"/>
              </a:rPr>
              <a:t>Posted for ballot with voting period June 6 through June 18</a:t>
            </a:r>
          </a:p>
          <a:p>
            <a:pPr marL="166688" marR="0" lvl="0" indent="-147638" algn="l" defTabSz="914400" rtl="0" eaLnBrk="1" fontAlgn="auto" latinLnBrk="0" hangingPunct="1">
              <a:lnSpc>
                <a:spcPct val="108000"/>
              </a:lnSpc>
              <a:spcBef>
                <a:spcPts val="600"/>
              </a:spcBef>
              <a:spcAft>
                <a:spcPts val="0"/>
              </a:spcAft>
              <a:buClr>
                <a:srgbClr val="F15934"/>
              </a:buClr>
              <a:buSzPct val="100000"/>
              <a:buFont typeface="Noto Sans Symbols"/>
              <a:buChar char="▪"/>
              <a:tabLst/>
              <a:defRPr/>
            </a:pPr>
            <a:r>
              <a:rPr kumimoji="0" lang="en-US" b="1" i="0" u="none" strike="noStrike" kern="1200" cap="none" spc="0" normalizeH="0" baseline="0" noProof="0" dirty="0">
                <a:ln>
                  <a:noFill/>
                </a:ln>
                <a:solidFill>
                  <a:srgbClr val="000000"/>
                </a:solidFill>
                <a:effectLst/>
                <a:uLnTx/>
                <a:uFillTx/>
                <a:latin typeface="Arial" panose="020B0604020202020204" pitchFamily="34" charset="0"/>
                <a:ea typeface="Montserrat"/>
                <a:cs typeface="Arial" panose="020B0604020202020204" pitchFamily="34" charset="0"/>
                <a:sym typeface="Montserrat"/>
              </a:rPr>
              <a:t>Project 2021-01 – System Model Validation with IBRs</a:t>
            </a:r>
          </a:p>
          <a:p>
            <a:pPr marL="819150" marR="0" lvl="1" indent="-342900" algn="l" defTabSz="914400" rtl="0" eaLnBrk="1" fontAlgn="auto" latinLnBrk="0" hangingPunct="1">
              <a:lnSpc>
                <a:spcPct val="108000"/>
              </a:lnSpc>
              <a:spcBef>
                <a:spcPts val="300"/>
              </a:spcBef>
              <a:spcAft>
                <a:spcPts val="0"/>
              </a:spcAft>
              <a:buClr>
                <a:srgbClr val="F15934"/>
              </a:buClr>
              <a:buSzPct val="100000"/>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Arial" panose="020B0604020202020204" pitchFamily="34" charset="0"/>
                <a:ea typeface="Montserrat"/>
                <a:cs typeface="Arial" panose="020B0604020202020204" pitchFamily="34" charset="0"/>
                <a:sym typeface="Montserrat"/>
              </a:rPr>
              <a:t>MOD-033</a:t>
            </a:r>
          </a:p>
          <a:p>
            <a:pPr marL="819150" marR="0" lvl="1" indent="-342900" algn="l" defTabSz="914400" rtl="0" eaLnBrk="1" fontAlgn="auto" latinLnBrk="0" hangingPunct="1">
              <a:lnSpc>
                <a:spcPct val="108000"/>
              </a:lnSpc>
              <a:spcBef>
                <a:spcPts val="0"/>
              </a:spcBef>
              <a:spcAft>
                <a:spcPts val="0"/>
              </a:spcAft>
              <a:buClr>
                <a:srgbClr val="F15934"/>
              </a:buClr>
              <a:buSzPct val="100000"/>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Arial" panose="020B0604020202020204" pitchFamily="34" charset="0"/>
                <a:ea typeface="Montserrat"/>
                <a:cs typeface="Arial" panose="020B0604020202020204" pitchFamily="34" charset="0"/>
                <a:sym typeface="Montserrat"/>
              </a:rPr>
              <a:t>Initial Ballot closed 05/21/21: </a:t>
            </a:r>
            <a:r>
              <a:rPr kumimoji="0" lang="en-US" b="0" i="0" u="none" strike="noStrike" kern="1200" cap="none" spc="0" normalizeH="0" baseline="0" noProof="0" dirty="0">
                <a:ln>
                  <a:noFill/>
                </a:ln>
                <a:solidFill>
                  <a:srgbClr val="C00000"/>
                </a:solidFill>
                <a:effectLst/>
                <a:uLnTx/>
                <a:uFillTx/>
                <a:latin typeface="Arial" panose="020B0604020202020204" pitchFamily="34" charset="0"/>
                <a:ea typeface="Montserrat"/>
                <a:cs typeface="Arial" panose="020B0604020202020204" pitchFamily="34" charset="0"/>
                <a:sym typeface="Montserrat"/>
              </a:rPr>
              <a:t>57%</a:t>
            </a:r>
          </a:p>
          <a:p>
            <a:pPr marL="166688" marR="0" lvl="0" indent="-147638" algn="l" defTabSz="914400" rtl="0" eaLnBrk="1" fontAlgn="auto" latinLnBrk="0" hangingPunct="1">
              <a:lnSpc>
                <a:spcPct val="108000"/>
              </a:lnSpc>
              <a:spcBef>
                <a:spcPts val="600"/>
              </a:spcBef>
              <a:spcAft>
                <a:spcPts val="0"/>
              </a:spcAft>
              <a:buClr>
                <a:srgbClr val="F15934"/>
              </a:buClr>
              <a:buSzPct val="100000"/>
              <a:buFont typeface="Noto Sans Symbols"/>
              <a:buChar char="▪"/>
              <a:tabLst/>
              <a:defRPr/>
            </a:pPr>
            <a:r>
              <a:rPr kumimoji="0" lang="en-US" b="1" i="0" u="none" strike="noStrike" kern="1200" cap="none" spc="0" normalizeH="0" baseline="0" noProof="0" dirty="0">
                <a:ln>
                  <a:noFill/>
                </a:ln>
                <a:solidFill>
                  <a:srgbClr val="000000"/>
                </a:solidFill>
                <a:effectLst/>
                <a:uLnTx/>
                <a:uFillTx/>
                <a:latin typeface="Arial" panose="020B0604020202020204" pitchFamily="34" charset="0"/>
                <a:ea typeface="Montserrat"/>
                <a:cs typeface="Arial" panose="020B0604020202020204" pitchFamily="34" charset="0"/>
                <a:sym typeface="Montserrat"/>
              </a:rPr>
              <a:t>Project 2022-02 – Uniform Model Framework for IBR </a:t>
            </a:r>
          </a:p>
          <a:p>
            <a:pPr marL="819150" marR="0" lvl="1" indent="-342900" algn="l" defTabSz="914400" rtl="0" eaLnBrk="1" fontAlgn="auto" latinLnBrk="0" hangingPunct="1">
              <a:lnSpc>
                <a:spcPct val="108000"/>
              </a:lnSpc>
              <a:spcBef>
                <a:spcPts val="300"/>
              </a:spcBef>
              <a:spcAft>
                <a:spcPts val="0"/>
              </a:spcAft>
              <a:buClr>
                <a:srgbClr val="F15934"/>
              </a:buClr>
              <a:buSzPct val="100000"/>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Arial" panose="020B0604020202020204" pitchFamily="34" charset="0"/>
                <a:ea typeface="Montserrat"/>
                <a:cs typeface="Arial" panose="020B0604020202020204" pitchFamily="34" charset="0"/>
                <a:sym typeface="Montserrat"/>
              </a:rPr>
              <a:t>MOD-032; TOP-003; IRO-010</a:t>
            </a:r>
          </a:p>
          <a:p>
            <a:pPr marL="819150" marR="0" lvl="1" indent="-342900" algn="l" defTabSz="914400" rtl="0" eaLnBrk="1" fontAlgn="auto" latinLnBrk="0" hangingPunct="1">
              <a:lnSpc>
                <a:spcPct val="108000"/>
              </a:lnSpc>
              <a:spcBef>
                <a:spcPts val="0"/>
              </a:spcBef>
              <a:spcAft>
                <a:spcPts val="0"/>
              </a:spcAft>
              <a:buClr>
                <a:srgbClr val="F15934"/>
              </a:buClr>
              <a:buSzPct val="100000"/>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Arial" panose="020B0604020202020204" pitchFamily="34" charset="0"/>
                <a:ea typeface="Montserrat"/>
                <a:cs typeface="Arial" panose="020B0604020202020204" pitchFamily="34" charset="0"/>
                <a:sym typeface="Montserrat"/>
              </a:rPr>
              <a:t>Initial Ballot closed 05/16/2025</a:t>
            </a:r>
          </a:p>
          <a:p>
            <a:pPr marL="819150" marR="0" lvl="1" indent="-342900" algn="l" defTabSz="914400" rtl="0" eaLnBrk="1" fontAlgn="auto" latinLnBrk="0" hangingPunct="1">
              <a:lnSpc>
                <a:spcPct val="108000"/>
              </a:lnSpc>
              <a:spcBef>
                <a:spcPts val="0"/>
              </a:spcBef>
              <a:spcAft>
                <a:spcPts val="0"/>
              </a:spcAft>
              <a:buClr>
                <a:srgbClr val="F15934"/>
              </a:buClr>
              <a:buSzPct val="100000"/>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Arial" panose="020B0604020202020204" pitchFamily="34" charset="0"/>
                <a:ea typeface="Montserrat"/>
                <a:cs typeface="Arial" panose="020B0604020202020204" pitchFamily="34" charset="0"/>
                <a:sym typeface="Montserrat"/>
              </a:rPr>
              <a:t>MOD-032: </a:t>
            </a:r>
            <a:r>
              <a:rPr kumimoji="0" lang="en-US" b="0" i="0" u="none" strike="noStrike" kern="1200" cap="none" spc="0" normalizeH="0" baseline="0" noProof="0" dirty="0">
                <a:ln>
                  <a:noFill/>
                </a:ln>
                <a:solidFill>
                  <a:srgbClr val="C00000"/>
                </a:solidFill>
                <a:effectLst/>
                <a:uLnTx/>
                <a:uFillTx/>
                <a:latin typeface="Arial" panose="020B0604020202020204" pitchFamily="34" charset="0"/>
                <a:ea typeface="Montserrat"/>
                <a:cs typeface="Arial" panose="020B0604020202020204" pitchFamily="34" charset="0"/>
                <a:sym typeface="Montserrat"/>
              </a:rPr>
              <a:t>39%</a:t>
            </a:r>
            <a:r>
              <a:rPr kumimoji="0" lang="en-US" b="0" i="0" u="none" strike="noStrike" kern="1200" cap="none" spc="0" normalizeH="0" baseline="0" noProof="0" dirty="0">
                <a:ln>
                  <a:noFill/>
                </a:ln>
                <a:solidFill>
                  <a:srgbClr val="000000"/>
                </a:solidFill>
                <a:effectLst/>
                <a:uLnTx/>
                <a:uFillTx/>
                <a:latin typeface="Arial" panose="020B0604020202020204" pitchFamily="34" charset="0"/>
                <a:ea typeface="Montserrat"/>
                <a:cs typeface="Arial" panose="020B0604020202020204" pitchFamily="34" charset="0"/>
                <a:sym typeface="Montserrat"/>
              </a:rPr>
              <a:t>; TOP-003: </a:t>
            </a:r>
            <a:r>
              <a:rPr kumimoji="0" lang="en-US" b="0" i="0" u="none" strike="noStrike" kern="1200" cap="none" spc="0" normalizeH="0" baseline="0" noProof="0" dirty="0">
                <a:ln>
                  <a:noFill/>
                </a:ln>
                <a:solidFill>
                  <a:srgbClr val="C00000"/>
                </a:solidFill>
                <a:effectLst/>
                <a:uLnTx/>
                <a:uFillTx/>
                <a:latin typeface="Arial" panose="020B0604020202020204" pitchFamily="34" charset="0"/>
                <a:ea typeface="Montserrat"/>
                <a:cs typeface="Arial" panose="020B0604020202020204" pitchFamily="34" charset="0"/>
                <a:sym typeface="Montserrat"/>
              </a:rPr>
              <a:t>34%</a:t>
            </a:r>
            <a:r>
              <a:rPr kumimoji="0" lang="en-US" b="0" i="0" u="none" strike="noStrike" kern="1200" cap="none" spc="0" normalizeH="0" baseline="0" noProof="0" dirty="0">
                <a:ln>
                  <a:noFill/>
                </a:ln>
                <a:solidFill>
                  <a:srgbClr val="000000"/>
                </a:solidFill>
                <a:effectLst/>
                <a:uLnTx/>
                <a:uFillTx/>
                <a:latin typeface="Arial" panose="020B0604020202020204" pitchFamily="34" charset="0"/>
                <a:ea typeface="Montserrat"/>
                <a:cs typeface="Arial" panose="020B0604020202020204" pitchFamily="34" charset="0"/>
                <a:sym typeface="Montserrat"/>
              </a:rPr>
              <a:t>; IRO-010: </a:t>
            </a:r>
            <a:r>
              <a:rPr kumimoji="0" lang="en-US" b="0" i="0" u="none" strike="noStrike" kern="1200" cap="none" spc="0" normalizeH="0" baseline="0" noProof="0" dirty="0">
                <a:ln>
                  <a:noFill/>
                </a:ln>
                <a:solidFill>
                  <a:srgbClr val="C00000"/>
                </a:solidFill>
                <a:effectLst/>
                <a:uLnTx/>
                <a:uFillTx/>
                <a:latin typeface="Arial" panose="020B0604020202020204" pitchFamily="34" charset="0"/>
                <a:ea typeface="Montserrat"/>
                <a:cs typeface="Arial" panose="020B0604020202020204" pitchFamily="34" charset="0"/>
                <a:sym typeface="Montserrat"/>
              </a:rPr>
              <a:t>41%</a:t>
            </a:r>
            <a:r>
              <a:rPr kumimoji="0" lang="en-US" b="0" i="0" u="none" strike="noStrike" kern="1200" cap="none" spc="0" normalizeH="0" baseline="0" noProof="0" dirty="0">
                <a:ln>
                  <a:noFill/>
                </a:ln>
                <a:solidFill>
                  <a:srgbClr val="000000"/>
                </a:solidFill>
                <a:effectLst/>
                <a:uLnTx/>
                <a:uFillTx/>
                <a:latin typeface="Arial" panose="020B0604020202020204" pitchFamily="34" charset="0"/>
                <a:ea typeface="Montserrat"/>
                <a:cs typeface="Arial" panose="020B0604020202020204" pitchFamily="34" charset="0"/>
                <a:sym typeface="Montserrat"/>
              </a:rPr>
              <a:t>; </a:t>
            </a:r>
          </a:p>
          <a:p>
            <a:pPr marL="166688" marR="0" lvl="0" indent="-147638" algn="l" defTabSz="914400" rtl="0" eaLnBrk="1" fontAlgn="auto" latinLnBrk="0" hangingPunct="1">
              <a:lnSpc>
                <a:spcPct val="108000"/>
              </a:lnSpc>
              <a:spcBef>
                <a:spcPts val="600"/>
              </a:spcBef>
              <a:spcAft>
                <a:spcPts val="0"/>
              </a:spcAft>
              <a:buClr>
                <a:srgbClr val="F15934"/>
              </a:buClr>
              <a:buSzPct val="100000"/>
              <a:buFont typeface="Noto Sans Symbols"/>
              <a:buChar char="▪"/>
              <a:tabLst/>
              <a:defRPr/>
            </a:pPr>
            <a:r>
              <a:rPr kumimoji="0" lang="en-US" b="1" i="0" u="none" strike="noStrike" kern="1200" cap="none" spc="0" normalizeH="0" baseline="0" noProof="0" dirty="0">
                <a:ln>
                  <a:noFill/>
                </a:ln>
                <a:solidFill>
                  <a:srgbClr val="000000"/>
                </a:solidFill>
                <a:effectLst/>
                <a:uLnTx/>
                <a:uFillTx/>
                <a:latin typeface="Arial" panose="020B0604020202020204" pitchFamily="34" charset="0"/>
                <a:ea typeface="Montserrat"/>
                <a:cs typeface="Arial" panose="020B0604020202020204" pitchFamily="34" charset="0"/>
                <a:sym typeface="Montserrat"/>
              </a:rPr>
              <a:t>Related: Project 2022-04 - Electromagnetic Transient Modeling </a:t>
            </a:r>
          </a:p>
          <a:p>
            <a:pPr marL="819150" marR="0" lvl="1" indent="-342900" algn="l" defTabSz="914400" rtl="0" eaLnBrk="1" fontAlgn="auto" latinLnBrk="0" hangingPunct="1">
              <a:lnSpc>
                <a:spcPct val="108000"/>
              </a:lnSpc>
              <a:spcBef>
                <a:spcPts val="300"/>
              </a:spcBef>
              <a:spcAft>
                <a:spcPts val="0"/>
              </a:spcAft>
              <a:buClr>
                <a:srgbClr val="F15934"/>
              </a:buClr>
              <a:buSzPct val="100000"/>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Arial" panose="020B0604020202020204" pitchFamily="34" charset="0"/>
                <a:ea typeface="Montserrat"/>
                <a:cs typeface="Arial" panose="020B0604020202020204" pitchFamily="34" charset="0"/>
                <a:sym typeface="Montserrat"/>
              </a:rPr>
              <a:t>MOD-032; FAC-001; FAC-002</a:t>
            </a:r>
          </a:p>
          <a:p>
            <a:endParaRPr lang="en-US"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D2B09774-B1EE-6439-F8EF-4D80BCD734F8}"/>
              </a:ext>
            </a:extLst>
          </p:cNvPr>
          <p:cNvSpPr txBox="1"/>
          <p:nvPr/>
        </p:nvSpPr>
        <p:spPr>
          <a:xfrm>
            <a:off x="9084711" y="1432868"/>
            <a:ext cx="2979470" cy="675057"/>
          </a:xfrm>
          <a:prstGeom prst="rect">
            <a:avLst/>
          </a:prstGeom>
          <a:noFill/>
        </p:spPr>
        <p:txBody>
          <a:bodyPr wrap="square">
            <a:spAutoFit/>
          </a:bodyPr>
          <a:lstStyle/>
          <a:p>
            <a:pPr>
              <a:lnSpc>
                <a:spcPct val="108000"/>
              </a:lnSpc>
            </a:pPr>
            <a:r>
              <a:rPr lang="en-US" dirty="0">
                <a:latin typeface="Arial" panose="020B0604020202020204" pitchFamily="34" charset="0"/>
                <a:cs typeface="Arial" panose="020B0604020202020204" pitchFamily="34" charset="0"/>
                <a:hlinkClick r:id="rId2"/>
              </a:rPr>
              <a:t>NERC Reliability Standards Under Development</a:t>
            </a:r>
            <a:endParaRPr lang="en-US" sz="1600" dirty="0">
              <a:latin typeface="Areal"/>
            </a:endParaRPr>
          </a:p>
        </p:txBody>
      </p:sp>
    </p:spTree>
    <p:extLst>
      <p:ext uri="{BB962C8B-B14F-4D97-AF65-F5344CB8AC3E}">
        <p14:creationId xmlns:p14="http://schemas.microsoft.com/office/powerpoint/2010/main" val="37420818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260"/>
        <p:cNvGrpSpPr/>
        <p:nvPr/>
      </p:nvGrpSpPr>
      <p:grpSpPr>
        <a:xfrm>
          <a:off x="0" y="0"/>
          <a:ext cx="0" cy="0"/>
          <a:chOff x="0" y="0"/>
          <a:chExt cx="0" cy="0"/>
        </a:xfrm>
      </p:grpSpPr>
      <p:sp>
        <p:nvSpPr>
          <p:cNvPr id="261" name="Google Shape;261;p6"/>
          <p:cNvSpPr txBox="1">
            <a:spLocks noGrp="1"/>
          </p:cNvSpPr>
          <p:nvPr>
            <p:ph type="title"/>
          </p:nvPr>
        </p:nvSpPr>
        <p:spPr>
          <a:xfrm>
            <a:off x="762000" y="1"/>
            <a:ext cx="10018776" cy="1417320"/>
          </a:xfrm>
          <a:prstGeom prst="rect">
            <a:avLst/>
          </a:prstGeom>
          <a:noFill/>
          <a:ln>
            <a:noFill/>
          </a:ln>
        </p:spPr>
        <p:txBody>
          <a:bodyPr spcFirstLastPara="1" wrap="square" lIns="0" tIns="45700" rIns="91425" bIns="45700" anchor="ctr" anchorCtr="0">
            <a:noAutofit/>
          </a:bodyPr>
          <a:lstStyle/>
          <a:p>
            <a:pPr marL="0" lvl="0" indent="0" algn="l" rtl="0">
              <a:lnSpc>
                <a:spcPct val="90000"/>
              </a:lnSpc>
              <a:spcBef>
                <a:spcPts val="0"/>
              </a:spcBef>
              <a:spcAft>
                <a:spcPts val="0"/>
              </a:spcAft>
              <a:buClr>
                <a:schemeClr val="lt1"/>
              </a:buClr>
              <a:buSzPts val="3200"/>
              <a:buFont typeface="Montserrat"/>
              <a:buNone/>
            </a:pPr>
            <a:r>
              <a:rPr lang="en-US" dirty="0"/>
              <a:t>NERC Order 901 Timeline Simplified</a:t>
            </a:r>
            <a:endParaRPr dirty="0"/>
          </a:p>
        </p:txBody>
      </p:sp>
      <p:pic>
        <p:nvPicPr>
          <p:cNvPr id="4" name="Picture 3">
            <a:extLst>
              <a:ext uri="{FF2B5EF4-FFF2-40B4-BE49-F238E27FC236}">
                <a16:creationId xmlns:a16="http://schemas.microsoft.com/office/drawing/2014/main" id="{6E430F11-1957-4793-3049-BE23B5956BF7}"/>
              </a:ext>
            </a:extLst>
          </p:cNvPr>
          <p:cNvPicPr>
            <a:picLocks noChangeAspect="1"/>
          </p:cNvPicPr>
          <p:nvPr/>
        </p:nvPicPr>
        <p:blipFill>
          <a:blip r:embed="rId3"/>
          <a:stretch>
            <a:fillRect/>
          </a:stretch>
        </p:blipFill>
        <p:spPr>
          <a:xfrm>
            <a:off x="3074455" y="1769515"/>
            <a:ext cx="5238907" cy="4473032"/>
          </a:xfrm>
          <a:prstGeom prst="rect">
            <a:avLst/>
          </a:prstGeom>
        </p:spPr>
      </p:pic>
      <p:sp>
        <p:nvSpPr>
          <p:cNvPr id="6" name="TextBox 5">
            <a:extLst>
              <a:ext uri="{FF2B5EF4-FFF2-40B4-BE49-F238E27FC236}">
                <a16:creationId xmlns:a16="http://schemas.microsoft.com/office/drawing/2014/main" id="{B491E6FD-86CD-553F-FD76-DF779B2CCA4B}"/>
              </a:ext>
            </a:extLst>
          </p:cNvPr>
          <p:cNvSpPr txBox="1"/>
          <p:nvPr/>
        </p:nvSpPr>
        <p:spPr>
          <a:xfrm>
            <a:off x="8380071" y="6018835"/>
            <a:ext cx="2210765" cy="307777"/>
          </a:xfrm>
          <a:prstGeom prst="rect">
            <a:avLst/>
          </a:prstGeom>
          <a:noFill/>
        </p:spPr>
        <p:txBody>
          <a:bodyPr wrap="square" rtlCol="0">
            <a:spAutoFit/>
          </a:bodyPr>
          <a:lstStyle/>
          <a:p>
            <a:r>
              <a:rPr lang="en-US" dirty="0"/>
              <a:t>Source: NERC</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EF5E01-4D62-E95F-8101-95139E563AFF}"/>
              </a:ext>
            </a:extLst>
          </p:cNvPr>
          <p:cNvSpPr>
            <a:spLocks noGrp="1"/>
          </p:cNvSpPr>
          <p:nvPr>
            <p:ph type="title"/>
          </p:nvPr>
        </p:nvSpPr>
        <p:spPr/>
        <p:txBody>
          <a:bodyPr/>
          <a:lstStyle/>
          <a:p>
            <a:r>
              <a:rPr lang="en-US" dirty="0"/>
              <a:t>NERC ​​​Industry Engagement Workshop for Reliable IBR Integration and Milestone 3 </a:t>
            </a:r>
          </a:p>
        </p:txBody>
      </p:sp>
      <p:sp>
        <p:nvSpPr>
          <p:cNvPr id="3" name="Content Placeholder 2">
            <a:extLst>
              <a:ext uri="{FF2B5EF4-FFF2-40B4-BE49-F238E27FC236}">
                <a16:creationId xmlns:a16="http://schemas.microsoft.com/office/drawing/2014/main" id="{13F15E5B-F58A-B90F-470A-04F4C9258006}"/>
              </a:ext>
            </a:extLst>
          </p:cNvPr>
          <p:cNvSpPr>
            <a:spLocks noGrp="1"/>
          </p:cNvSpPr>
          <p:nvPr>
            <p:ph sz="quarter" idx="10"/>
          </p:nvPr>
        </p:nvSpPr>
        <p:spPr/>
        <p:txBody>
          <a:bodyPr/>
          <a:lstStyle/>
          <a:p>
            <a:pPr marL="166688" indent="-166688">
              <a:lnSpc>
                <a:spcPct val="108000"/>
              </a:lnSpc>
              <a:buSzPct val="100000"/>
            </a:pPr>
            <a:r>
              <a:rPr lang="en-US" dirty="0"/>
              <a:t>Day 1 – Industry Panels on Modeling Topics</a:t>
            </a:r>
          </a:p>
          <a:p>
            <a:pPr marL="166688" indent="-166688">
              <a:lnSpc>
                <a:spcPct val="108000"/>
              </a:lnSpc>
              <a:buSzPct val="100000"/>
            </a:pPr>
            <a:r>
              <a:rPr lang="en-US" dirty="0"/>
              <a:t>Day 2 – Standard Drafting Team Leadership went through submitted comments</a:t>
            </a:r>
          </a:p>
          <a:p>
            <a:pPr marL="166688" indent="-166688">
              <a:lnSpc>
                <a:spcPct val="108000"/>
              </a:lnSpc>
              <a:buSzPct val="100000"/>
            </a:pPr>
            <a:r>
              <a:rPr lang="en-US" dirty="0"/>
              <a:t>Materials are posted on the NERC “Reliability Standards Under Development” page here </a:t>
            </a:r>
            <a:r>
              <a:rPr lang="en-US" dirty="0">
                <a:hlinkClick r:id="rId2"/>
              </a:rPr>
              <a:t>https://www.nerc.com/pa/Stand/Pages/Standards-Under-Development.aspx</a:t>
            </a:r>
            <a:r>
              <a:rPr lang="en-US" dirty="0"/>
              <a:t> </a:t>
            </a:r>
          </a:p>
          <a:p>
            <a:pPr marL="166688" indent="-166688">
              <a:lnSpc>
                <a:spcPct val="108000"/>
              </a:lnSpc>
              <a:buSzPct val="100000"/>
            </a:pPr>
            <a:r>
              <a:rPr lang="en-US" dirty="0"/>
              <a:t>This webpage also has links to each respective Standard Drafting Team page </a:t>
            </a:r>
          </a:p>
        </p:txBody>
      </p:sp>
    </p:spTree>
    <p:extLst>
      <p:ext uri="{BB962C8B-B14F-4D97-AF65-F5344CB8AC3E}">
        <p14:creationId xmlns:p14="http://schemas.microsoft.com/office/powerpoint/2010/main" val="13708169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DDC770-3427-A5EE-E7C8-8F269BFE7FE2}"/>
              </a:ext>
            </a:extLst>
          </p:cNvPr>
          <p:cNvSpPr>
            <a:spLocks noGrp="1"/>
          </p:cNvSpPr>
          <p:nvPr>
            <p:ph type="title"/>
          </p:nvPr>
        </p:nvSpPr>
        <p:spPr/>
        <p:txBody>
          <a:bodyPr/>
          <a:lstStyle/>
          <a:p>
            <a:r>
              <a:rPr lang="en-US" dirty="0"/>
              <a:t>NERC Project 2022-04 (Not Milestone 3 but Related)</a:t>
            </a:r>
          </a:p>
        </p:txBody>
      </p:sp>
      <p:sp>
        <p:nvSpPr>
          <p:cNvPr id="3" name="Content Placeholder 2">
            <a:extLst>
              <a:ext uri="{FF2B5EF4-FFF2-40B4-BE49-F238E27FC236}">
                <a16:creationId xmlns:a16="http://schemas.microsoft.com/office/drawing/2014/main" id="{44B21226-8A13-8705-D41C-EDF70D636C72}"/>
              </a:ext>
            </a:extLst>
          </p:cNvPr>
          <p:cNvSpPr>
            <a:spLocks noGrp="1"/>
          </p:cNvSpPr>
          <p:nvPr>
            <p:ph sz="quarter" idx="10"/>
          </p:nvPr>
        </p:nvSpPr>
        <p:spPr/>
        <p:txBody>
          <a:bodyPr/>
          <a:lstStyle/>
          <a:p>
            <a:pPr marL="0" indent="0">
              <a:lnSpc>
                <a:spcPct val="108000"/>
              </a:lnSpc>
              <a:spcBef>
                <a:spcPts val="600"/>
              </a:spcBef>
              <a:buSzPct val="100000"/>
              <a:buNone/>
            </a:pPr>
            <a:r>
              <a:rPr lang="en-US" sz="1600" dirty="0">
                <a:hlinkClick r:id="rId3"/>
              </a:rPr>
              <a:t>NERC Project 2022-04 </a:t>
            </a:r>
            <a:r>
              <a:rPr lang="en-US" sz="1600" dirty="0"/>
              <a:t>team held a </a:t>
            </a:r>
            <a:r>
              <a:rPr lang="en-US" sz="1600" dirty="0">
                <a:hlinkClick r:id="rId4"/>
              </a:rPr>
              <a:t>webinar</a:t>
            </a:r>
            <a:r>
              <a:rPr lang="en-US" sz="1600" dirty="0"/>
              <a:t> on their standards revision efforts related to EMT modeling and studies. The draft FAC-002-5 revisions include the following:</a:t>
            </a:r>
          </a:p>
          <a:p>
            <a:pPr marL="169863" indent="-169863">
              <a:lnSpc>
                <a:spcPct val="108000"/>
              </a:lnSpc>
              <a:spcBef>
                <a:spcPts val="600"/>
              </a:spcBef>
              <a:buSzPct val="100000"/>
            </a:pPr>
            <a:r>
              <a:rPr lang="en-US" sz="1600" dirty="0"/>
              <a:t>Each TP and PC must have specific EMT modeling requirements including a documented process for collecting models and the necessary documentation to support EMT model review. </a:t>
            </a:r>
          </a:p>
          <a:p>
            <a:pPr marL="169863" indent="-169863">
              <a:lnSpc>
                <a:spcPct val="108000"/>
              </a:lnSpc>
              <a:spcBef>
                <a:spcPts val="600"/>
              </a:spcBef>
              <a:buSzPct val="100000"/>
            </a:pPr>
            <a:r>
              <a:rPr lang="en-US" sz="1600" dirty="0"/>
              <a:t>Each TP and PC must also establish and maintain a process to determine the necessity of various studies for evaluating reliability impacts (i.e., when and where to use certain model types. </a:t>
            </a:r>
          </a:p>
          <a:p>
            <a:pPr marL="169863" indent="-169863">
              <a:lnSpc>
                <a:spcPct val="108000"/>
              </a:lnSpc>
              <a:spcBef>
                <a:spcPts val="600"/>
              </a:spcBef>
              <a:buSzPct val="100000"/>
            </a:pPr>
            <a:r>
              <a:rPr lang="en-US" sz="1600" dirty="0"/>
              <a:t>Each GO (or TO) must provide EMT models following established modeling requirements set by the TP and PC. </a:t>
            </a:r>
          </a:p>
          <a:p>
            <a:pPr marL="169863" indent="-169863">
              <a:lnSpc>
                <a:spcPct val="108000"/>
              </a:lnSpc>
              <a:spcBef>
                <a:spcPts val="600"/>
              </a:spcBef>
              <a:buSzPct val="100000"/>
            </a:pPr>
            <a:r>
              <a:rPr lang="en-US" sz="1600" dirty="0"/>
              <a:t>Each GO (or TO) must also issue a final attestation stating that the EMT models studied match the control modes, settings, protections, and performance of the installed equipment; including a report demonstrating that testing or monitoring matches EMT model response.</a:t>
            </a:r>
          </a:p>
          <a:p>
            <a:pPr marL="169863" indent="-169863">
              <a:lnSpc>
                <a:spcPct val="108000"/>
              </a:lnSpc>
              <a:spcBef>
                <a:spcPts val="600"/>
              </a:spcBef>
              <a:buSzPct val="100000"/>
            </a:pPr>
            <a:r>
              <a:rPr lang="en-US" sz="1600" dirty="0"/>
              <a:t>Each TP and PC must review the EMT models submitted to verify that they meet the requirements set forth. </a:t>
            </a:r>
          </a:p>
          <a:p>
            <a:pPr marL="169863" indent="-169863">
              <a:lnSpc>
                <a:spcPct val="108000"/>
              </a:lnSpc>
              <a:spcBef>
                <a:spcPts val="600"/>
              </a:spcBef>
              <a:buSzPct val="100000"/>
            </a:pPr>
            <a:r>
              <a:rPr lang="en-US" sz="1600" dirty="0"/>
              <a:t>The proposed implementation plan is 24 months after the effective date of the future standard. </a:t>
            </a:r>
          </a:p>
          <a:p>
            <a:pPr marL="169863" indent="-169863">
              <a:lnSpc>
                <a:spcPct val="108000"/>
              </a:lnSpc>
              <a:spcBef>
                <a:spcPts val="600"/>
              </a:spcBef>
              <a:buSzPct val="100000"/>
            </a:pPr>
            <a:r>
              <a:rPr lang="en-US" sz="1600" dirty="0"/>
              <a:t>The team is planning to request authorization from the NERC Standards Committee (SC) to post the draft standard and implementation plan on </a:t>
            </a:r>
            <a:r>
              <a:rPr lang="en-US" sz="1600" b="1" dirty="0"/>
              <a:t>July 16</a:t>
            </a:r>
            <a:r>
              <a:rPr lang="en-US" sz="1600" dirty="0"/>
              <a:t>. </a:t>
            </a:r>
            <a:r>
              <a:rPr lang="en-US" sz="1600" b="1" dirty="0"/>
              <a:t>A 45-day formal comment period would then follow through Sept 11. The ballot pools form through Sept. </a:t>
            </a:r>
          </a:p>
        </p:txBody>
      </p:sp>
      <p:sp>
        <p:nvSpPr>
          <p:cNvPr id="5" name="TextBox 4">
            <a:extLst>
              <a:ext uri="{FF2B5EF4-FFF2-40B4-BE49-F238E27FC236}">
                <a16:creationId xmlns:a16="http://schemas.microsoft.com/office/drawing/2014/main" id="{B887D581-B70F-E214-8436-0B3986BAF4B6}"/>
              </a:ext>
            </a:extLst>
          </p:cNvPr>
          <p:cNvSpPr txBox="1"/>
          <p:nvPr/>
        </p:nvSpPr>
        <p:spPr>
          <a:xfrm>
            <a:off x="8503398" y="6323442"/>
            <a:ext cx="3560784" cy="369332"/>
          </a:xfrm>
          <a:prstGeom prst="rect">
            <a:avLst/>
          </a:prstGeom>
          <a:solidFill>
            <a:schemeClr val="bg1"/>
          </a:solidFill>
        </p:spPr>
        <p:txBody>
          <a:bodyPr wrap="square">
            <a:spAutoFit/>
          </a:bodyPr>
          <a:lstStyle/>
          <a:p>
            <a:r>
              <a:rPr lang="en-US" dirty="0">
                <a:latin typeface="Arial" panose="020B0604020202020204" pitchFamily="34" charset="0"/>
                <a:cs typeface="Arial" panose="020B0604020202020204" pitchFamily="34" charset="0"/>
              </a:rPr>
              <a:t>Source: LinkedIn post by Elevate</a:t>
            </a:r>
          </a:p>
        </p:txBody>
      </p:sp>
    </p:spTree>
    <p:extLst>
      <p:ext uri="{BB962C8B-B14F-4D97-AF65-F5344CB8AC3E}">
        <p14:creationId xmlns:p14="http://schemas.microsoft.com/office/powerpoint/2010/main" val="11736999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A25923-6BDA-45E6-EA73-2D7B85F922B5}"/>
              </a:ext>
            </a:extLst>
          </p:cNvPr>
          <p:cNvSpPr>
            <a:spLocks noGrp="1"/>
          </p:cNvSpPr>
          <p:nvPr>
            <p:ph type="title"/>
          </p:nvPr>
        </p:nvSpPr>
        <p:spPr/>
        <p:txBody>
          <a:bodyPr/>
          <a:lstStyle/>
          <a:p>
            <a:r>
              <a:rPr lang="en-US" dirty="0"/>
              <a:t>Siemens Webinar Series: NERC PRC-029 Ride-Through Assessments (6/17/2025)</a:t>
            </a:r>
          </a:p>
        </p:txBody>
      </p:sp>
      <p:pic>
        <p:nvPicPr>
          <p:cNvPr id="5" name="Picture 4">
            <a:extLst>
              <a:ext uri="{FF2B5EF4-FFF2-40B4-BE49-F238E27FC236}">
                <a16:creationId xmlns:a16="http://schemas.microsoft.com/office/drawing/2014/main" id="{5C965442-CDFC-7B69-72F3-040B6771F607}"/>
              </a:ext>
            </a:extLst>
          </p:cNvPr>
          <p:cNvPicPr>
            <a:picLocks noChangeAspect="1"/>
          </p:cNvPicPr>
          <p:nvPr/>
        </p:nvPicPr>
        <p:blipFill>
          <a:blip r:embed="rId2"/>
          <a:stretch>
            <a:fillRect/>
          </a:stretch>
        </p:blipFill>
        <p:spPr>
          <a:xfrm>
            <a:off x="425789" y="1632413"/>
            <a:ext cx="7643267" cy="4150989"/>
          </a:xfrm>
          <a:prstGeom prst="rect">
            <a:avLst/>
          </a:prstGeom>
        </p:spPr>
      </p:pic>
      <p:sp>
        <p:nvSpPr>
          <p:cNvPr id="7" name="TextBox 6">
            <a:extLst>
              <a:ext uri="{FF2B5EF4-FFF2-40B4-BE49-F238E27FC236}">
                <a16:creationId xmlns:a16="http://schemas.microsoft.com/office/drawing/2014/main" id="{3F4D59BB-AD5E-06E2-B66B-F40B66429DF3}"/>
              </a:ext>
            </a:extLst>
          </p:cNvPr>
          <p:cNvSpPr txBox="1"/>
          <p:nvPr/>
        </p:nvSpPr>
        <p:spPr>
          <a:xfrm>
            <a:off x="319341" y="5912193"/>
            <a:ext cx="10793061" cy="646331"/>
          </a:xfrm>
          <a:prstGeom prst="rect">
            <a:avLst/>
          </a:prstGeom>
          <a:noFill/>
        </p:spPr>
        <p:txBody>
          <a:bodyPr wrap="square">
            <a:spAutoFit/>
          </a:bodyPr>
          <a:lstStyle/>
          <a:p>
            <a:r>
              <a:rPr lang="en-US" dirty="0">
                <a:latin typeface="Arial" panose="020B0604020202020204" pitchFamily="34" charset="0"/>
                <a:cs typeface="Arial" panose="020B0604020202020204" pitchFamily="34" charset="0"/>
                <a:hlinkClick r:id="rId3"/>
              </a:rPr>
              <a:t>https://www.siemens.com/global/en/products/energy/grid-software/planning/pss-software/pss-e/webinar-series-navigating-modern-grid-requirements.html#Registration</a:t>
            </a:r>
            <a:r>
              <a:rPr lang="en-US" dirty="0">
                <a:latin typeface="Arial" panose="020B0604020202020204" pitchFamily="34" charset="0"/>
                <a:cs typeface="Arial" panose="020B0604020202020204" pitchFamily="34" charset="0"/>
              </a:rPr>
              <a:t> </a:t>
            </a:r>
          </a:p>
        </p:txBody>
      </p:sp>
      <p:sp>
        <p:nvSpPr>
          <p:cNvPr id="9" name="TextBox 8">
            <a:extLst>
              <a:ext uri="{FF2B5EF4-FFF2-40B4-BE49-F238E27FC236}">
                <a16:creationId xmlns:a16="http://schemas.microsoft.com/office/drawing/2014/main" id="{685BDC9C-6C17-7EF8-1CB7-A9A544DFA192}"/>
              </a:ext>
            </a:extLst>
          </p:cNvPr>
          <p:cNvSpPr txBox="1"/>
          <p:nvPr/>
        </p:nvSpPr>
        <p:spPr>
          <a:xfrm>
            <a:off x="8150942" y="1548046"/>
            <a:ext cx="3764179" cy="4026102"/>
          </a:xfrm>
          <a:prstGeom prst="rect">
            <a:avLst/>
          </a:prstGeom>
          <a:noFill/>
        </p:spPr>
        <p:txBody>
          <a:bodyPr wrap="square">
            <a:spAutoFit/>
          </a:bodyPr>
          <a:lstStyle/>
          <a:p>
            <a:pPr marL="169863" indent="-169863">
              <a:lnSpc>
                <a:spcPct val="108000"/>
              </a:lnSpc>
              <a:spcBef>
                <a:spcPts val="600"/>
              </a:spcBef>
              <a:buClr>
                <a:srgbClr val="F25A35"/>
              </a:buClr>
              <a:buFont typeface="Wingdings" panose="05000000000000000000" pitchFamily="2" charset="2"/>
              <a:buChar char="§"/>
            </a:pPr>
            <a:r>
              <a:rPr lang="en-US" sz="1600" b="1" i="0" dirty="0">
                <a:effectLst/>
                <a:latin typeface="Arial" panose="020B0604020202020204" pitchFamily="34" charset="0"/>
                <a:cs typeface="Arial" panose="020B0604020202020204" pitchFamily="34" charset="0"/>
              </a:rPr>
              <a:t>Webinar 1: NERC PRC-029 Ride-Through Assessments</a:t>
            </a:r>
          </a:p>
          <a:p>
            <a:pPr marL="169863">
              <a:lnSpc>
                <a:spcPct val="108000"/>
              </a:lnSpc>
              <a:spcBef>
                <a:spcPts val="600"/>
              </a:spcBef>
            </a:pPr>
            <a:r>
              <a:rPr lang="en-US" sz="1600" b="0" i="0" dirty="0">
                <a:effectLst/>
                <a:latin typeface="Arial" panose="020B0604020202020204" pitchFamily="34" charset="0"/>
                <a:cs typeface="Arial" panose="020B0604020202020204" pitchFamily="34" charset="0"/>
              </a:rPr>
              <a:t>Siemens PSS/E and Elevate Energy Consulting delved into the intricacies of NERC PRC-029 ride-through assessments</a:t>
            </a:r>
            <a:r>
              <a:rPr lang="en-US" sz="1600" dirty="0">
                <a:latin typeface="Arial" panose="020B0604020202020204" pitchFamily="34" charset="0"/>
                <a:cs typeface="Arial" panose="020B0604020202020204" pitchFamily="34" charset="0"/>
              </a:rPr>
              <a:t> and </a:t>
            </a:r>
            <a:r>
              <a:rPr lang="en-US" sz="1600" b="0" i="0" dirty="0">
                <a:effectLst/>
                <a:latin typeface="Arial" panose="020B0604020202020204" pitchFamily="34" charset="0"/>
                <a:cs typeface="Arial" panose="020B0604020202020204" pitchFamily="34" charset="0"/>
              </a:rPr>
              <a:t>how PSS/E can be utilized to conduct IBR ride-through verification testing, ensuring compliance with NERC standards.</a:t>
            </a:r>
            <a:endParaRPr lang="en-US" sz="1600" dirty="0">
              <a:latin typeface="Arial" panose="020B0604020202020204" pitchFamily="34" charset="0"/>
              <a:cs typeface="Arial" panose="020B0604020202020204" pitchFamily="34" charset="0"/>
            </a:endParaRPr>
          </a:p>
          <a:p>
            <a:pPr marL="169863" indent="-169863">
              <a:lnSpc>
                <a:spcPct val="108000"/>
              </a:lnSpc>
              <a:spcBef>
                <a:spcPts val="600"/>
              </a:spcBef>
              <a:buClr>
                <a:srgbClr val="F25A35"/>
              </a:buClr>
              <a:buFont typeface="Wingdings" panose="05000000000000000000" pitchFamily="2" charset="2"/>
              <a:buChar char="§"/>
            </a:pPr>
            <a:r>
              <a:rPr lang="en-US" sz="1600" b="1" i="0" dirty="0">
                <a:effectLst/>
                <a:latin typeface="Arial" panose="020B0604020202020204" pitchFamily="34" charset="0"/>
                <a:cs typeface="Arial" panose="020B0604020202020204" pitchFamily="34" charset="0"/>
              </a:rPr>
              <a:t>Webinar 2: Data Center Modeling </a:t>
            </a:r>
            <a:r>
              <a:rPr lang="en-US" sz="1600" b="0" i="0" dirty="0">
                <a:effectLst/>
                <a:latin typeface="Arial" panose="020B0604020202020204" pitchFamily="34" charset="0"/>
                <a:cs typeface="Arial" panose="020B0604020202020204" pitchFamily="34" charset="0"/>
              </a:rPr>
              <a:t>– 7/8, 11 am ET</a:t>
            </a:r>
          </a:p>
          <a:p>
            <a:pPr marL="169863" indent="-169863">
              <a:lnSpc>
                <a:spcPct val="108000"/>
              </a:lnSpc>
              <a:spcBef>
                <a:spcPts val="600"/>
              </a:spcBef>
              <a:buClr>
                <a:srgbClr val="F25A35"/>
              </a:buClr>
              <a:buFont typeface="Wingdings" panose="05000000000000000000" pitchFamily="2" charset="2"/>
              <a:buChar char="§"/>
            </a:pPr>
            <a:r>
              <a:rPr lang="en-US" sz="1600" b="1" dirty="0">
                <a:latin typeface="Arial" panose="020B0604020202020204" pitchFamily="34" charset="0"/>
                <a:cs typeface="Arial" panose="020B0604020202020204" pitchFamily="34" charset="0"/>
              </a:rPr>
              <a:t>Webinar 3: DER and Load Modeling and Model Validation</a:t>
            </a:r>
            <a:r>
              <a:rPr lang="en-US" sz="1600" dirty="0">
                <a:latin typeface="Arial" panose="020B0604020202020204" pitchFamily="34" charset="0"/>
                <a:cs typeface="Arial" panose="020B0604020202020204" pitchFamily="34" charset="0"/>
              </a:rPr>
              <a:t>, 8/12, 11 am ET</a:t>
            </a:r>
            <a:r>
              <a:rPr lang="en-US" sz="1600" b="0" i="0" dirty="0">
                <a:effectLst/>
                <a:latin typeface="Arial" panose="020B0604020202020204" pitchFamily="34" charset="0"/>
                <a:cs typeface="Arial" panose="020B0604020202020204" pitchFamily="34" charset="0"/>
              </a:rPr>
              <a:t> </a:t>
            </a:r>
            <a:endParaRPr lang="en-US"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857743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C273DF-0480-6D14-C501-1EDC1433E41C}"/>
              </a:ext>
            </a:extLst>
          </p:cNvPr>
          <p:cNvSpPr>
            <a:spLocks noGrp="1"/>
          </p:cNvSpPr>
          <p:nvPr>
            <p:ph type="title"/>
          </p:nvPr>
        </p:nvSpPr>
        <p:spPr/>
        <p:txBody>
          <a:bodyPr/>
          <a:lstStyle/>
          <a:p>
            <a:r>
              <a:rPr lang="en-US" dirty="0"/>
              <a:t>Other NERC Updates (from Mark Henry, TRE)</a:t>
            </a:r>
          </a:p>
        </p:txBody>
      </p:sp>
      <p:sp>
        <p:nvSpPr>
          <p:cNvPr id="3" name="Content Placeholder 2">
            <a:extLst>
              <a:ext uri="{FF2B5EF4-FFF2-40B4-BE49-F238E27FC236}">
                <a16:creationId xmlns:a16="http://schemas.microsoft.com/office/drawing/2014/main" id="{45C54078-C4A0-9D50-A456-4F4567E2B1DA}"/>
              </a:ext>
            </a:extLst>
          </p:cNvPr>
          <p:cNvSpPr>
            <a:spLocks noGrp="1"/>
          </p:cNvSpPr>
          <p:nvPr>
            <p:ph sz="quarter" idx="10"/>
          </p:nvPr>
        </p:nvSpPr>
        <p:spPr/>
        <p:txBody>
          <a:bodyPr/>
          <a:lstStyle/>
          <a:p>
            <a:pPr marL="225425" indent="-225425">
              <a:lnSpc>
                <a:spcPct val="108000"/>
              </a:lnSpc>
              <a:spcBef>
                <a:spcPts val="600"/>
              </a:spcBef>
              <a:buSzPct val="100000"/>
            </a:pPr>
            <a:r>
              <a:rPr lang="en-US" sz="1800" dirty="0"/>
              <a:t>PRC-029 is still in review at FERC, and PRC-028 and -030 implementation depend in part of effective date of PRC-029.  A couple of late comments were submitted to FERC; </a:t>
            </a:r>
          </a:p>
          <a:p>
            <a:pPr marL="225425" indent="-225425">
              <a:lnSpc>
                <a:spcPct val="108000"/>
              </a:lnSpc>
              <a:spcBef>
                <a:spcPts val="600"/>
              </a:spcBef>
              <a:buSzPct val="100000"/>
            </a:pPr>
            <a:r>
              <a:rPr lang="en-US" sz="1800" dirty="0"/>
              <a:t>No action yet on Category 2 GO IBR registration.  It will have less impact in TRE/ERCOT than elsewhere</a:t>
            </a:r>
          </a:p>
          <a:p>
            <a:pPr marL="225425" indent="-225425">
              <a:lnSpc>
                <a:spcPct val="108000"/>
              </a:lnSpc>
              <a:spcBef>
                <a:spcPts val="600"/>
              </a:spcBef>
              <a:buSzPct val="100000"/>
            </a:pPr>
            <a:r>
              <a:rPr lang="en-US" sz="1800" dirty="0"/>
              <a:t>NERC IRPS moved their meeting to June 26. Agenda items relevant to ERCOT IBRWG:</a:t>
            </a:r>
          </a:p>
          <a:p>
            <a:pPr lvl="1">
              <a:lnSpc>
                <a:spcPct val="108000"/>
              </a:lnSpc>
              <a:spcBef>
                <a:spcPts val="600"/>
              </a:spcBef>
              <a:buSzPct val="100000"/>
              <a:buFont typeface="Arial" panose="020B0604020202020204" pitchFamily="34" charset="0"/>
              <a:buChar char="‒"/>
            </a:pPr>
            <a:r>
              <a:rPr lang="en-US" sz="1800" dirty="0"/>
              <a:t>Maximizing Ride-through Capability of Existing IBRs – Ryan Quint</a:t>
            </a:r>
          </a:p>
          <a:p>
            <a:pPr lvl="1">
              <a:lnSpc>
                <a:spcPct val="108000"/>
              </a:lnSpc>
              <a:spcBef>
                <a:spcPts val="600"/>
              </a:spcBef>
              <a:buSzPct val="100000"/>
              <a:buFont typeface="Arial" panose="020B0604020202020204" pitchFamily="34" charset="0"/>
              <a:buChar char="‒"/>
            </a:pPr>
            <a:r>
              <a:rPr lang="en-US" sz="1800" dirty="0"/>
              <a:t>Comparison of IEEE 2800 with PRC-029 and PRC-028 – Manish Patel</a:t>
            </a:r>
          </a:p>
          <a:p>
            <a:pPr marL="225425" indent="-225425">
              <a:lnSpc>
                <a:spcPct val="108000"/>
              </a:lnSpc>
              <a:spcBef>
                <a:spcPts val="600"/>
              </a:spcBef>
              <a:buSzPct val="100000"/>
            </a:pPr>
            <a:r>
              <a:rPr lang="en-US" sz="1800" dirty="0"/>
              <a:t>NERC EMTWG is seeking volunteers for a white paper focused on best practices for benchmarking IBR plant models.  The goal is to explore and document industry practices for comparing EMT models with positive sequence phasor domain (PSPD) models, and to provide technical guidance, examples, and considerations for validating aggregate plant models.  Request volunteers of all types with relevant experience by June 30 (email: </a:t>
            </a:r>
            <a:r>
              <a:rPr lang="en-US" sz="1800" dirty="0">
                <a:hlinkClick r:id="rId3"/>
              </a:rPr>
              <a:t>Aung.Thant@nerc.net</a:t>
            </a:r>
            <a:r>
              <a:rPr lang="en-US" sz="1800" dirty="0"/>
              <a:t>)</a:t>
            </a:r>
          </a:p>
          <a:p>
            <a:pPr marL="0" indent="0">
              <a:buNone/>
            </a:pPr>
            <a:endParaRPr lang="en-US" dirty="0"/>
          </a:p>
          <a:p>
            <a:endParaRPr lang="en-US" dirty="0"/>
          </a:p>
          <a:p>
            <a:endParaRPr lang="en-US" dirty="0"/>
          </a:p>
        </p:txBody>
      </p:sp>
    </p:spTree>
    <p:extLst>
      <p:ext uri="{BB962C8B-B14F-4D97-AF65-F5344CB8AC3E}">
        <p14:creationId xmlns:p14="http://schemas.microsoft.com/office/powerpoint/2010/main" val="12119817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DDCAB2-9262-ED61-03BE-2BFBBCD0F293}"/>
              </a:ext>
            </a:extLst>
          </p:cNvPr>
          <p:cNvSpPr>
            <a:spLocks noGrp="1"/>
          </p:cNvSpPr>
          <p:nvPr>
            <p:ph type="title"/>
          </p:nvPr>
        </p:nvSpPr>
        <p:spPr/>
        <p:txBody>
          <a:bodyPr/>
          <a:lstStyle/>
          <a:p>
            <a:r>
              <a:rPr lang="en-US" dirty="0"/>
              <a:t>Other NERC Updates (from Mark Henry, TRE)</a:t>
            </a:r>
          </a:p>
        </p:txBody>
      </p:sp>
      <p:sp>
        <p:nvSpPr>
          <p:cNvPr id="3" name="Content Placeholder 2">
            <a:extLst>
              <a:ext uri="{FF2B5EF4-FFF2-40B4-BE49-F238E27FC236}">
                <a16:creationId xmlns:a16="http://schemas.microsoft.com/office/drawing/2014/main" id="{7E186DA1-5CA6-2435-BF42-925C6C637E27}"/>
              </a:ext>
            </a:extLst>
          </p:cNvPr>
          <p:cNvSpPr>
            <a:spLocks noGrp="1"/>
          </p:cNvSpPr>
          <p:nvPr>
            <p:ph sz="quarter" idx="10"/>
          </p:nvPr>
        </p:nvSpPr>
        <p:spPr/>
        <p:txBody>
          <a:bodyPr/>
          <a:lstStyle/>
          <a:p>
            <a:pPr marL="225425" indent="-225425">
              <a:lnSpc>
                <a:spcPct val="108000"/>
              </a:lnSpc>
              <a:spcBef>
                <a:spcPts val="600"/>
              </a:spcBef>
              <a:buSzPct val="100000"/>
            </a:pPr>
            <a:r>
              <a:rPr lang="en-US" dirty="0"/>
              <a:t>EMTWG got RSTC approval last week to post two whitepapers for industry comments:</a:t>
            </a:r>
          </a:p>
          <a:p>
            <a:pPr lvl="1">
              <a:lnSpc>
                <a:spcPct val="108000"/>
              </a:lnSpc>
              <a:spcBef>
                <a:spcPts val="600"/>
              </a:spcBef>
              <a:buSzPct val="100000"/>
              <a:buFont typeface="Arial" panose="020B0604020202020204" pitchFamily="34" charset="0"/>
              <a:buChar char="‒"/>
            </a:pPr>
            <a:r>
              <a:rPr lang="en-US" dirty="0"/>
              <a:t>EMT Modeling Adoption for Interconnection and Planning Studies – An Industry Survey</a:t>
            </a:r>
          </a:p>
          <a:p>
            <a:pPr lvl="1">
              <a:lnSpc>
                <a:spcPct val="108000"/>
              </a:lnSpc>
              <a:spcBef>
                <a:spcPts val="600"/>
              </a:spcBef>
              <a:buSzPct val="100000"/>
              <a:buFont typeface="Arial" panose="020B0604020202020204" pitchFamily="34" charset="0"/>
              <a:buChar char="‒"/>
            </a:pPr>
            <a:r>
              <a:rPr lang="en-US" dirty="0"/>
              <a:t>EMT Analysis in Operations Planning 	</a:t>
            </a:r>
          </a:p>
          <a:p>
            <a:pPr marL="225425" indent="-225425">
              <a:lnSpc>
                <a:spcPct val="108000"/>
              </a:lnSpc>
              <a:spcBef>
                <a:spcPts val="600"/>
              </a:spcBef>
              <a:buSzPct val="100000"/>
            </a:pPr>
            <a:r>
              <a:rPr lang="en-US" dirty="0"/>
              <a:t>On ERCOT-related matters, PUCT will decide on the exemption process for ERCOT Technical Standards (</a:t>
            </a:r>
            <a:r>
              <a:rPr lang="en-US" dirty="0">
                <a:hlinkClick r:id="rId3"/>
              </a:rPr>
              <a:t>Project No. 57374</a:t>
            </a:r>
            <a:r>
              <a:rPr lang="en-US" dirty="0"/>
              <a:t>) at their </a:t>
            </a:r>
            <a:r>
              <a:rPr lang="en-US" dirty="0">
                <a:hlinkClick r:id="rId4"/>
              </a:rPr>
              <a:t>open meeting today</a:t>
            </a:r>
            <a:r>
              <a:rPr lang="en-US" dirty="0"/>
              <a:t>.  </a:t>
            </a:r>
          </a:p>
          <a:p>
            <a:pPr marL="225425" indent="0">
              <a:lnSpc>
                <a:spcPct val="108000"/>
              </a:lnSpc>
              <a:spcBef>
                <a:spcPts val="600"/>
              </a:spcBef>
              <a:buNone/>
            </a:pPr>
            <a:r>
              <a:rPr lang="en-US" dirty="0"/>
              <a:t>This is the overall process for handling any reliability-related exemptions and extensions, not specific technical matters related to NOGRR245.  </a:t>
            </a:r>
          </a:p>
        </p:txBody>
      </p:sp>
    </p:spTree>
    <p:extLst>
      <p:ext uri="{BB962C8B-B14F-4D97-AF65-F5344CB8AC3E}">
        <p14:creationId xmlns:p14="http://schemas.microsoft.com/office/powerpoint/2010/main" val="39377784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hlinkClick r:id="rId3"/>
            <a:extLst>
              <a:ext uri="{FF2B5EF4-FFF2-40B4-BE49-F238E27FC236}">
                <a16:creationId xmlns:a16="http://schemas.microsoft.com/office/drawing/2014/main" id="{6D660AD1-D735-E616-3BF8-1F0E778FC79C}"/>
              </a:ext>
            </a:extLst>
          </p:cNvPr>
          <p:cNvPicPr>
            <a:picLocks noChangeAspect="1"/>
          </p:cNvPicPr>
          <p:nvPr/>
        </p:nvPicPr>
        <p:blipFill>
          <a:blip r:embed="rId4"/>
          <a:stretch>
            <a:fillRect/>
          </a:stretch>
        </p:blipFill>
        <p:spPr>
          <a:xfrm>
            <a:off x="8178290" y="1522021"/>
            <a:ext cx="2072820" cy="2911092"/>
          </a:xfrm>
          <a:prstGeom prst="rect">
            <a:avLst/>
          </a:prstGeom>
        </p:spPr>
      </p:pic>
      <p:sp>
        <p:nvSpPr>
          <p:cNvPr id="2" name="Title 1">
            <a:extLst>
              <a:ext uri="{FF2B5EF4-FFF2-40B4-BE49-F238E27FC236}">
                <a16:creationId xmlns:a16="http://schemas.microsoft.com/office/drawing/2014/main" id="{6206492B-B4DC-75B5-8123-45C49FA2EF85}"/>
              </a:ext>
            </a:extLst>
          </p:cNvPr>
          <p:cNvSpPr>
            <a:spLocks noGrp="1"/>
          </p:cNvSpPr>
          <p:nvPr>
            <p:ph type="title"/>
          </p:nvPr>
        </p:nvSpPr>
        <p:spPr/>
        <p:txBody>
          <a:bodyPr/>
          <a:lstStyle/>
          <a:p>
            <a:r>
              <a:rPr lang="en-US" dirty="0"/>
              <a:t>Danish System Operator Energinet is Developing GFM BESS Requirements </a:t>
            </a:r>
          </a:p>
        </p:txBody>
      </p:sp>
      <p:sp>
        <p:nvSpPr>
          <p:cNvPr id="3" name="Content Placeholder 2">
            <a:extLst>
              <a:ext uri="{FF2B5EF4-FFF2-40B4-BE49-F238E27FC236}">
                <a16:creationId xmlns:a16="http://schemas.microsoft.com/office/drawing/2014/main" id="{043F8932-09F7-4A23-34CB-65E5C2C1E27D}"/>
              </a:ext>
            </a:extLst>
          </p:cNvPr>
          <p:cNvSpPr>
            <a:spLocks noGrp="1"/>
          </p:cNvSpPr>
          <p:nvPr>
            <p:ph sz="quarter" idx="10"/>
          </p:nvPr>
        </p:nvSpPr>
        <p:spPr>
          <a:xfrm>
            <a:off x="762000" y="1850763"/>
            <a:ext cx="7416290" cy="4435283"/>
          </a:xfrm>
        </p:spPr>
        <p:txBody>
          <a:bodyPr/>
          <a:lstStyle/>
          <a:p>
            <a:pPr marL="225425" indent="-225425">
              <a:lnSpc>
                <a:spcPct val="108000"/>
              </a:lnSpc>
              <a:spcBef>
                <a:spcPts val="600"/>
              </a:spcBef>
              <a:buSzPct val="100000"/>
            </a:pPr>
            <a:r>
              <a:rPr lang="en-US" sz="1600" dirty="0"/>
              <a:t>In 2023, </a:t>
            </a:r>
            <a:r>
              <a:rPr lang="en-US" sz="1600" dirty="0">
                <a:hlinkClick r:id="rId3"/>
              </a:rPr>
              <a:t>study</a:t>
            </a:r>
            <a:r>
              <a:rPr lang="en-US" sz="1600" dirty="0"/>
              <a:t> to reduce gaps on the deployment of new technology and engage industry partners to get deeper insight of GFM BESS technology </a:t>
            </a:r>
          </a:p>
          <a:p>
            <a:pPr marL="225425" indent="-225425">
              <a:lnSpc>
                <a:spcPct val="108000"/>
              </a:lnSpc>
              <a:spcBef>
                <a:spcPts val="600"/>
              </a:spcBef>
              <a:buSzPct val="100000"/>
            </a:pPr>
            <a:r>
              <a:rPr lang="en-US" sz="1600" dirty="0"/>
              <a:t>Knowledge gained from the study fed into development of GFM requirements </a:t>
            </a:r>
          </a:p>
          <a:p>
            <a:pPr marL="225425" indent="-225425">
              <a:lnSpc>
                <a:spcPct val="108000"/>
              </a:lnSpc>
              <a:spcBef>
                <a:spcPts val="600"/>
              </a:spcBef>
              <a:buSzPct val="100000"/>
            </a:pPr>
            <a:r>
              <a:rPr lang="en-US" sz="1600" dirty="0"/>
              <a:t>Version 2 is under preparation, looking at GFM from wind, PV, hybrids</a:t>
            </a:r>
          </a:p>
          <a:p>
            <a:pPr marL="225425" indent="-225425">
              <a:lnSpc>
                <a:spcPct val="108000"/>
              </a:lnSpc>
              <a:spcBef>
                <a:spcPts val="600"/>
              </a:spcBef>
              <a:buSzPct val="100000"/>
            </a:pPr>
            <a:r>
              <a:rPr lang="en-US" sz="1600" dirty="0"/>
              <a:t>Currently, the focus is on developing GFM BESS requirements</a:t>
            </a:r>
          </a:p>
          <a:p>
            <a:pPr marL="225425" indent="-225425">
              <a:lnSpc>
                <a:spcPct val="108000"/>
              </a:lnSpc>
              <a:spcBef>
                <a:spcPts val="600"/>
              </a:spcBef>
              <a:buSzPct val="100000"/>
            </a:pPr>
            <a:r>
              <a:rPr lang="en-US" sz="1600" dirty="0"/>
              <a:t>Implementation is the next step (i.e. market product or mandatory). In the meantime – voluntary requirements </a:t>
            </a:r>
          </a:p>
          <a:p>
            <a:pPr marL="225425" indent="-225425">
              <a:lnSpc>
                <a:spcPct val="108000"/>
              </a:lnSpc>
              <a:spcBef>
                <a:spcPts val="600"/>
              </a:spcBef>
              <a:buSzPct val="100000"/>
            </a:pPr>
            <a:r>
              <a:rPr lang="en-US" sz="1600" dirty="0"/>
              <a:t>Requirements only apply to future BESS, if existing one wants to retrofit, they need to notify Energinet and work with them. </a:t>
            </a:r>
          </a:p>
          <a:p>
            <a:pPr marL="225425" indent="-225425">
              <a:lnSpc>
                <a:spcPct val="108000"/>
              </a:lnSpc>
              <a:spcBef>
                <a:spcPts val="600"/>
              </a:spcBef>
              <a:buSzPct val="100000"/>
            </a:pPr>
            <a:r>
              <a:rPr lang="en-US" sz="1600" dirty="0"/>
              <a:t>If an existing BESS is undergoing a significant modification, Energinet may determine GFM is required (or procured) depending on location.  </a:t>
            </a:r>
          </a:p>
          <a:p>
            <a:pPr marL="225425" indent="-225425">
              <a:lnSpc>
                <a:spcPct val="108000"/>
              </a:lnSpc>
              <a:spcBef>
                <a:spcPts val="600"/>
              </a:spcBef>
              <a:buSzPct val="100000"/>
            </a:pPr>
            <a:r>
              <a:rPr lang="en-US" sz="1600" dirty="0"/>
              <a:t>Energinet held two stakeholder meetings to introduce draft requirements and  to address submitted industry comments </a:t>
            </a:r>
          </a:p>
          <a:p>
            <a:pPr marL="225425" indent="-225425">
              <a:lnSpc>
                <a:spcPct val="108000"/>
              </a:lnSpc>
              <a:spcBef>
                <a:spcPts val="600"/>
              </a:spcBef>
              <a:buSzPct val="100000"/>
            </a:pPr>
            <a:r>
              <a:rPr lang="en-US" sz="1600" dirty="0"/>
              <a:t>Next step is to publish an updated GFM BESS Requirements draft in early fall  </a:t>
            </a:r>
          </a:p>
        </p:txBody>
      </p:sp>
      <p:pic>
        <p:nvPicPr>
          <p:cNvPr id="5" name="Picture 4">
            <a:extLst>
              <a:ext uri="{FF2B5EF4-FFF2-40B4-BE49-F238E27FC236}">
                <a16:creationId xmlns:a16="http://schemas.microsoft.com/office/drawing/2014/main" id="{3315D479-F89D-809B-41D2-C09B8C80A93A}"/>
              </a:ext>
            </a:extLst>
          </p:cNvPr>
          <p:cNvPicPr>
            <a:picLocks noChangeAspect="1"/>
          </p:cNvPicPr>
          <p:nvPr/>
        </p:nvPicPr>
        <p:blipFill>
          <a:blip r:embed="rId5"/>
          <a:stretch>
            <a:fillRect/>
          </a:stretch>
        </p:blipFill>
        <p:spPr>
          <a:xfrm>
            <a:off x="9911817" y="3530785"/>
            <a:ext cx="2156867" cy="2995782"/>
          </a:xfrm>
          <a:prstGeom prst="rect">
            <a:avLst/>
          </a:prstGeom>
          <a:ln>
            <a:solidFill>
              <a:schemeClr val="bg1">
                <a:lumMod val="75000"/>
              </a:schemeClr>
            </a:solidFill>
          </a:ln>
        </p:spPr>
      </p:pic>
    </p:spTree>
    <p:extLst>
      <p:ext uri="{BB962C8B-B14F-4D97-AF65-F5344CB8AC3E}">
        <p14:creationId xmlns:p14="http://schemas.microsoft.com/office/powerpoint/2010/main" val="17281103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Custom 10">
      <a:dk1>
        <a:srgbClr val="000000"/>
      </a:dk1>
      <a:lt1>
        <a:srgbClr val="FFFFFF"/>
      </a:lt1>
      <a:dk2>
        <a:srgbClr val="A7A9AC"/>
      </a:dk2>
      <a:lt2>
        <a:srgbClr val="D8D9DA"/>
      </a:lt2>
      <a:accent1>
        <a:srgbClr val="265A9A"/>
      </a:accent1>
      <a:accent2>
        <a:srgbClr val="BE4A02"/>
      </a:accent2>
      <a:accent3>
        <a:srgbClr val="CADCF2"/>
      </a:accent3>
      <a:accent4>
        <a:srgbClr val="F26641"/>
      </a:accent4>
      <a:accent5>
        <a:srgbClr val="008BCC"/>
      </a:accent5>
      <a:accent6>
        <a:srgbClr val="6A737B"/>
      </a:accent6>
      <a:hlink>
        <a:srgbClr val="005392"/>
      </a:hlink>
      <a:folHlink>
        <a:srgbClr val="929292"/>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SIG Template v7" id="{9317A526-92A2-4249-AC38-3F93A71DC91E}" vid="{12247FAB-A178-4B20-B029-95659910E546}"/>
    </a:ext>
  </a:extLst>
</a:theme>
</file>

<file path=ppt/theme/theme2.xml><?xml version="1.0" encoding="utf-8"?>
<a:theme xmlns:a="http://schemas.openxmlformats.org/drawingml/2006/main" name="1_Office Theme">
  <a:themeElements>
    <a:clrScheme name="Energy Innovation">
      <a:dk1>
        <a:srgbClr val="000000"/>
      </a:dk1>
      <a:lt1>
        <a:srgbClr val="FFFFFF"/>
      </a:lt1>
      <a:dk2>
        <a:srgbClr val="44546A"/>
      </a:dk2>
      <a:lt2>
        <a:srgbClr val="E7E6E6"/>
      </a:lt2>
      <a:accent1>
        <a:srgbClr val="1C2558"/>
      </a:accent1>
      <a:accent2>
        <a:srgbClr val="FBAF40"/>
      </a:accent2>
      <a:accent3>
        <a:srgbClr val="D5D5D5"/>
      </a:accent3>
      <a:accent4>
        <a:srgbClr val="919191"/>
      </a:accent4>
      <a:accent5>
        <a:srgbClr val="F2A436"/>
      </a:accent5>
      <a:accent6>
        <a:srgbClr val="929292"/>
      </a:accent6>
      <a:hlink>
        <a:srgbClr val="005392"/>
      </a:hlink>
      <a:folHlink>
        <a:srgbClr val="929292"/>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SIG Workshop GFM Presentation" id="{87531808-6D3E-4CA0-9F13-8BECDECC0DFD}" vid="{C841E32D-BD76-44A1-B13A-11D75AD0D644}"/>
    </a:ext>
  </a:extLst>
</a:theme>
</file>

<file path=ppt/theme/theme3.xml><?xml version="1.0" encoding="utf-8"?>
<a:theme xmlns:a="http://schemas.openxmlformats.org/drawingml/2006/main" name="1_VDE_FNN_Template_en">
  <a:themeElements>
    <a:clrScheme name="VDE Farben">
      <a:dk1>
        <a:srgbClr val="575757"/>
      </a:dk1>
      <a:lt1>
        <a:sysClr val="window" lastClr="FFFFFF"/>
      </a:lt1>
      <a:dk2>
        <a:srgbClr val="000000"/>
      </a:dk2>
      <a:lt2>
        <a:srgbClr val="FFFFFF"/>
      </a:lt2>
      <a:accent1>
        <a:srgbClr val="0064B4"/>
      </a:accent1>
      <a:accent2>
        <a:srgbClr val="575757"/>
      </a:accent2>
      <a:accent3>
        <a:srgbClr val="FFFFFF"/>
      </a:accent3>
      <a:accent4>
        <a:srgbClr val="76B82A"/>
      </a:accent4>
      <a:accent5>
        <a:srgbClr val="FFCC00"/>
      </a:accent5>
      <a:accent6>
        <a:srgbClr val="E73331"/>
      </a:accent6>
      <a:hlink>
        <a:srgbClr val="0064B4"/>
      </a:hlink>
      <a:folHlink>
        <a:srgbClr val="000000"/>
      </a:folHlink>
    </a:clrScheme>
    <a:fontScheme name="VDE Schrif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0064B4"/>
        </a:solidFill>
        <a:ln w="9525" algn="ctr">
          <a:noFill/>
          <a:miter lim="800000"/>
          <a:headEnd/>
          <a:tailEnd/>
        </a:ln>
        <a:effectLst/>
      </a:spPr>
      <a:bodyPr lIns="144000" tIns="36000" rIns="144000" bIns="36000" rtlCol="0" anchor="ctr"/>
      <a:lstStyle>
        <a:defPPr algn="ctr">
          <a:defRPr sz="1100" b="1" kern="0">
            <a:solidFill>
              <a:srgbClr val="FFFFFF"/>
            </a:solidFill>
          </a:defRPr>
        </a:defPPr>
      </a:lstStyle>
    </a:spDef>
    <a:lnDef>
      <a:spPr bwMode="gray">
        <a:ln>
          <a:solidFill>
            <a:srgbClr val="0064B4"/>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44000" indent="-144000">
          <a:spcBef>
            <a:spcPts val="200"/>
          </a:spcBef>
          <a:buClr>
            <a:srgbClr val="0064B4"/>
          </a:buClr>
          <a:buFont typeface="Wingdings" pitchFamily="2" charset="2"/>
          <a:buChar char="§"/>
          <a:defRPr sz="1100" dirty="0" err="1"/>
        </a:defPPr>
      </a:lstStyle>
    </a:txDef>
  </a:objectDefaults>
  <a:extraClrSchemeLst/>
  <a:custClrLst>
    <a:custClr name="Custom Color 1">
      <a:srgbClr val="0064B4"/>
    </a:custClr>
    <a:custClr name="Custom Color 2">
      <a:srgbClr val="3F89CB"/>
    </a:custClr>
    <a:custClr name="Custom Color 3">
      <a:srgbClr val="8CADDE"/>
    </a:custClr>
    <a:custClr name="Custom Color 4">
      <a:srgbClr val="C7D6F1"/>
    </a:custClr>
    <a:custClr name="Custom Color 5">
      <a:srgbClr val="575757"/>
    </a:custClr>
    <a:custClr name="Custom Color 6">
      <a:srgbClr val="DADADA"/>
    </a:custClr>
    <a:custClr name="Custom Color 7">
      <a:srgbClr val="EAEAEA"/>
    </a:custClr>
    <a:custClr name="Custom Color 8">
      <a:srgbClr val="76B82A"/>
    </a:custClr>
    <a:custClr name="Custom Color 9">
      <a:srgbClr val="FFCC00"/>
    </a:custClr>
    <a:custClr name="Custom Color 10">
      <a:srgbClr val="E73331"/>
    </a:custClr>
  </a:custClrLst>
  <a:extLst>
    <a:ext uri="{05A4C25C-085E-4340-85A3-A5531E510DB2}">
      <thm15:themeFamily xmlns:thm15="http://schemas.microsoft.com/office/thememl/2012/main" name="VDE_FNN_Template_en" id="{A5296C74-0FC7-40E9-A252-21F6EE3D818B}" vid="{0B7847C8-B1E6-4B1A-AE44-979FDC39D731}"/>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ESIG Workshop GFM Presentation</Template>
  <TotalTime>78728</TotalTime>
  <Words>2185</Words>
  <Application>Microsoft Office PowerPoint</Application>
  <PresentationFormat>Widescreen</PresentationFormat>
  <Paragraphs>159</Paragraphs>
  <Slides>16</Slides>
  <Notes>7</Notes>
  <HiddenSlides>0</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1</vt:i4>
      </vt:variant>
      <vt:variant>
        <vt:lpstr>Slide Titles</vt:lpstr>
      </vt:variant>
      <vt:variant>
        <vt:i4>16</vt:i4>
      </vt:variant>
    </vt:vector>
  </HeadingPairs>
  <TitlesOfParts>
    <vt:vector size="32" baseType="lpstr">
      <vt:lpstr>Adobe Garamond Pro</vt:lpstr>
      <vt:lpstr>Aptos</vt:lpstr>
      <vt:lpstr>Areal</vt:lpstr>
      <vt:lpstr>Arial</vt:lpstr>
      <vt:lpstr>Calibri</vt:lpstr>
      <vt:lpstr>Century Gothic</vt:lpstr>
      <vt:lpstr>EB Garamond</vt:lpstr>
      <vt:lpstr>Montserrat</vt:lpstr>
      <vt:lpstr>Montserrat Medium</vt:lpstr>
      <vt:lpstr>Montserrat SemiBold</vt:lpstr>
      <vt:lpstr>Noto Sans Symbols</vt:lpstr>
      <vt:lpstr>Wingdings</vt:lpstr>
      <vt:lpstr>2_Office Theme</vt:lpstr>
      <vt:lpstr>1_Office Theme</vt:lpstr>
      <vt:lpstr>1_VDE_FNN_Template_en</vt:lpstr>
      <vt:lpstr>think-cell Folie</vt:lpstr>
      <vt:lpstr>ERCOT IBRWG: NERC and Other Industry Updates</vt:lpstr>
      <vt:lpstr>NERC Milestone 3 Standards Update </vt:lpstr>
      <vt:lpstr>NERC Order 901 Timeline Simplified</vt:lpstr>
      <vt:lpstr>NERC ​​​Industry Engagement Workshop for Reliable IBR Integration and Milestone 3 </vt:lpstr>
      <vt:lpstr>NERC Project 2022-04 (Not Milestone 3 but Related)</vt:lpstr>
      <vt:lpstr>Siemens Webinar Series: NERC PRC-029 Ride-Through Assessments (6/17/2025)</vt:lpstr>
      <vt:lpstr>Other NERC Updates (from Mark Henry, TRE)</vt:lpstr>
      <vt:lpstr>Other NERC Updates (from Mark Henry, TRE)</vt:lpstr>
      <vt:lpstr>Danish System Operator Energinet is Developing GFM BESS Requirements </vt:lpstr>
      <vt:lpstr>Danish System Operator Energinet is Developing GFM BESS Requirements </vt:lpstr>
      <vt:lpstr>VDE FNN Guideline for Grid Forming Properties</vt:lpstr>
      <vt:lpstr>German inertia market model (BNetzA’s draft)</vt:lpstr>
      <vt:lpstr>Meeting the system needs with the help of three pillars</vt:lpstr>
      <vt:lpstr>DOE Forum for the Implementation of Reliability Standards for Transmission (i2X FIRST)</vt:lpstr>
      <vt:lpstr>DOE Forum for the Implementation of Reliability Standards for Transmission (i2X FIRST) – Season 2</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rid Forming Technology in Energy Systems Integration</dc:title>
  <dc:creator>Julia Matevosyan</dc:creator>
  <cp:lastModifiedBy>Julia Matevosyan</cp:lastModifiedBy>
  <cp:revision>33</cp:revision>
  <cp:lastPrinted>2024-10-15T22:25:00Z</cp:lastPrinted>
  <dcterms:created xsi:type="dcterms:W3CDTF">2022-05-16T15:19:42Z</dcterms:created>
  <dcterms:modified xsi:type="dcterms:W3CDTF">2025-06-19T19:50:08Z</dcterms:modified>
</cp:coreProperties>
</file>